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svg" ContentType="image/svg+xml"/>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Lst>
  <p:notesMasterIdLst>
    <p:notesMasterId r:id="rId53"/>
  </p:notesMasterIdLst>
  <p:handoutMasterIdLst>
    <p:handoutMasterId r:id="rId54"/>
  </p:handoutMasterIdLst>
  <p:sldIdLst>
    <p:sldId id="260" r:id="rId3"/>
    <p:sldId id="276" r:id="rId4"/>
    <p:sldId id="396" r:id="rId5"/>
    <p:sldId id="401" r:id="rId6"/>
    <p:sldId id="402" r:id="rId7"/>
    <p:sldId id="418" r:id="rId8"/>
    <p:sldId id="403" r:id="rId9"/>
    <p:sldId id="404" r:id="rId10"/>
    <p:sldId id="405" r:id="rId11"/>
    <p:sldId id="406" r:id="rId12"/>
    <p:sldId id="445" r:id="rId13"/>
    <p:sldId id="413" r:id="rId14"/>
    <p:sldId id="414" r:id="rId15"/>
    <p:sldId id="415" r:id="rId16"/>
    <p:sldId id="417" r:id="rId17"/>
    <p:sldId id="407" r:id="rId18"/>
    <p:sldId id="408" r:id="rId19"/>
    <p:sldId id="409" r:id="rId20"/>
    <p:sldId id="420" r:id="rId21"/>
    <p:sldId id="410" r:id="rId22"/>
    <p:sldId id="411" r:id="rId23"/>
    <p:sldId id="447" r:id="rId24"/>
    <p:sldId id="412" r:id="rId25"/>
    <p:sldId id="440" r:id="rId26"/>
    <p:sldId id="441" r:id="rId27"/>
    <p:sldId id="442" r:id="rId28"/>
    <p:sldId id="443" r:id="rId29"/>
    <p:sldId id="444" r:id="rId30"/>
    <p:sldId id="419" r:id="rId31"/>
    <p:sldId id="424" r:id="rId32"/>
    <p:sldId id="425" r:id="rId33"/>
    <p:sldId id="430" r:id="rId34"/>
    <p:sldId id="439" r:id="rId35"/>
    <p:sldId id="426" r:id="rId36"/>
    <p:sldId id="428" r:id="rId37"/>
    <p:sldId id="427" r:id="rId38"/>
    <p:sldId id="429" r:id="rId39"/>
    <p:sldId id="431" r:id="rId40"/>
    <p:sldId id="432" r:id="rId41"/>
    <p:sldId id="433" r:id="rId42"/>
    <p:sldId id="434" r:id="rId43"/>
    <p:sldId id="435" r:id="rId44"/>
    <p:sldId id="436" r:id="rId45"/>
    <p:sldId id="437" r:id="rId46"/>
    <p:sldId id="438" r:id="rId47"/>
    <p:sldId id="446" r:id="rId48"/>
    <p:sldId id="423" r:id="rId49"/>
    <p:sldId id="422" r:id="rId50"/>
    <p:sldId id="400" r:id="rId51"/>
    <p:sldId id="366" r:id="rId52"/>
  </p:sldIdLst>
  <p:sldSz cx="12192000" cy="6858000"/>
  <p:notesSz cx="6858000" cy="9144000"/>
  <p:defaultTex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F0F1"/>
    <a:srgbClr val="FFFFFF"/>
    <a:srgbClr val="E6E7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85155" autoAdjust="0"/>
  </p:normalViewPr>
  <p:slideViewPr>
    <p:cSldViewPr snapToGrid="0" showGuides="1">
      <p:cViewPr>
        <p:scale>
          <a:sx n="99" d="100"/>
          <a:sy n="99" d="100"/>
        </p:scale>
        <p:origin x="67" y="41"/>
      </p:cViewPr>
      <p:guideLst>
        <p:guide orient="horz" pos="2160"/>
        <p:guide pos="3840"/>
      </p:guideLst>
    </p:cSldViewPr>
  </p:slideViewPr>
  <p:notesTextViewPr>
    <p:cViewPr>
      <p:scale>
        <a:sx n="3" d="2"/>
        <a:sy n="3" d="2"/>
      </p:scale>
      <p:origin x="0" y="0"/>
    </p:cViewPr>
  </p:notesTextViewPr>
  <p:notesViewPr>
    <p:cSldViewPr snapToGrid="0">
      <p:cViewPr varScale="1">
        <p:scale>
          <a:sx n="76" d="100"/>
          <a:sy n="76" d="100"/>
        </p:scale>
        <p:origin x="1374"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162D03F-76C6-4D07-AC2C-F363FF512FDC}" type="datetimeFigureOut">
              <a:rPr lang="fr-FR" smtClean="0"/>
              <a:t>23/05/2017</a:t>
            </a:fld>
            <a:endParaRPr lang="fr-F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7C187F0-A12A-45EE-8A83-C351A49702C3}" type="slidenum">
              <a:rPr lang="fr-FR" smtClean="0"/>
              <a:t>‹N°›</a:t>
            </a:fld>
            <a:endParaRPr lang="fr-FR"/>
          </a:p>
        </p:txBody>
      </p:sp>
    </p:spTree>
    <p:extLst>
      <p:ext uri="{BB962C8B-B14F-4D97-AF65-F5344CB8AC3E}">
        <p14:creationId xmlns:p14="http://schemas.microsoft.com/office/powerpoint/2010/main" val="38871705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d-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758BDC-07F7-44A3-AA6E-26F4A75EF047}" type="datetimeFigureOut">
              <a:rPr lang="id-ID" smtClean="0"/>
              <a:t>23/05/2017</a:t>
            </a:fld>
            <a:endParaRPr lang="id-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d-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d-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C33DA8-0B69-49B1-903C-807367A02778}" type="slidenum">
              <a:rPr lang="id-ID" smtClean="0"/>
              <a:t>‹N°›</a:t>
            </a:fld>
            <a:endParaRPr lang="id-ID"/>
          </a:p>
        </p:txBody>
      </p:sp>
    </p:spTree>
    <p:extLst>
      <p:ext uri="{BB962C8B-B14F-4D97-AF65-F5344CB8AC3E}">
        <p14:creationId xmlns:p14="http://schemas.microsoft.com/office/powerpoint/2010/main" val="1831787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7 3: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87933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6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5/23/2017 3:08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89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23/2017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486245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23/2017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9085231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23/2017 3:1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337228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23/2017 3:2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779640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C33DA8-0B69-49B1-903C-807367A02778}" type="slidenum">
              <a:rPr lang="id-ID" smtClean="0"/>
              <a:t>29</a:t>
            </a:fld>
            <a:endParaRPr lang="id-ID"/>
          </a:p>
        </p:txBody>
      </p:sp>
    </p:spTree>
    <p:extLst>
      <p:ext uri="{BB962C8B-B14F-4D97-AF65-F5344CB8AC3E}">
        <p14:creationId xmlns:p14="http://schemas.microsoft.com/office/powerpoint/2010/main" val="41162546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C4FE9F3-866B-4210-9C31-377BB3032E68}" type="slidenum">
              <a:rPr kumimoji="0" lang="fr-FR"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fr-FR"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7847197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28897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99891" lvl="3" indent="-171450">
              <a:spcBef>
                <a:spcPts val="1000"/>
              </a:spcBef>
              <a:buFont typeface="Arial" panose="020B0604020202020204" pitchFamily="34" charset="0"/>
              <a:buChar char="•"/>
            </a:pPr>
            <a:r>
              <a:rPr lang="en-US" dirty="0">
                <a:cs typeface="Segoe UI" panose="020B0502040204020203" pitchFamily="34" charset="0"/>
              </a:rPr>
              <a:t>So if we wanted to provide one structured view of our Machine Learning offer</a:t>
            </a:r>
            <a:endParaRPr lang="en-US" baseline="0" dirty="0">
              <a:cs typeface="Segoe UI" panose="020B0502040204020203" pitchFamily="34" charset="0"/>
            </a:endParaRPr>
          </a:p>
          <a:p>
            <a:pPr marL="228441" lvl="3" indent="0">
              <a:spcBef>
                <a:spcPts val="1000"/>
              </a:spcBef>
              <a:buFont typeface="Arial" panose="020B0604020202020204" pitchFamily="34" charset="0"/>
              <a:buNone/>
            </a:pPr>
            <a:endParaRPr lang="en-US" dirty="0">
              <a:cs typeface="Segoe UI" panose="020B0502040204020203" pitchFamily="34" charset="0"/>
            </a:endParaRPr>
          </a:p>
          <a:p>
            <a:pPr marL="356304" lvl="2" indent="-285750">
              <a:spcBef>
                <a:spcPts val="1000"/>
              </a:spcBef>
              <a:buFont typeface="Arial" panose="020B0604020202020204" pitchFamily="34" charset="0"/>
              <a:buChar char="•"/>
            </a:pPr>
            <a:r>
              <a:rPr lang="en-US" dirty="0">
                <a:cs typeface="Segoe UI" panose="020B0502040204020203" pitchFamily="34" charset="0"/>
              </a:rPr>
              <a:t>At the top,</a:t>
            </a:r>
            <a:r>
              <a:rPr lang="en-US" baseline="0" dirty="0">
                <a:cs typeface="Segoe UI" panose="020B0502040204020203" pitchFamily="34" charset="0"/>
              </a:rPr>
              <a:t> you have the </a:t>
            </a:r>
            <a:r>
              <a:rPr lang="en-US" dirty="0">
                <a:cs typeface="Segoe UI" panose="020B0502040204020203" pitchFamily="34" charset="0"/>
              </a:rPr>
              <a:t>Machine Learning Algorithms – best-in-class ML Algorithms and models made by Microsoft</a:t>
            </a:r>
            <a:r>
              <a:rPr lang="en-US" baseline="0" dirty="0">
                <a:cs typeface="Segoe UI" panose="020B0502040204020203" pitchFamily="34" charset="0"/>
              </a:rPr>
              <a:t> over the last few years from Bing, to Cortana, XBOX, DELVE on Office 365…</a:t>
            </a:r>
            <a:endParaRPr lang="en-US" dirty="0">
              <a:cs typeface="Segoe UI" panose="020B0502040204020203" pitchFamily="34" charset="0"/>
            </a:endParaRPr>
          </a:p>
          <a:p>
            <a:pPr marL="356304" lvl="2" indent="-285750">
              <a:spcBef>
                <a:spcPts val="1000"/>
              </a:spcBef>
              <a:buFont typeface="Arial" panose="020B0604020202020204" pitchFamily="34" charset="0"/>
              <a:buChar char="•"/>
            </a:pPr>
            <a:endParaRPr lang="en-US" dirty="0">
              <a:cs typeface="Segoe UI" panose="020B0502040204020203" pitchFamily="34" charset="0"/>
            </a:endParaRPr>
          </a:p>
          <a:p>
            <a:pPr marL="70554" lvl="2" indent="0">
              <a:spcBef>
                <a:spcPts val="1000"/>
              </a:spcBef>
              <a:buFont typeface="Arial" panose="020B0604020202020204" pitchFamily="34" charset="0"/>
              <a:buNone/>
            </a:pPr>
            <a:r>
              <a:rPr lang="en-US" dirty="0">
                <a:cs typeface="Segoe UI" panose="020B0502040204020203" pitchFamily="34" charset="0"/>
              </a:rPr>
              <a:t>[click]</a:t>
            </a:r>
            <a:r>
              <a:rPr lang="en-US" baseline="0" dirty="0">
                <a:cs typeface="Segoe UI" panose="020B0502040204020203" pitchFamily="34" charset="0"/>
              </a:rPr>
              <a:t> Machine Learning Studio</a:t>
            </a:r>
          </a:p>
          <a:p>
            <a:pPr marL="228441" lvl="3" indent="0">
              <a:spcBef>
                <a:spcPts val="1000"/>
              </a:spcBef>
              <a:buFont typeface="Arial" panose="020B0604020202020204" pitchFamily="34" charset="0"/>
              <a:buNone/>
            </a:pPr>
            <a:endParaRPr lang="en-US" dirty="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201F18-C7BD-4C07-B05C-F9BF48195D7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470731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6304" lvl="2" indent="-285750">
              <a:spcBef>
                <a:spcPts val="1000"/>
              </a:spcBef>
              <a:buFont typeface="Arial" panose="020B0604020202020204" pitchFamily="34" charset="0"/>
              <a:buChar char="•"/>
            </a:pPr>
            <a:r>
              <a:rPr lang="en-US" dirty="0">
                <a:cs typeface="Segoe UI" panose="020B0502040204020203" pitchFamily="34" charset="0"/>
              </a:rPr>
              <a:t>Next, the Machine Learning Studio: an easy to use solution accessible in your BROWSER,</a:t>
            </a:r>
            <a:r>
              <a:rPr lang="en-US" baseline="0" dirty="0">
                <a:cs typeface="Segoe UI" panose="020B0502040204020203" pitchFamily="34" charset="0"/>
              </a:rPr>
              <a:t> Very INTUITIVE, </a:t>
            </a:r>
            <a:r>
              <a:rPr lang="en-US" dirty="0">
                <a:cs typeface="Segoe UI" panose="020B0502040204020203" pitchFamily="34" charset="0"/>
              </a:rPr>
              <a:t>for</a:t>
            </a:r>
            <a:r>
              <a:rPr lang="en-US" b="1" baseline="0" dirty="0">
                <a:cs typeface="Segoe UI" panose="020B0502040204020203" pitchFamily="34" charset="0"/>
              </a:rPr>
              <a:t> quick </a:t>
            </a:r>
            <a:r>
              <a:rPr lang="en-US" b="1" dirty="0">
                <a:cs typeface="Segoe UI" panose="020B0502040204020203" pitchFamily="34" charset="0"/>
              </a:rPr>
              <a:t>building and experimenting with predictive models</a:t>
            </a:r>
            <a:r>
              <a:rPr lang="en-US" dirty="0">
                <a:cs typeface="Segoe UI" panose="020B0502040204020203" pitchFamily="34" charset="0"/>
              </a:rPr>
              <a:t>. </a:t>
            </a:r>
            <a:r>
              <a:rPr lang="en-US" dirty="0">
                <a:cs typeface="Segoe UI" panose="020B0502040204020203" pitchFamily="34" charset="0"/>
                <a:sym typeface="Wingdings" panose="05000000000000000000" pitchFamily="2" charset="2"/>
              </a:rPr>
              <a:t> Audience: Lowering the entry barrier for Data Scientists</a:t>
            </a:r>
          </a:p>
          <a:p>
            <a:pPr marL="356304" lvl="2" indent="-285750">
              <a:spcBef>
                <a:spcPts val="1000"/>
              </a:spcBef>
              <a:buFont typeface="Arial" panose="020B0604020202020204" pitchFamily="34" charset="0"/>
              <a:buChar char="•"/>
            </a:pPr>
            <a:endParaRPr lang="en-US" dirty="0">
              <a:cs typeface="Segoe UI" panose="020B0502040204020203" pitchFamily="34" charset="0"/>
              <a:sym typeface="Wingdings" panose="05000000000000000000" pitchFamily="2" charset="2"/>
            </a:endParaRPr>
          </a:p>
          <a:p>
            <a:pPr marL="70554" lvl="2" indent="0">
              <a:spcBef>
                <a:spcPts val="1000"/>
              </a:spcBef>
              <a:buFont typeface="Arial" panose="020B0604020202020204" pitchFamily="34" charset="0"/>
              <a:buNone/>
            </a:pPr>
            <a:r>
              <a:rPr lang="en-US" dirty="0">
                <a:cs typeface="Segoe UI" panose="020B0502040204020203" pitchFamily="34" charset="0"/>
                <a:sym typeface="Wingdings" panose="05000000000000000000" pitchFamily="2" charset="2"/>
              </a:rPr>
              <a:t>[click]</a:t>
            </a:r>
            <a:r>
              <a:rPr lang="en-US" baseline="0" dirty="0">
                <a:cs typeface="Segoe UI" panose="020B0502040204020203" pitchFamily="34" charset="0"/>
                <a:sym typeface="Wingdings" panose="05000000000000000000" pitchFamily="2" charset="2"/>
              </a:rPr>
              <a:t> </a:t>
            </a:r>
            <a:r>
              <a:rPr lang="en-US" dirty="0">
                <a:cs typeface="Segoe UI" panose="020B0502040204020203" pitchFamily="34" charset="0"/>
              </a:rPr>
              <a:t>Machine Learning Operationalizati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201F18-C7BD-4C07-B05C-F9BF48195D78}"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71179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C33DA8-0B69-49B1-903C-807367A02778}" type="slidenum">
              <a:rPr lang="id-ID" smtClean="0"/>
              <a:t>6</a:t>
            </a:fld>
            <a:endParaRPr lang="id-ID"/>
          </a:p>
        </p:txBody>
      </p:sp>
    </p:spTree>
    <p:extLst>
      <p:ext uri="{BB962C8B-B14F-4D97-AF65-F5344CB8AC3E}">
        <p14:creationId xmlns:p14="http://schemas.microsoft.com/office/powerpoint/2010/main" val="10738272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are Cognitive Services? </a:t>
            </a:r>
            <a:r>
              <a:rPr lang="en-US" dirty="0"/>
              <a:t>Microsoft Cognitive Services are a new collection of intelligence and knowledge APIs that enable developers to ultimately build smarter apps.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3/2017 3:01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682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11400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13005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Microsoft Build 2016</a:t>
            </a: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798446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dirty="0"/>
              <a:t>Examples</a:t>
            </a:r>
            <a:r>
              <a:rPr lang="en-US" baseline="0" dirty="0"/>
              <a:t> – Useful for moderating UGC</a:t>
            </a: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8</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5414428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9074075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6273225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5364983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8247915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Example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Acoustic models can be trained to better understand children voices</a:t>
            </a:r>
          </a:p>
          <a:p>
            <a:pPr marL="388712" marR="0" lvl="1"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dirty="0"/>
              <a:t>Language models can be trained to understand domain specific terms</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717374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C33DA8-0B69-49B1-903C-807367A02778}" type="slidenum">
              <a:rPr lang="id-ID" smtClean="0"/>
              <a:t>15</a:t>
            </a:fld>
            <a:endParaRPr lang="id-ID"/>
          </a:p>
        </p:txBody>
      </p:sp>
    </p:spTree>
    <p:extLst>
      <p:ext uri="{BB962C8B-B14F-4D97-AF65-F5344CB8AC3E}">
        <p14:creationId xmlns:p14="http://schemas.microsoft.com/office/powerpoint/2010/main" val="2627857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4902520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3/2017 3:01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518755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67,000 developers to date building bots since </a:t>
            </a:r>
            <a:r>
              <a:rPr lang="en-US" baseline="0" dirty="0"/>
              <a:t>launch a year ago</a:t>
            </a:r>
            <a:r>
              <a:rPr lang="en-US" dirty="0"/>
              <a:t>.</a:t>
            </a:r>
          </a:p>
          <a:p>
            <a:pPr marL="171450" indent="-171450">
              <a:buFont typeface="Arial" panose="020B0604020202020204" pitchFamily="34" charset="0"/>
              <a:buChar char="•"/>
            </a:pPr>
            <a:r>
              <a:rPr lang="en-US" dirty="0"/>
              <a:t>Write once and use</a:t>
            </a:r>
            <a:r>
              <a:rPr lang="en-US" baseline="0" dirty="0"/>
              <a:t> our bot connector to connect wherever your users are – Facebook, Slack, Skype or SMS, and your own websites.</a:t>
            </a:r>
            <a:endParaRPr lang="en-US" dirty="0"/>
          </a:p>
          <a:p>
            <a:pPr marL="171450" indent="-171450">
              <a:buFont typeface="Arial" panose="020B0604020202020204" pitchFamily="34" charset="0"/>
              <a:buChar char="•"/>
            </a:pPr>
            <a:r>
              <a:rPr lang="en-US" dirty="0"/>
              <a:t>Available</a:t>
            </a:r>
            <a:r>
              <a:rPr lang="en-US" baseline="0" dirty="0"/>
              <a:t> as </a:t>
            </a:r>
            <a:r>
              <a:rPr lang="en-US" dirty="0"/>
              <a:t>open source on GitHub and integrated in Azure via the bot service.</a:t>
            </a:r>
          </a:p>
          <a:p>
            <a:pPr marL="171450" indent="-171450">
              <a:buFont typeface="Arial" panose="020B0604020202020204" pitchFamily="34" charset="0"/>
              <a:buChar char="•"/>
            </a:pPr>
            <a:r>
              <a:rPr lang="en-US" dirty="0"/>
              <a:t>That said, bots</a:t>
            </a:r>
            <a:r>
              <a:rPr lang="en-US" baseline="0" dirty="0"/>
              <a:t> themselves are just pieces of software.  So, how do you make them smart?  Cognitive…</a:t>
            </a:r>
            <a:endParaRPr lang="en-US" dirty="0"/>
          </a:p>
        </p:txBody>
      </p:sp>
      <p:sp>
        <p:nvSpPr>
          <p:cNvPr id="4" name="Slide Number Placeholder 3"/>
          <p:cNvSpPr>
            <a:spLocks noGrp="1"/>
          </p:cNvSpPr>
          <p:nvPr>
            <p:ph type="sldNum" sz="quarter" idx="10"/>
          </p:nvPr>
        </p:nvSpPr>
        <p:spPr/>
        <p:txBody>
          <a:bodyPr/>
          <a:lstStyle/>
          <a:p>
            <a:pPr defTabSz="924458">
              <a:defRPr/>
            </a:pPr>
            <a:fld id="{B6D1E034-5232-41F8-B991-F18E5FA0EB1B}" type="slidenum">
              <a:rPr lang="en-US" sz="1800" kern="0">
                <a:solidFill>
                  <a:sysClr val="windowText" lastClr="000000"/>
                </a:solidFill>
                <a:latin typeface="Calibri" panose="020F0502020204030204"/>
              </a:rPr>
              <a:pPr defTabSz="924458">
                <a:defRPr/>
              </a:pPr>
              <a:t>47</a:t>
            </a:fld>
            <a:endParaRPr lang="en-US" sz="1800" kern="0">
              <a:solidFill>
                <a:sysClr val="windowText" lastClr="000000"/>
              </a:solidFill>
              <a:latin typeface="Calibri" panose="020F0502020204030204"/>
            </a:endParaRPr>
          </a:p>
        </p:txBody>
      </p:sp>
    </p:spTree>
    <p:extLst>
      <p:ext uri="{BB962C8B-B14F-4D97-AF65-F5344CB8AC3E}">
        <p14:creationId xmlns:p14="http://schemas.microsoft.com/office/powerpoint/2010/main" val="10105124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335A6624-BEC2-4059-B64A-8BA514ADEAE9}" type="slidenum">
              <a:rPr lang="fr-FR" smtClean="0"/>
              <a:t>48</a:t>
            </a:fld>
            <a:endParaRPr lang="fr-FR"/>
          </a:p>
        </p:txBody>
      </p:sp>
    </p:spTree>
    <p:extLst>
      <p:ext uri="{BB962C8B-B14F-4D97-AF65-F5344CB8AC3E}">
        <p14:creationId xmlns:p14="http://schemas.microsoft.com/office/powerpoint/2010/main" val="3455405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1EFE40D-E08A-464F-96D6-CEB0B2DD69B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91325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C52CFDC-D2D5-4B9F-BA75-89F771E01AEB}" type="slidenum">
              <a:rPr lang="en-US" smtClean="0"/>
              <a:t>19</a:t>
            </a:fld>
            <a:endParaRPr lang="en-US"/>
          </a:p>
        </p:txBody>
      </p:sp>
    </p:spTree>
    <p:extLst>
      <p:ext uri="{BB962C8B-B14F-4D97-AF65-F5344CB8AC3E}">
        <p14:creationId xmlns:p14="http://schemas.microsoft.com/office/powerpoint/2010/main" val="2232392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7 3: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851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3/2017 3:0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86403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Build 2017</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5/23/2017 4:5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06642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T</a:t>
            </a:r>
            <a:endParaRPr lang="fr-FR"/>
          </a:p>
        </p:txBody>
      </p:sp>
      <p:sp>
        <p:nvSpPr>
          <p:cNvPr id="4" name="Slide Number Placeholder 3"/>
          <p:cNvSpPr>
            <a:spLocks noGrp="1"/>
          </p:cNvSpPr>
          <p:nvPr>
            <p:ph type="sldNum" sz="quarter" idx="10"/>
          </p:nvPr>
        </p:nvSpPr>
        <p:spPr/>
        <p:txBody>
          <a:bodyPr/>
          <a:lstStyle/>
          <a:p>
            <a:fld id="{2C52CFDC-D2D5-4B9F-BA75-89F771E01AEB}"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3511439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pattFill prst="smConfetti">
          <a:fgClr>
            <a:schemeClr val="accent1"/>
          </a:fgClr>
          <a:bgClr>
            <a:schemeClr val="accent1">
              <a:lumMod val="60000"/>
              <a:lumOff val="40000"/>
            </a:schemeClr>
          </a:bgClr>
        </a:pattFill>
        <a:effectLst/>
      </p:bgPr>
    </p:bg>
    <p:spTree>
      <p:nvGrpSpPr>
        <p:cNvPr id="1" name=""/>
        <p:cNvGrpSpPr/>
        <p:nvPr/>
      </p:nvGrpSpPr>
      <p:grpSpPr>
        <a:xfrm>
          <a:off x="0" y="0"/>
          <a:ext cx="0" cy="0"/>
          <a:chOff x="0" y="0"/>
          <a:chExt cx="0" cy="0"/>
        </a:xfrm>
      </p:grpSpPr>
      <p:sp>
        <p:nvSpPr>
          <p:cNvPr id="10" name="Freeform 9"/>
          <p:cNvSpPr>
            <a:spLocks/>
          </p:cNvSpPr>
          <p:nvPr userDrawn="1"/>
        </p:nvSpPr>
        <p:spPr bwMode="auto">
          <a:xfrm>
            <a:off x="4763" y="-25400"/>
            <a:ext cx="12242800" cy="6934200"/>
          </a:xfrm>
          <a:custGeom>
            <a:avLst/>
            <a:gdLst>
              <a:gd name="T0" fmla="*/ 7120 w 7712"/>
              <a:gd name="T1" fmla="*/ 0 h 4368"/>
              <a:gd name="T2" fmla="*/ 6553 w 7712"/>
              <a:gd name="T3" fmla="*/ 0 h 4368"/>
              <a:gd name="T4" fmla="*/ 4364 w 7712"/>
              <a:gd name="T5" fmla="*/ 3854 h 4368"/>
              <a:gd name="T6" fmla="*/ 5434 w 7712"/>
              <a:gd name="T7" fmla="*/ 0 h 4368"/>
              <a:gd name="T8" fmla="*/ 4914 w 7712"/>
              <a:gd name="T9" fmla="*/ 0 h 4368"/>
              <a:gd name="T10" fmla="*/ 4060 w 7712"/>
              <a:gd name="T11" fmla="*/ 3834 h 4368"/>
              <a:gd name="T12" fmla="*/ 3842 w 7712"/>
              <a:gd name="T13" fmla="*/ 0 h 4368"/>
              <a:gd name="T14" fmla="*/ 3334 w 7712"/>
              <a:gd name="T15" fmla="*/ 0 h 4368"/>
              <a:gd name="T16" fmla="*/ 3753 w 7712"/>
              <a:gd name="T17" fmla="*/ 3843 h 4368"/>
              <a:gd name="T18" fmla="*/ 2245 w 7712"/>
              <a:gd name="T19" fmla="*/ 0 h 4368"/>
              <a:gd name="T20" fmla="*/ 1709 w 7712"/>
              <a:gd name="T21" fmla="*/ 0 h 4368"/>
              <a:gd name="T22" fmla="*/ 3454 w 7712"/>
              <a:gd name="T23" fmla="*/ 3876 h 4368"/>
              <a:gd name="T24" fmla="*/ 539 w 7712"/>
              <a:gd name="T25" fmla="*/ 0 h 4368"/>
              <a:gd name="T26" fmla="*/ 0 w 7712"/>
              <a:gd name="T27" fmla="*/ 78 h 4368"/>
              <a:gd name="T28" fmla="*/ 3169 w 7712"/>
              <a:gd name="T29" fmla="*/ 3941 h 4368"/>
              <a:gd name="T30" fmla="*/ 0 w 7712"/>
              <a:gd name="T31" fmla="*/ 1263 h 4368"/>
              <a:gd name="T32" fmla="*/ 0 w 7712"/>
              <a:gd name="T33" fmla="*/ 1652 h 4368"/>
              <a:gd name="T34" fmla="*/ 2909 w 7712"/>
              <a:gd name="T35" fmla="*/ 4027 h 4368"/>
              <a:gd name="T36" fmla="*/ 0 w 7712"/>
              <a:gd name="T37" fmla="*/ 2356 h 4368"/>
              <a:gd name="T38" fmla="*/ 0 w 7712"/>
              <a:gd name="T39" fmla="*/ 2580 h 4368"/>
              <a:gd name="T40" fmla="*/ 2683 w 7712"/>
              <a:gd name="T41" fmla="*/ 4136 h 4368"/>
              <a:gd name="T42" fmla="*/ 0 w 7712"/>
              <a:gd name="T43" fmla="*/ 3074 h 4368"/>
              <a:gd name="T44" fmla="*/ 0 w 7712"/>
              <a:gd name="T45" fmla="*/ 3225 h 4368"/>
              <a:gd name="T46" fmla="*/ 2496 w 7712"/>
              <a:gd name="T47" fmla="*/ 4265 h 4368"/>
              <a:gd name="T48" fmla="*/ 0 w 7712"/>
              <a:gd name="T49" fmla="*/ 3614 h 4368"/>
              <a:gd name="T50" fmla="*/ 0 w 7712"/>
              <a:gd name="T51" fmla="*/ 3725 h 4368"/>
              <a:gd name="T52" fmla="*/ 2189 w 7712"/>
              <a:gd name="T53" fmla="*/ 4368 h 4368"/>
              <a:gd name="T54" fmla="*/ 7712 w 7712"/>
              <a:gd name="T55" fmla="*/ 3904 h 4368"/>
              <a:gd name="T56" fmla="*/ 5545 w 7712"/>
              <a:gd name="T57" fmla="*/ 4335 h 4368"/>
              <a:gd name="T58" fmla="*/ 7712 w 7712"/>
              <a:gd name="T59" fmla="*/ 3569 h 4368"/>
              <a:gd name="T60" fmla="*/ 7712 w 7712"/>
              <a:gd name="T61" fmla="*/ 3451 h 4368"/>
              <a:gd name="T62" fmla="*/ 5381 w 7712"/>
              <a:gd name="T63" fmla="*/ 4198 h 4368"/>
              <a:gd name="T64" fmla="*/ 7712 w 7712"/>
              <a:gd name="T65" fmla="*/ 3043 h 4368"/>
              <a:gd name="T66" fmla="*/ 7712 w 7712"/>
              <a:gd name="T67" fmla="*/ 2879 h 4368"/>
              <a:gd name="T68" fmla="*/ 5174 w 7712"/>
              <a:gd name="T69" fmla="*/ 4077 h 4368"/>
              <a:gd name="T70" fmla="*/ 7712 w 7712"/>
              <a:gd name="T71" fmla="*/ 2328 h 4368"/>
              <a:gd name="T72" fmla="*/ 7712 w 7712"/>
              <a:gd name="T73" fmla="*/ 2065 h 4368"/>
              <a:gd name="T74" fmla="*/ 4931 w 7712"/>
              <a:gd name="T75" fmla="*/ 3980 h 4368"/>
              <a:gd name="T76" fmla="*/ 7712 w 7712"/>
              <a:gd name="T77" fmla="*/ 1224 h 4368"/>
              <a:gd name="T78" fmla="*/ 7712 w 7712"/>
              <a:gd name="T79" fmla="*/ 718 h 4368"/>
              <a:gd name="T80" fmla="*/ 4657 w 7712"/>
              <a:gd name="T81" fmla="*/ 3904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12" h="4368">
                <a:moveTo>
                  <a:pt x="7427" y="0"/>
                </a:moveTo>
                <a:lnTo>
                  <a:pt x="7120" y="0"/>
                </a:lnTo>
                <a:lnTo>
                  <a:pt x="4515" y="3876"/>
                </a:lnTo>
                <a:lnTo>
                  <a:pt x="6553" y="0"/>
                </a:lnTo>
                <a:lnTo>
                  <a:pt x="6257" y="0"/>
                </a:lnTo>
                <a:lnTo>
                  <a:pt x="4364" y="3854"/>
                </a:lnTo>
                <a:lnTo>
                  <a:pt x="5721" y="0"/>
                </a:lnTo>
                <a:lnTo>
                  <a:pt x="5434" y="0"/>
                </a:lnTo>
                <a:lnTo>
                  <a:pt x="4213" y="3843"/>
                </a:lnTo>
                <a:lnTo>
                  <a:pt x="4914" y="0"/>
                </a:lnTo>
                <a:lnTo>
                  <a:pt x="4632" y="0"/>
                </a:lnTo>
                <a:lnTo>
                  <a:pt x="4060" y="3834"/>
                </a:lnTo>
                <a:lnTo>
                  <a:pt x="4124" y="0"/>
                </a:lnTo>
                <a:lnTo>
                  <a:pt x="3842" y="0"/>
                </a:lnTo>
                <a:lnTo>
                  <a:pt x="3906" y="3834"/>
                </a:lnTo>
                <a:lnTo>
                  <a:pt x="3334" y="0"/>
                </a:lnTo>
                <a:lnTo>
                  <a:pt x="3052" y="0"/>
                </a:lnTo>
                <a:lnTo>
                  <a:pt x="3753" y="3843"/>
                </a:lnTo>
                <a:lnTo>
                  <a:pt x="2532" y="0"/>
                </a:lnTo>
                <a:lnTo>
                  <a:pt x="2245" y="0"/>
                </a:lnTo>
                <a:lnTo>
                  <a:pt x="3602" y="3857"/>
                </a:lnTo>
                <a:lnTo>
                  <a:pt x="1709" y="0"/>
                </a:lnTo>
                <a:lnTo>
                  <a:pt x="1413" y="0"/>
                </a:lnTo>
                <a:lnTo>
                  <a:pt x="3454" y="3876"/>
                </a:lnTo>
                <a:lnTo>
                  <a:pt x="846" y="0"/>
                </a:lnTo>
                <a:lnTo>
                  <a:pt x="539" y="0"/>
                </a:lnTo>
                <a:lnTo>
                  <a:pt x="3309" y="3904"/>
                </a:lnTo>
                <a:lnTo>
                  <a:pt x="0" y="78"/>
                </a:lnTo>
                <a:lnTo>
                  <a:pt x="0" y="436"/>
                </a:lnTo>
                <a:lnTo>
                  <a:pt x="3169" y="3941"/>
                </a:lnTo>
                <a:lnTo>
                  <a:pt x="0" y="987"/>
                </a:lnTo>
                <a:lnTo>
                  <a:pt x="0" y="1263"/>
                </a:lnTo>
                <a:lnTo>
                  <a:pt x="3035" y="3980"/>
                </a:lnTo>
                <a:lnTo>
                  <a:pt x="0" y="1652"/>
                </a:lnTo>
                <a:lnTo>
                  <a:pt x="0" y="1875"/>
                </a:lnTo>
                <a:lnTo>
                  <a:pt x="2909" y="4027"/>
                </a:lnTo>
                <a:lnTo>
                  <a:pt x="0" y="2166"/>
                </a:lnTo>
                <a:lnTo>
                  <a:pt x="0" y="2356"/>
                </a:lnTo>
                <a:lnTo>
                  <a:pt x="2792" y="4077"/>
                </a:lnTo>
                <a:lnTo>
                  <a:pt x="0" y="2580"/>
                </a:lnTo>
                <a:lnTo>
                  <a:pt x="0" y="2744"/>
                </a:lnTo>
                <a:lnTo>
                  <a:pt x="2683" y="4136"/>
                </a:lnTo>
                <a:lnTo>
                  <a:pt x="0" y="2929"/>
                </a:lnTo>
                <a:lnTo>
                  <a:pt x="0" y="3074"/>
                </a:lnTo>
                <a:lnTo>
                  <a:pt x="2585" y="4198"/>
                </a:lnTo>
                <a:lnTo>
                  <a:pt x="0" y="3225"/>
                </a:lnTo>
                <a:lnTo>
                  <a:pt x="0" y="3359"/>
                </a:lnTo>
                <a:lnTo>
                  <a:pt x="2496" y="4265"/>
                </a:lnTo>
                <a:lnTo>
                  <a:pt x="0" y="3488"/>
                </a:lnTo>
                <a:lnTo>
                  <a:pt x="0" y="3614"/>
                </a:lnTo>
                <a:lnTo>
                  <a:pt x="2421" y="4335"/>
                </a:lnTo>
                <a:lnTo>
                  <a:pt x="0" y="3725"/>
                </a:lnTo>
                <a:lnTo>
                  <a:pt x="0" y="3843"/>
                </a:lnTo>
                <a:lnTo>
                  <a:pt x="2189" y="4368"/>
                </a:lnTo>
                <a:lnTo>
                  <a:pt x="5777" y="4368"/>
                </a:lnTo>
                <a:lnTo>
                  <a:pt x="7712" y="3904"/>
                </a:lnTo>
                <a:lnTo>
                  <a:pt x="7712" y="3790"/>
                </a:lnTo>
                <a:lnTo>
                  <a:pt x="5545" y="4335"/>
                </a:lnTo>
                <a:lnTo>
                  <a:pt x="7712" y="3689"/>
                </a:lnTo>
                <a:lnTo>
                  <a:pt x="7712" y="3569"/>
                </a:lnTo>
                <a:lnTo>
                  <a:pt x="5470" y="4265"/>
                </a:lnTo>
                <a:lnTo>
                  <a:pt x="7712" y="3451"/>
                </a:lnTo>
                <a:lnTo>
                  <a:pt x="7712" y="3323"/>
                </a:lnTo>
                <a:lnTo>
                  <a:pt x="5381" y="4198"/>
                </a:lnTo>
                <a:lnTo>
                  <a:pt x="7712" y="3186"/>
                </a:lnTo>
                <a:lnTo>
                  <a:pt x="7712" y="3043"/>
                </a:lnTo>
                <a:lnTo>
                  <a:pt x="5283" y="4136"/>
                </a:lnTo>
                <a:lnTo>
                  <a:pt x="7712" y="2879"/>
                </a:lnTo>
                <a:lnTo>
                  <a:pt x="7712" y="2716"/>
                </a:lnTo>
                <a:lnTo>
                  <a:pt x="5174" y="4077"/>
                </a:lnTo>
                <a:lnTo>
                  <a:pt x="7712" y="2512"/>
                </a:lnTo>
                <a:lnTo>
                  <a:pt x="7712" y="2328"/>
                </a:lnTo>
                <a:lnTo>
                  <a:pt x="5057" y="4027"/>
                </a:lnTo>
                <a:lnTo>
                  <a:pt x="7712" y="2065"/>
                </a:lnTo>
                <a:lnTo>
                  <a:pt x="7712" y="1847"/>
                </a:lnTo>
                <a:lnTo>
                  <a:pt x="4931" y="3980"/>
                </a:lnTo>
                <a:lnTo>
                  <a:pt x="7712" y="1490"/>
                </a:lnTo>
                <a:lnTo>
                  <a:pt x="7712" y="1224"/>
                </a:lnTo>
                <a:lnTo>
                  <a:pt x="4797" y="3938"/>
                </a:lnTo>
                <a:lnTo>
                  <a:pt x="7712" y="718"/>
                </a:lnTo>
                <a:lnTo>
                  <a:pt x="7712" y="375"/>
                </a:lnTo>
                <a:lnTo>
                  <a:pt x="4657" y="3904"/>
                </a:lnTo>
                <a:lnTo>
                  <a:pt x="7427" y="0"/>
                </a:lnTo>
                <a:close/>
              </a:path>
            </a:pathLst>
          </a:custGeom>
          <a:gradFill>
            <a:gsLst>
              <a:gs pos="0">
                <a:schemeClr val="bg1">
                  <a:alpha val="15000"/>
                </a:schemeClr>
              </a:gs>
              <a:gs pos="100000">
                <a:schemeClr val="bg1">
                  <a:alpha val="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29"/>
          <p:cNvSpPr>
            <a:spLocks/>
          </p:cNvSpPr>
          <p:nvPr userDrawn="1"/>
        </p:nvSpPr>
        <p:spPr bwMode="auto">
          <a:xfrm>
            <a:off x="6943725" y="4184197"/>
            <a:ext cx="5253038" cy="2430463"/>
          </a:xfrm>
          <a:custGeom>
            <a:avLst/>
            <a:gdLst>
              <a:gd name="T0" fmla="*/ 1173 w 1304"/>
              <a:gd name="T1" fmla="*/ 0 h 601"/>
              <a:gd name="T2" fmla="*/ 1007 w 1304"/>
              <a:gd name="T3" fmla="*/ 101 h 601"/>
              <a:gd name="T4" fmla="*/ 897 w 1304"/>
              <a:gd name="T5" fmla="*/ 65 h 601"/>
              <a:gd name="T6" fmla="*/ 709 w 1304"/>
              <a:gd name="T7" fmla="*/ 238 h 601"/>
              <a:gd name="T8" fmla="*/ 637 w 1304"/>
              <a:gd name="T9" fmla="*/ 272 h 601"/>
              <a:gd name="T10" fmla="*/ 565 w 1304"/>
              <a:gd name="T11" fmla="*/ 232 h 601"/>
              <a:gd name="T12" fmla="*/ 471 w 1304"/>
              <a:gd name="T13" fmla="*/ 142 h 601"/>
              <a:gd name="T14" fmla="*/ 445 w 1304"/>
              <a:gd name="T15" fmla="*/ 147 h 601"/>
              <a:gd name="T16" fmla="*/ 290 w 1304"/>
              <a:gd name="T17" fmla="*/ 65 h 601"/>
              <a:gd name="T18" fmla="*/ 103 w 1304"/>
              <a:gd name="T19" fmla="*/ 238 h 601"/>
              <a:gd name="T20" fmla="*/ 102 w 1304"/>
              <a:gd name="T21" fmla="*/ 238 h 601"/>
              <a:gd name="T22" fmla="*/ 16 w 1304"/>
              <a:gd name="T23" fmla="*/ 297 h 601"/>
              <a:gd name="T24" fmla="*/ 0 w 1304"/>
              <a:gd name="T25" fmla="*/ 275 h 601"/>
              <a:gd name="T26" fmla="*/ 0 w 1304"/>
              <a:gd name="T27" fmla="*/ 601 h 601"/>
              <a:gd name="T28" fmla="*/ 1304 w 1304"/>
              <a:gd name="T29" fmla="*/ 601 h 601"/>
              <a:gd name="T30" fmla="*/ 1304 w 1304"/>
              <a:gd name="T31" fmla="*/ 53 h 601"/>
              <a:gd name="T32" fmla="*/ 1173 w 1304"/>
              <a:gd name="T33" fmla="*/ 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4" h="601">
                <a:moveTo>
                  <a:pt x="1173" y="0"/>
                </a:moveTo>
                <a:cubicBezTo>
                  <a:pt x="1101" y="0"/>
                  <a:pt x="1038" y="40"/>
                  <a:pt x="1007" y="101"/>
                </a:cubicBezTo>
                <a:cubicBezTo>
                  <a:pt x="975" y="78"/>
                  <a:pt x="938" y="65"/>
                  <a:pt x="897" y="65"/>
                </a:cubicBezTo>
                <a:cubicBezTo>
                  <a:pt x="797" y="65"/>
                  <a:pt x="716" y="141"/>
                  <a:pt x="709" y="238"/>
                </a:cubicBezTo>
                <a:cubicBezTo>
                  <a:pt x="680" y="238"/>
                  <a:pt x="654" y="252"/>
                  <a:pt x="637" y="272"/>
                </a:cubicBezTo>
                <a:cubicBezTo>
                  <a:pt x="621" y="250"/>
                  <a:pt x="595" y="234"/>
                  <a:pt x="565" y="232"/>
                </a:cubicBezTo>
                <a:cubicBezTo>
                  <a:pt x="563" y="182"/>
                  <a:pt x="522" y="142"/>
                  <a:pt x="471" y="142"/>
                </a:cubicBezTo>
                <a:cubicBezTo>
                  <a:pt x="461" y="142"/>
                  <a:pt x="453" y="143"/>
                  <a:pt x="445" y="147"/>
                </a:cubicBezTo>
                <a:cubicBezTo>
                  <a:pt x="411" y="97"/>
                  <a:pt x="354" y="65"/>
                  <a:pt x="290" y="65"/>
                </a:cubicBezTo>
                <a:cubicBezTo>
                  <a:pt x="191" y="65"/>
                  <a:pt x="111" y="141"/>
                  <a:pt x="103" y="238"/>
                </a:cubicBezTo>
                <a:cubicBezTo>
                  <a:pt x="102" y="238"/>
                  <a:pt x="102" y="238"/>
                  <a:pt x="102" y="238"/>
                </a:cubicBezTo>
                <a:cubicBezTo>
                  <a:pt x="64" y="238"/>
                  <a:pt x="30" y="263"/>
                  <a:pt x="16" y="297"/>
                </a:cubicBezTo>
                <a:cubicBezTo>
                  <a:pt x="11" y="289"/>
                  <a:pt x="6" y="282"/>
                  <a:pt x="0" y="275"/>
                </a:cubicBezTo>
                <a:cubicBezTo>
                  <a:pt x="0" y="601"/>
                  <a:pt x="0" y="601"/>
                  <a:pt x="0" y="601"/>
                </a:cubicBezTo>
                <a:cubicBezTo>
                  <a:pt x="996" y="601"/>
                  <a:pt x="1243" y="601"/>
                  <a:pt x="1304" y="601"/>
                </a:cubicBezTo>
                <a:cubicBezTo>
                  <a:pt x="1304" y="53"/>
                  <a:pt x="1304" y="53"/>
                  <a:pt x="1304" y="53"/>
                </a:cubicBezTo>
                <a:cubicBezTo>
                  <a:pt x="1270" y="20"/>
                  <a:pt x="1224" y="0"/>
                  <a:pt x="1173" y="0"/>
                </a:cubicBezTo>
                <a:close/>
              </a:path>
            </a:pathLst>
          </a:custGeom>
          <a:solidFill>
            <a:schemeClr val="bg1">
              <a:alpha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30"/>
          <p:cNvSpPr>
            <a:spLocks noEditPoints="1"/>
          </p:cNvSpPr>
          <p:nvPr userDrawn="1"/>
        </p:nvSpPr>
        <p:spPr bwMode="auto">
          <a:xfrm>
            <a:off x="0" y="4549322"/>
            <a:ext cx="2219325" cy="2065338"/>
          </a:xfrm>
          <a:custGeom>
            <a:avLst/>
            <a:gdLst>
              <a:gd name="T0" fmla="*/ 551 w 551"/>
              <a:gd name="T1" fmla="*/ 201 h 511"/>
              <a:gd name="T2" fmla="*/ 538 w 551"/>
              <a:gd name="T3" fmla="*/ 221 h 511"/>
              <a:gd name="T4" fmla="*/ 500 w 551"/>
              <a:gd name="T5" fmla="*/ 208 h 511"/>
              <a:gd name="T6" fmla="*/ 470 w 551"/>
              <a:gd name="T7" fmla="*/ 215 h 511"/>
              <a:gd name="T8" fmla="*/ 398 w 551"/>
              <a:gd name="T9" fmla="*/ 161 h 511"/>
              <a:gd name="T10" fmla="*/ 336 w 551"/>
              <a:gd name="T11" fmla="*/ 194 h 511"/>
              <a:gd name="T12" fmla="*/ 162 w 551"/>
              <a:gd name="T13" fmla="*/ 81 h 511"/>
              <a:gd name="T14" fmla="*/ 114 w 551"/>
              <a:gd name="T15" fmla="*/ 87 h 511"/>
              <a:gd name="T16" fmla="*/ 119 w 551"/>
              <a:gd name="T17" fmla="*/ 63 h 511"/>
              <a:gd name="T18" fmla="*/ 57 w 551"/>
              <a:gd name="T19" fmla="*/ 0 h 511"/>
              <a:gd name="T20" fmla="*/ 0 w 551"/>
              <a:gd name="T21" fmla="*/ 38 h 511"/>
              <a:gd name="T22" fmla="*/ 0 w 551"/>
              <a:gd name="T23" fmla="*/ 511 h 511"/>
              <a:gd name="T24" fmla="*/ 551 w 551"/>
              <a:gd name="T25" fmla="*/ 511 h 511"/>
              <a:gd name="T26" fmla="*/ 551 w 551"/>
              <a:gd name="T27" fmla="*/ 201 h 511"/>
              <a:gd name="T28" fmla="*/ 42 w 551"/>
              <a:gd name="T29" fmla="*/ 124 h 511"/>
              <a:gd name="T30" fmla="*/ 42 w 551"/>
              <a:gd name="T31" fmla="*/ 123 h 511"/>
              <a:gd name="T32" fmla="*/ 43 w 551"/>
              <a:gd name="T33" fmla="*/ 123 h 511"/>
              <a:gd name="T34" fmla="*/ 42 w 551"/>
              <a:gd name="T35" fmla="*/ 124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1" h="511">
                <a:moveTo>
                  <a:pt x="551" y="201"/>
                </a:moveTo>
                <a:cubicBezTo>
                  <a:pt x="546" y="207"/>
                  <a:pt x="542" y="214"/>
                  <a:pt x="538" y="221"/>
                </a:cubicBezTo>
                <a:cubicBezTo>
                  <a:pt x="528" y="212"/>
                  <a:pt x="515" y="208"/>
                  <a:pt x="500" y="208"/>
                </a:cubicBezTo>
                <a:cubicBezTo>
                  <a:pt x="489" y="208"/>
                  <a:pt x="479" y="210"/>
                  <a:pt x="470" y="215"/>
                </a:cubicBezTo>
                <a:cubicBezTo>
                  <a:pt x="462" y="183"/>
                  <a:pt x="433" y="161"/>
                  <a:pt x="398" y="161"/>
                </a:cubicBezTo>
                <a:cubicBezTo>
                  <a:pt x="373" y="161"/>
                  <a:pt x="350" y="174"/>
                  <a:pt x="336" y="194"/>
                </a:cubicBezTo>
                <a:cubicBezTo>
                  <a:pt x="307" y="128"/>
                  <a:pt x="239" y="81"/>
                  <a:pt x="162" y="81"/>
                </a:cubicBezTo>
                <a:cubicBezTo>
                  <a:pt x="146" y="81"/>
                  <a:pt x="129" y="84"/>
                  <a:pt x="114" y="87"/>
                </a:cubicBezTo>
                <a:cubicBezTo>
                  <a:pt x="117" y="80"/>
                  <a:pt x="119" y="72"/>
                  <a:pt x="119" y="63"/>
                </a:cubicBezTo>
                <a:cubicBezTo>
                  <a:pt x="119" y="29"/>
                  <a:pt x="91" y="0"/>
                  <a:pt x="57" y="0"/>
                </a:cubicBezTo>
                <a:cubicBezTo>
                  <a:pt x="32" y="0"/>
                  <a:pt x="10" y="16"/>
                  <a:pt x="0" y="38"/>
                </a:cubicBezTo>
                <a:cubicBezTo>
                  <a:pt x="0" y="511"/>
                  <a:pt x="0" y="511"/>
                  <a:pt x="0" y="511"/>
                </a:cubicBezTo>
                <a:cubicBezTo>
                  <a:pt x="196" y="511"/>
                  <a:pt x="379" y="511"/>
                  <a:pt x="551" y="511"/>
                </a:cubicBezTo>
                <a:lnTo>
                  <a:pt x="551" y="201"/>
                </a:lnTo>
                <a:close/>
                <a:moveTo>
                  <a:pt x="42" y="124"/>
                </a:moveTo>
                <a:cubicBezTo>
                  <a:pt x="42" y="123"/>
                  <a:pt x="42" y="123"/>
                  <a:pt x="42" y="123"/>
                </a:cubicBezTo>
                <a:cubicBezTo>
                  <a:pt x="43" y="123"/>
                  <a:pt x="43" y="123"/>
                  <a:pt x="43" y="123"/>
                </a:cubicBezTo>
                <a:cubicBezTo>
                  <a:pt x="43" y="124"/>
                  <a:pt x="43" y="124"/>
                  <a:pt x="42" y="124"/>
                </a:cubicBezTo>
                <a:close/>
              </a:path>
            </a:pathLst>
          </a:custGeom>
          <a:solidFill>
            <a:schemeClr val="bg1">
              <a:alpha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28"/>
          <p:cNvSpPr>
            <a:spLocks/>
          </p:cNvSpPr>
          <p:nvPr userDrawn="1"/>
        </p:nvSpPr>
        <p:spPr bwMode="auto">
          <a:xfrm>
            <a:off x="3230563" y="4933497"/>
            <a:ext cx="2436813" cy="1519238"/>
          </a:xfrm>
          <a:custGeom>
            <a:avLst/>
            <a:gdLst>
              <a:gd name="T0" fmla="*/ 605 w 605"/>
              <a:gd name="T1" fmla="*/ 359 h 376"/>
              <a:gd name="T2" fmla="*/ 602 w 605"/>
              <a:gd name="T3" fmla="*/ 359 h 376"/>
              <a:gd name="T4" fmla="*/ 602 w 605"/>
              <a:gd name="T5" fmla="*/ 103 h 376"/>
              <a:gd name="T6" fmla="*/ 597 w 605"/>
              <a:gd name="T7" fmla="*/ 126 h 376"/>
              <a:gd name="T8" fmla="*/ 523 w 605"/>
              <a:gd name="T9" fmla="*/ 73 h 376"/>
              <a:gd name="T10" fmla="*/ 451 w 605"/>
              <a:gd name="T11" fmla="*/ 120 h 376"/>
              <a:gd name="T12" fmla="*/ 379 w 605"/>
              <a:gd name="T13" fmla="*/ 66 h 376"/>
              <a:gd name="T14" fmla="*/ 338 w 605"/>
              <a:gd name="T15" fmla="*/ 78 h 376"/>
              <a:gd name="T16" fmla="*/ 241 w 605"/>
              <a:gd name="T17" fmla="*/ 0 h 376"/>
              <a:gd name="T18" fmla="*/ 168 w 605"/>
              <a:gd name="T19" fmla="*/ 32 h 376"/>
              <a:gd name="T20" fmla="*/ 117 w 605"/>
              <a:gd name="T21" fmla="*/ 13 h 376"/>
              <a:gd name="T22" fmla="*/ 42 w 605"/>
              <a:gd name="T23" fmla="*/ 88 h 376"/>
              <a:gd name="T24" fmla="*/ 43 w 605"/>
              <a:gd name="T25" fmla="*/ 97 h 376"/>
              <a:gd name="T26" fmla="*/ 0 w 605"/>
              <a:gd name="T27" fmla="*/ 132 h 376"/>
              <a:gd name="T28" fmla="*/ 0 w 605"/>
              <a:gd name="T29" fmla="*/ 376 h 376"/>
              <a:gd name="T30" fmla="*/ 605 w 605"/>
              <a:gd name="T31" fmla="*/ 376 h 376"/>
              <a:gd name="T32" fmla="*/ 605 w 605"/>
              <a:gd name="T33" fmla="*/ 35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5" h="376">
                <a:moveTo>
                  <a:pt x="605" y="359"/>
                </a:moveTo>
                <a:cubicBezTo>
                  <a:pt x="602" y="359"/>
                  <a:pt x="602" y="359"/>
                  <a:pt x="602" y="359"/>
                </a:cubicBezTo>
                <a:cubicBezTo>
                  <a:pt x="602" y="103"/>
                  <a:pt x="602" y="103"/>
                  <a:pt x="602" y="103"/>
                </a:cubicBezTo>
                <a:cubicBezTo>
                  <a:pt x="600" y="111"/>
                  <a:pt x="598" y="118"/>
                  <a:pt x="597" y="126"/>
                </a:cubicBezTo>
                <a:cubicBezTo>
                  <a:pt x="586" y="95"/>
                  <a:pt x="557" y="73"/>
                  <a:pt x="523" y="73"/>
                </a:cubicBezTo>
                <a:cubicBezTo>
                  <a:pt x="491" y="73"/>
                  <a:pt x="463" y="93"/>
                  <a:pt x="451" y="120"/>
                </a:cubicBezTo>
                <a:cubicBezTo>
                  <a:pt x="442" y="89"/>
                  <a:pt x="413" y="66"/>
                  <a:pt x="379" y="66"/>
                </a:cubicBezTo>
                <a:cubicBezTo>
                  <a:pt x="364" y="66"/>
                  <a:pt x="350" y="70"/>
                  <a:pt x="338" y="78"/>
                </a:cubicBezTo>
                <a:cubicBezTo>
                  <a:pt x="328" y="34"/>
                  <a:pt x="289" y="0"/>
                  <a:pt x="241" y="0"/>
                </a:cubicBezTo>
                <a:cubicBezTo>
                  <a:pt x="212" y="0"/>
                  <a:pt x="186" y="13"/>
                  <a:pt x="168" y="32"/>
                </a:cubicBezTo>
                <a:cubicBezTo>
                  <a:pt x="155" y="20"/>
                  <a:pt x="137" y="13"/>
                  <a:pt x="117" y="13"/>
                </a:cubicBezTo>
                <a:cubicBezTo>
                  <a:pt x="76" y="13"/>
                  <a:pt x="42" y="47"/>
                  <a:pt x="42" y="88"/>
                </a:cubicBezTo>
                <a:cubicBezTo>
                  <a:pt x="42" y="91"/>
                  <a:pt x="42" y="94"/>
                  <a:pt x="43" y="97"/>
                </a:cubicBezTo>
                <a:cubicBezTo>
                  <a:pt x="25" y="104"/>
                  <a:pt x="9" y="115"/>
                  <a:pt x="0" y="132"/>
                </a:cubicBezTo>
                <a:cubicBezTo>
                  <a:pt x="0" y="376"/>
                  <a:pt x="0" y="376"/>
                  <a:pt x="0" y="376"/>
                </a:cubicBezTo>
                <a:cubicBezTo>
                  <a:pt x="171" y="376"/>
                  <a:pt x="371" y="376"/>
                  <a:pt x="605" y="376"/>
                </a:cubicBezTo>
                <a:lnTo>
                  <a:pt x="605" y="359"/>
                </a:lnTo>
                <a:close/>
              </a:path>
            </a:pathLst>
          </a:custGeom>
          <a:solidFill>
            <a:schemeClr val="bg1">
              <a:alpha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5" name="Freeform 14"/>
          <p:cNvSpPr>
            <a:spLocks/>
          </p:cNvSpPr>
          <p:nvPr userDrawn="1"/>
        </p:nvSpPr>
        <p:spPr bwMode="auto">
          <a:xfrm>
            <a:off x="0" y="4820369"/>
            <a:ext cx="12196763" cy="2037631"/>
          </a:xfrm>
          <a:custGeom>
            <a:avLst/>
            <a:gdLst>
              <a:gd name="connsiteX0" fmla="*/ 9087152 w 12196763"/>
              <a:gd name="connsiteY0" fmla="*/ 0 h 2037631"/>
              <a:gd name="connsiteX1" fmla="*/ 9888723 w 12196763"/>
              <a:gd name="connsiteY1" fmla="*/ 387559 h 2037631"/>
              <a:gd name="connsiteX2" fmla="*/ 10021647 w 12196763"/>
              <a:gd name="connsiteY2" fmla="*/ 375448 h 2037631"/>
              <a:gd name="connsiteX3" fmla="*/ 10517090 w 12196763"/>
              <a:gd name="connsiteY3" fmla="*/ 807414 h 2037631"/>
              <a:gd name="connsiteX4" fmla="*/ 10879609 w 12196763"/>
              <a:gd name="connsiteY4" fmla="*/ 997156 h 2037631"/>
              <a:gd name="connsiteX5" fmla="*/ 11254213 w 12196763"/>
              <a:gd name="connsiteY5" fmla="*/ 835673 h 2037631"/>
              <a:gd name="connsiteX6" fmla="*/ 12196763 w 12196763"/>
              <a:gd name="connsiteY6" fmla="*/ 0 h 2037631"/>
              <a:gd name="connsiteX7" fmla="*/ 12196763 w 12196763"/>
              <a:gd name="connsiteY7" fmla="*/ 1920044 h 2037631"/>
              <a:gd name="connsiteX8" fmla="*/ 12196763 w 12196763"/>
              <a:gd name="connsiteY8" fmla="*/ 2037631 h 2037631"/>
              <a:gd name="connsiteX9" fmla="*/ 0 w 12196763"/>
              <a:gd name="connsiteY9" fmla="*/ 2037631 h 2037631"/>
              <a:gd name="connsiteX10" fmla="*/ 0 w 12196763"/>
              <a:gd name="connsiteY10" fmla="*/ 637857 h 2037631"/>
              <a:gd name="connsiteX11" fmla="*/ 402799 w 12196763"/>
              <a:gd name="connsiteY11" fmla="*/ 1057712 h 2037631"/>
              <a:gd name="connsiteX12" fmla="*/ 729067 w 12196763"/>
              <a:gd name="connsiteY12" fmla="*/ 896230 h 2037631"/>
              <a:gd name="connsiteX13" fmla="*/ 1095614 w 12196763"/>
              <a:gd name="connsiteY13" fmla="*/ 1154602 h 2037631"/>
              <a:gd name="connsiteX14" fmla="*/ 1252706 w 12196763"/>
              <a:gd name="connsiteY14" fmla="*/ 1114231 h 2037631"/>
              <a:gd name="connsiteX15" fmla="*/ 1450078 w 12196763"/>
              <a:gd name="connsiteY15" fmla="*/ 1178824 h 2037631"/>
              <a:gd name="connsiteX16" fmla="*/ 1840793 w 12196763"/>
              <a:gd name="connsiteY16" fmla="*/ 924489 h 2037631"/>
              <a:gd name="connsiteX17" fmla="*/ 2779316 w 12196763"/>
              <a:gd name="connsiteY17" fmla="*/ 290669 h 2037631"/>
              <a:gd name="connsiteX18" fmla="*/ 3758118 w 12196763"/>
              <a:gd name="connsiteY18" fmla="*/ 1061749 h 2037631"/>
              <a:gd name="connsiteX19" fmla="*/ 4237449 w 12196763"/>
              <a:gd name="connsiteY19" fmla="*/ 738784 h 2037631"/>
              <a:gd name="connsiteX20" fmla="*/ 4704696 w 12196763"/>
              <a:gd name="connsiteY20" fmla="*/ 1025416 h 2037631"/>
              <a:gd name="connsiteX21" fmla="*/ 5171944 w 12196763"/>
              <a:gd name="connsiteY21" fmla="*/ 698413 h 2037631"/>
              <a:gd name="connsiteX22" fmla="*/ 5441819 w 12196763"/>
              <a:gd name="connsiteY22" fmla="*/ 771080 h 2037631"/>
              <a:gd name="connsiteX23" fmla="*/ 6078242 w 12196763"/>
              <a:gd name="connsiteY23" fmla="*/ 294706 h 2037631"/>
              <a:gd name="connsiteX24" fmla="*/ 6553545 w 12196763"/>
              <a:gd name="connsiteY24" fmla="*/ 492523 h 2037631"/>
              <a:gd name="connsiteX25" fmla="*/ 6887868 w 12196763"/>
              <a:gd name="connsiteY25" fmla="*/ 375448 h 2037631"/>
              <a:gd name="connsiteX26" fmla="*/ 7375256 w 12196763"/>
              <a:gd name="connsiteY26" fmla="*/ 831636 h 2037631"/>
              <a:gd name="connsiteX27" fmla="*/ 7371228 w 12196763"/>
              <a:gd name="connsiteY27" fmla="*/ 888155 h 2037631"/>
              <a:gd name="connsiteX28" fmla="*/ 7665271 w 12196763"/>
              <a:gd name="connsiteY28" fmla="*/ 1110194 h 2037631"/>
              <a:gd name="connsiteX29" fmla="*/ 8116406 w 12196763"/>
              <a:gd name="connsiteY29" fmla="*/ 835673 h 2037631"/>
              <a:gd name="connsiteX30" fmla="*/ 8120434 w 12196763"/>
              <a:gd name="connsiteY30" fmla="*/ 835673 h 2037631"/>
              <a:gd name="connsiteX31" fmla="*/ 9087152 w 12196763"/>
              <a:gd name="connsiteY31" fmla="*/ 0 h 203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196763" h="2037631">
                <a:moveTo>
                  <a:pt x="9087152" y="0"/>
                </a:moveTo>
                <a:cubicBezTo>
                  <a:pt x="9417448" y="0"/>
                  <a:pt x="9711491" y="153409"/>
                  <a:pt x="9888723" y="387559"/>
                </a:cubicBezTo>
                <a:cubicBezTo>
                  <a:pt x="9929003" y="379485"/>
                  <a:pt x="9977339" y="375448"/>
                  <a:pt x="10021647" y="375448"/>
                </a:cubicBezTo>
                <a:cubicBezTo>
                  <a:pt x="10283466" y="375448"/>
                  <a:pt x="10500978" y="565190"/>
                  <a:pt x="10517090" y="807414"/>
                </a:cubicBezTo>
                <a:cubicBezTo>
                  <a:pt x="10666126" y="815488"/>
                  <a:pt x="10799049" y="888155"/>
                  <a:pt x="10879609" y="997156"/>
                </a:cubicBezTo>
                <a:cubicBezTo>
                  <a:pt x="10972253" y="900267"/>
                  <a:pt x="11101149" y="835673"/>
                  <a:pt x="11254213" y="835673"/>
                </a:cubicBezTo>
                <a:cubicBezTo>
                  <a:pt x="11294493" y="375448"/>
                  <a:pt x="11697292" y="12111"/>
                  <a:pt x="12196763" y="0"/>
                </a:cubicBezTo>
                <a:cubicBezTo>
                  <a:pt x="12196763" y="0"/>
                  <a:pt x="12196763" y="0"/>
                  <a:pt x="12196763" y="1920044"/>
                </a:cubicBezTo>
                <a:lnTo>
                  <a:pt x="12196763" y="2037631"/>
                </a:lnTo>
                <a:lnTo>
                  <a:pt x="0" y="2037631"/>
                </a:lnTo>
                <a:lnTo>
                  <a:pt x="0" y="637857"/>
                </a:lnTo>
                <a:cubicBezTo>
                  <a:pt x="177232" y="734747"/>
                  <a:pt x="318212" y="880081"/>
                  <a:pt x="402799" y="1057712"/>
                </a:cubicBezTo>
                <a:cubicBezTo>
                  <a:pt x="471275" y="956786"/>
                  <a:pt x="592115" y="896230"/>
                  <a:pt x="729067" y="896230"/>
                </a:cubicBezTo>
                <a:cubicBezTo>
                  <a:pt x="902271" y="896230"/>
                  <a:pt x="1051306" y="1001193"/>
                  <a:pt x="1095614" y="1154602"/>
                </a:cubicBezTo>
                <a:cubicBezTo>
                  <a:pt x="1143950" y="1130379"/>
                  <a:pt x="1192286" y="1114231"/>
                  <a:pt x="1252706" y="1114231"/>
                </a:cubicBezTo>
                <a:cubicBezTo>
                  <a:pt x="1325210" y="1114231"/>
                  <a:pt x="1393686" y="1138454"/>
                  <a:pt x="1450078" y="1178824"/>
                </a:cubicBezTo>
                <a:cubicBezTo>
                  <a:pt x="1522582" y="1041564"/>
                  <a:pt x="1667589" y="936600"/>
                  <a:pt x="1840793" y="924489"/>
                </a:cubicBezTo>
                <a:cubicBezTo>
                  <a:pt x="1969689" y="557116"/>
                  <a:pt x="2344292" y="290669"/>
                  <a:pt x="2779316" y="290669"/>
                </a:cubicBezTo>
                <a:cubicBezTo>
                  <a:pt x="3274759" y="290669"/>
                  <a:pt x="3681586" y="625746"/>
                  <a:pt x="3758118" y="1061749"/>
                </a:cubicBezTo>
                <a:cubicBezTo>
                  <a:pt x="3822566" y="876044"/>
                  <a:pt x="4011881" y="738784"/>
                  <a:pt x="4237449" y="738784"/>
                </a:cubicBezTo>
                <a:cubicBezTo>
                  <a:pt x="4442877" y="738784"/>
                  <a:pt x="4624136" y="855859"/>
                  <a:pt x="4704696" y="1025416"/>
                </a:cubicBezTo>
                <a:cubicBezTo>
                  <a:pt x="4761088" y="835673"/>
                  <a:pt x="4946376" y="698413"/>
                  <a:pt x="5171944" y="698413"/>
                </a:cubicBezTo>
                <a:cubicBezTo>
                  <a:pt x="5272644" y="698413"/>
                  <a:pt x="5365287" y="722636"/>
                  <a:pt x="5441819" y="771080"/>
                </a:cubicBezTo>
                <a:cubicBezTo>
                  <a:pt x="5506267" y="500597"/>
                  <a:pt x="5764059" y="294706"/>
                  <a:pt x="6078242" y="294706"/>
                </a:cubicBezTo>
                <a:cubicBezTo>
                  <a:pt x="6263529" y="294706"/>
                  <a:pt x="6436733" y="375448"/>
                  <a:pt x="6553545" y="492523"/>
                </a:cubicBezTo>
                <a:cubicBezTo>
                  <a:pt x="6642161" y="419855"/>
                  <a:pt x="6758973" y="375448"/>
                  <a:pt x="6887868" y="375448"/>
                </a:cubicBezTo>
                <a:cubicBezTo>
                  <a:pt x="7157744" y="375448"/>
                  <a:pt x="7375256" y="573264"/>
                  <a:pt x="7375256" y="831636"/>
                </a:cubicBezTo>
                <a:cubicBezTo>
                  <a:pt x="7375256" y="851822"/>
                  <a:pt x="7371228" y="867970"/>
                  <a:pt x="7371228" y="888155"/>
                </a:cubicBezTo>
                <a:cubicBezTo>
                  <a:pt x="7500123" y="924489"/>
                  <a:pt x="7600823" y="1009267"/>
                  <a:pt x="7665271" y="1110194"/>
                </a:cubicBezTo>
                <a:cubicBezTo>
                  <a:pt x="7737775" y="948711"/>
                  <a:pt x="7915007" y="835673"/>
                  <a:pt x="8116406" y="835673"/>
                </a:cubicBezTo>
                <a:cubicBezTo>
                  <a:pt x="8116406" y="835673"/>
                  <a:pt x="8116406" y="835673"/>
                  <a:pt x="8120434" y="835673"/>
                </a:cubicBezTo>
                <a:cubicBezTo>
                  <a:pt x="8156686" y="367374"/>
                  <a:pt x="8575597" y="0"/>
                  <a:pt x="90871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d-ID"/>
          </a:p>
        </p:txBody>
      </p:sp>
      <p:sp>
        <p:nvSpPr>
          <p:cNvPr id="2" name="Title 1"/>
          <p:cNvSpPr>
            <a:spLocks noGrp="1"/>
          </p:cNvSpPr>
          <p:nvPr>
            <p:ph type="ctrTitle"/>
          </p:nvPr>
        </p:nvSpPr>
        <p:spPr>
          <a:xfrm>
            <a:off x="329938" y="1359136"/>
            <a:ext cx="11538408" cy="2387600"/>
          </a:xfrm>
        </p:spPr>
        <p:txBody>
          <a:bodyPr anchor="ctr"/>
          <a:lstStyle>
            <a:lvl1pPr algn="ctr">
              <a:defRPr sz="6000"/>
            </a:lvl1pPr>
          </a:lstStyle>
          <a:p>
            <a:r>
              <a:rPr lang="en-US" dirty="0"/>
              <a:t>Click to edit Master title style</a:t>
            </a:r>
            <a:endParaRPr lang="id-ID" dirty="0"/>
          </a:p>
        </p:txBody>
      </p:sp>
      <p:sp>
        <p:nvSpPr>
          <p:cNvPr id="3" name="Subtitle 2"/>
          <p:cNvSpPr>
            <a:spLocks noGrp="1"/>
          </p:cNvSpPr>
          <p:nvPr>
            <p:ph type="subTitle" idx="1"/>
          </p:nvPr>
        </p:nvSpPr>
        <p:spPr>
          <a:xfrm>
            <a:off x="1524000" y="5958040"/>
            <a:ext cx="9144000" cy="487837"/>
          </a:xfrm>
        </p:spPr>
        <p:txBody>
          <a:bodyPr anchor="ct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id-ID" dirty="0"/>
          </a:p>
        </p:txBody>
      </p:sp>
    </p:spTree>
    <p:extLst>
      <p:ext uri="{BB962C8B-B14F-4D97-AF65-F5344CB8AC3E}">
        <p14:creationId xmlns:p14="http://schemas.microsoft.com/office/powerpoint/2010/main" val="1358753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50" fill="hold"/>
                                        <p:tgtEl>
                                          <p:spTgt spid="15"/>
                                        </p:tgtEl>
                                        <p:attrNameLst>
                                          <p:attrName>ppt_x</p:attrName>
                                        </p:attrNameLst>
                                      </p:cBhvr>
                                      <p:tavLst>
                                        <p:tav tm="0">
                                          <p:val>
                                            <p:strVal val="#ppt_x"/>
                                          </p:val>
                                        </p:tav>
                                        <p:tav tm="100000">
                                          <p:val>
                                            <p:strVal val="#ppt_x"/>
                                          </p:val>
                                        </p:tav>
                                      </p:tavLst>
                                    </p:anim>
                                    <p:anim calcmode="lin" valueType="num">
                                      <p:cBhvr additive="base">
                                        <p:cTn id="8" dur="750" fill="hold"/>
                                        <p:tgtEl>
                                          <p:spTgt spid="15"/>
                                        </p:tgtEl>
                                        <p:attrNameLst>
                                          <p:attrName>ppt_y</p:attrName>
                                        </p:attrNameLst>
                                      </p:cBhvr>
                                      <p:tavLst>
                                        <p:tav tm="0">
                                          <p:val>
                                            <p:strVal val="1+#ppt_h/2"/>
                                          </p:val>
                                        </p:tav>
                                        <p:tav tm="100000">
                                          <p:val>
                                            <p:strVal val="#ppt_y"/>
                                          </p:val>
                                        </p:tav>
                                      </p:tavLst>
                                    </p:anim>
                                  </p:childTnLst>
                                </p:cTn>
                              </p:par>
                            </p:childTnLst>
                          </p:cTn>
                        </p:par>
                        <p:par>
                          <p:cTn id="9" fill="hold">
                            <p:stCondLst>
                              <p:cond delay="750"/>
                            </p:stCondLst>
                            <p:childTnLst>
                              <p:par>
                                <p:cTn id="10" presetID="42" presetClass="entr" presetSubtype="0"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750"/>
                                        <p:tgtEl>
                                          <p:spTgt spid="14"/>
                                        </p:tgtEl>
                                      </p:cBhvr>
                                    </p:animEffect>
                                    <p:anim calcmode="lin" valueType="num">
                                      <p:cBhvr>
                                        <p:cTn id="13" dur="750" fill="hold"/>
                                        <p:tgtEl>
                                          <p:spTgt spid="14"/>
                                        </p:tgtEl>
                                        <p:attrNameLst>
                                          <p:attrName>ppt_x</p:attrName>
                                        </p:attrNameLst>
                                      </p:cBhvr>
                                      <p:tavLst>
                                        <p:tav tm="0">
                                          <p:val>
                                            <p:strVal val="#ppt_x"/>
                                          </p:val>
                                        </p:tav>
                                        <p:tav tm="100000">
                                          <p:val>
                                            <p:strVal val="#ppt_x"/>
                                          </p:val>
                                        </p:tav>
                                      </p:tavLst>
                                    </p:anim>
                                    <p:anim calcmode="lin" valueType="num">
                                      <p:cBhvr>
                                        <p:cTn id="14" dur="75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750"/>
                                        <p:tgtEl>
                                          <p:spTgt spid="11"/>
                                        </p:tgtEl>
                                      </p:cBhvr>
                                    </p:animEffect>
                                    <p:anim calcmode="lin" valueType="num">
                                      <p:cBhvr>
                                        <p:cTn id="18" dur="750" fill="hold"/>
                                        <p:tgtEl>
                                          <p:spTgt spid="11"/>
                                        </p:tgtEl>
                                        <p:attrNameLst>
                                          <p:attrName>ppt_x</p:attrName>
                                        </p:attrNameLst>
                                      </p:cBhvr>
                                      <p:tavLst>
                                        <p:tav tm="0">
                                          <p:val>
                                            <p:strVal val="#ppt_x"/>
                                          </p:val>
                                        </p:tav>
                                        <p:tav tm="100000">
                                          <p:val>
                                            <p:strVal val="#ppt_x"/>
                                          </p:val>
                                        </p:tav>
                                      </p:tavLst>
                                    </p:anim>
                                    <p:anim calcmode="lin" valueType="num">
                                      <p:cBhvr>
                                        <p:cTn id="19" dur="750" fill="hold"/>
                                        <p:tgtEl>
                                          <p:spTgt spid="11"/>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750"/>
                                        <p:tgtEl>
                                          <p:spTgt spid="13"/>
                                        </p:tgtEl>
                                      </p:cBhvr>
                                    </p:animEffect>
                                    <p:anim calcmode="lin" valueType="num">
                                      <p:cBhvr>
                                        <p:cTn id="23" dur="750" fill="hold"/>
                                        <p:tgtEl>
                                          <p:spTgt spid="13"/>
                                        </p:tgtEl>
                                        <p:attrNameLst>
                                          <p:attrName>ppt_x</p:attrName>
                                        </p:attrNameLst>
                                      </p:cBhvr>
                                      <p:tavLst>
                                        <p:tav tm="0">
                                          <p:val>
                                            <p:strVal val="#ppt_x"/>
                                          </p:val>
                                        </p:tav>
                                        <p:tav tm="100000">
                                          <p:val>
                                            <p:strVal val="#ppt_x"/>
                                          </p:val>
                                        </p:tav>
                                      </p:tavLst>
                                    </p:anim>
                                    <p:anim calcmode="lin" valueType="num">
                                      <p:cBhvr>
                                        <p:cTn id="24" dur="75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1" grpId="0" animBg="1"/>
      <p:bldP spid="15"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Slide">
    <p:bg>
      <p:bgPr>
        <a:pattFill prst="smConfetti">
          <a:fgClr>
            <a:schemeClr val="accent1"/>
          </a:fgClr>
          <a:bgClr>
            <a:schemeClr val="accent1">
              <a:lumMod val="60000"/>
              <a:lumOff val="40000"/>
            </a:schemeClr>
          </a:bgClr>
        </a:pattFill>
        <a:effectLst/>
      </p:bgPr>
    </p:bg>
    <p:spTree>
      <p:nvGrpSpPr>
        <p:cNvPr id="1" name=""/>
        <p:cNvGrpSpPr/>
        <p:nvPr/>
      </p:nvGrpSpPr>
      <p:grpSpPr>
        <a:xfrm>
          <a:off x="0" y="0"/>
          <a:ext cx="0" cy="0"/>
          <a:chOff x="0" y="0"/>
          <a:chExt cx="0" cy="0"/>
        </a:xfrm>
      </p:grpSpPr>
      <p:grpSp>
        <p:nvGrpSpPr>
          <p:cNvPr id="3" name="Group 2"/>
          <p:cNvGrpSpPr/>
          <p:nvPr userDrawn="1"/>
        </p:nvGrpSpPr>
        <p:grpSpPr>
          <a:xfrm>
            <a:off x="6349" y="0"/>
            <a:ext cx="12181249" cy="6858000"/>
            <a:chOff x="6350" y="0"/>
            <a:chExt cx="7194550" cy="3600450"/>
          </a:xfrm>
          <a:gradFill flip="none" rotWithShape="1">
            <a:gsLst>
              <a:gs pos="100000">
                <a:schemeClr val="bg1">
                  <a:alpha val="15000"/>
                </a:schemeClr>
              </a:gs>
              <a:gs pos="0">
                <a:schemeClr val="bg1">
                  <a:alpha val="0"/>
                </a:schemeClr>
              </a:gs>
            </a:gsLst>
            <a:path path="circle">
              <a:fillToRect l="50000" t="50000" r="50000" b="50000"/>
            </a:path>
            <a:tileRect/>
          </a:gradFill>
        </p:grpSpPr>
        <p:sp>
          <p:nvSpPr>
            <p:cNvPr id="4"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 name="Title 1"/>
          <p:cNvSpPr>
            <a:spLocks noGrp="1"/>
          </p:cNvSpPr>
          <p:nvPr>
            <p:ph type="title"/>
          </p:nvPr>
        </p:nvSpPr>
        <p:spPr>
          <a:xfrm>
            <a:off x="350461" y="495474"/>
            <a:ext cx="10515600" cy="911682"/>
          </a:xfrm>
        </p:spPr>
        <p:txBody>
          <a:bodyPr/>
          <a:lstStyle>
            <a:lvl1pPr algn="l">
              <a:defRPr b="1">
                <a:solidFill>
                  <a:schemeClr val="bg1"/>
                </a:solidFill>
              </a:defRPr>
            </a:lvl1pPr>
          </a:lstStyle>
          <a:p>
            <a:r>
              <a:rPr lang="en-US" dirty="0"/>
              <a:t>Click to edit Master title style</a:t>
            </a:r>
            <a:endParaRPr lang="id-ID" dirty="0"/>
          </a:p>
        </p:txBody>
      </p:sp>
      <p:sp>
        <p:nvSpPr>
          <p:cNvPr id="24" name="Text Placeholder 11"/>
          <p:cNvSpPr>
            <a:spLocks noGrp="1"/>
          </p:cNvSpPr>
          <p:nvPr>
            <p:ph type="body" sz="quarter" idx="13"/>
          </p:nvPr>
        </p:nvSpPr>
        <p:spPr>
          <a:xfrm>
            <a:off x="350461" y="1213660"/>
            <a:ext cx="10515600" cy="366712"/>
          </a:xfrm>
        </p:spPr>
        <p:txBody>
          <a:bodyPr>
            <a:normAutofit/>
          </a:bodyPr>
          <a:lstStyle>
            <a:lvl1pPr marL="0" indent="0" algn="l">
              <a:buNone/>
              <a:defRPr sz="20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669042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p:spPr>
        <p:txBody>
          <a:bodyPr/>
          <a:lstStyle/>
          <a:p>
            <a:endParaRPr lang="id-ID"/>
          </a:p>
        </p:txBody>
      </p:sp>
    </p:spTree>
    <p:extLst>
      <p:ext uri="{BB962C8B-B14F-4D97-AF65-F5344CB8AC3E}">
        <p14:creationId xmlns:p14="http://schemas.microsoft.com/office/powerpoint/2010/main" val="1599418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id-ID"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d-ID" dirty="0"/>
          </a:p>
        </p:txBody>
      </p:sp>
      <p:sp>
        <p:nvSpPr>
          <p:cNvPr id="4" name="Date Placeholder 3"/>
          <p:cNvSpPr>
            <a:spLocks noGrp="1"/>
          </p:cNvSpPr>
          <p:nvPr>
            <p:ph type="dt" sz="half" idx="10"/>
          </p:nvPr>
        </p:nvSpPr>
        <p:spPr/>
        <p:txBody>
          <a:bodyPr/>
          <a:lstStyle/>
          <a:p>
            <a:fld id="{54F94E4D-A109-4C48-9E64-7FCBF5BE67D3}" type="datetimeFigureOut">
              <a:rPr lang="id-ID" smtClean="0"/>
              <a:t>23/05/2017</a:t>
            </a:fld>
            <a:endParaRPr lang="id-ID"/>
          </a:p>
        </p:txBody>
      </p:sp>
      <p:sp>
        <p:nvSpPr>
          <p:cNvPr id="5" name="Footer Placeholder 4"/>
          <p:cNvSpPr>
            <a:spLocks noGrp="1"/>
          </p:cNvSpPr>
          <p:nvPr>
            <p:ph type="ftr" sz="quarter" idx="11"/>
          </p:nvPr>
        </p:nvSpPr>
        <p:spPr/>
        <p:txBody>
          <a:bodyPr/>
          <a:lstStyle/>
          <a:p>
            <a:endParaRPr lang="id-ID"/>
          </a:p>
        </p:txBody>
      </p:sp>
      <p:sp>
        <p:nvSpPr>
          <p:cNvPr id="6" name="Slide Number Placeholder 5"/>
          <p:cNvSpPr>
            <a:spLocks noGrp="1"/>
          </p:cNvSpPr>
          <p:nvPr>
            <p:ph type="sldNum" sz="quarter" idx="12"/>
          </p:nvPr>
        </p:nvSpPr>
        <p:spPr/>
        <p:txBody>
          <a:bodyPr/>
          <a:lstStyle/>
          <a:p>
            <a:fld id="{0A4E97F8-F2EB-4E84-BA61-217D6A6B81BD}" type="slidenum">
              <a:rPr lang="id-ID" smtClean="0"/>
              <a:t>‹N°›</a:t>
            </a:fld>
            <a:endParaRPr lang="id-ID"/>
          </a:p>
        </p:txBody>
      </p:sp>
    </p:spTree>
    <p:extLst>
      <p:ext uri="{BB962C8B-B14F-4D97-AF65-F5344CB8AC3E}">
        <p14:creationId xmlns:p14="http://schemas.microsoft.com/office/powerpoint/2010/main" val="4060101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F94E4D-A109-4C48-9E64-7FCBF5BE67D3}" type="datetimeFigureOut">
              <a:rPr lang="id-ID" smtClean="0"/>
              <a:t>23/05/2017</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0A4E97F8-F2EB-4E84-BA61-217D6A6B81BD}" type="slidenum">
              <a:rPr lang="id-ID" smtClean="0"/>
              <a:t>‹N°›</a:t>
            </a:fld>
            <a:endParaRPr lang="id-ID"/>
          </a:p>
        </p:txBody>
      </p:sp>
    </p:spTree>
    <p:extLst>
      <p:ext uri="{BB962C8B-B14F-4D97-AF65-F5344CB8AC3E}">
        <p14:creationId xmlns:p14="http://schemas.microsoft.com/office/powerpoint/2010/main" val="1228380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F94E4D-A109-4C48-9E64-7FCBF5BE67D3}" type="datetimeFigureOut">
              <a:rPr lang="id-ID" smtClean="0"/>
              <a:t>23/05/2017</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0A4E97F8-F2EB-4E84-BA61-217D6A6B81BD}" type="slidenum">
              <a:rPr lang="id-ID" smtClean="0"/>
              <a:t>‹N°›</a:t>
            </a:fld>
            <a:endParaRPr lang="id-ID"/>
          </a:p>
        </p:txBody>
      </p:sp>
      <p:sp>
        <p:nvSpPr>
          <p:cNvPr id="5" name="Picture Placeholder 3"/>
          <p:cNvSpPr>
            <a:spLocks noGrp="1"/>
          </p:cNvSpPr>
          <p:nvPr>
            <p:ph type="pic" sz="quarter" idx="13"/>
          </p:nvPr>
        </p:nvSpPr>
        <p:spPr>
          <a:xfrm>
            <a:off x="4061382" y="2286000"/>
            <a:ext cx="2034000" cy="2286000"/>
          </a:xfrm>
        </p:spPr>
        <p:txBody>
          <a:bodyPr>
            <a:normAutofit/>
          </a:bodyPr>
          <a:lstStyle>
            <a:lvl1pPr>
              <a:defRPr sz="1200"/>
            </a:lvl1pPr>
          </a:lstStyle>
          <a:p>
            <a:endParaRPr lang="id-ID"/>
          </a:p>
        </p:txBody>
      </p:sp>
      <p:sp>
        <p:nvSpPr>
          <p:cNvPr id="6" name="Picture Placeholder 3"/>
          <p:cNvSpPr>
            <a:spLocks noGrp="1"/>
          </p:cNvSpPr>
          <p:nvPr>
            <p:ph type="pic" sz="quarter" idx="14"/>
          </p:nvPr>
        </p:nvSpPr>
        <p:spPr>
          <a:xfrm>
            <a:off x="629" y="0"/>
            <a:ext cx="2034000" cy="2286000"/>
          </a:xfrm>
        </p:spPr>
        <p:txBody>
          <a:bodyPr>
            <a:normAutofit/>
          </a:bodyPr>
          <a:lstStyle>
            <a:lvl1pPr>
              <a:defRPr sz="1200"/>
            </a:lvl1pPr>
          </a:lstStyle>
          <a:p>
            <a:endParaRPr lang="id-ID"/>
          </a:p>
        </p:txBody>
      </p:sp>
      <p:sp>
        <p:nvSpPr>
          <p:cNvPr id="7" name="Picture Placeholder 3"/>
          <p:cNvSpPr>
            <a:spLocks noGrp="1"/>
          </p:cNvSpPr>
          <p:nvPr>
            <p:ph type="pic" sz="quarter" idx="15"/>
          </p:nvPr>
        </p:nvSpPr>
        <p:spPr>
          <a:xfrm>
            <a:off x="-1031" y="4572000"/>
            <a:ext cx="2034000" cy="2286000"/>
          </a:xfrm>
        </p:spPr>
        <p:txBody>
          <a:bodyPr>
            <a:normAutofit/>
          </a:bodyPr>
          <a:lstStyle>
            <a:lvl1pPr>
              <a:defRPr sz="1200"/>
            </a:lvl1pPr>
          </a:lstStyle>
          <a:p>
            <a:endParaRPr lang="id-ID"/>
          </a:p>
        </p:txBody>
      </p:sp>
      <p:sp>
        <p:nvSpPr>
          <p:cNvPr id="11" name="Picture Placeholder 3"/>
          <p:cNvSpPr>
            <a:spLocks noGrp="1"/>
          </p:cNvSpPr>
          <p:nvPr>
            <p:ph type="pic" sz="quarter" idx="23"/>
          </p:nvPr>
        </p:nvSpPr>
        <p:spPr>
          <a:xfrm>
            <a:off x="10151650" y="2286000"/>
            <a:ext cx="2034000" cy="2286000"/>
          </a:xfrm>
        </p:spPr>
        <p:txBody>
          <a:bodyPr>
            <a:normAutofit/>
          </a:bodyPr>
          <a:lstStyle>
            <a:lvl1pPr>
              <a:defRPr sz="1200"/>
            </a:lvl1pPr>
          </a:lstStyle>
          <a:p>
            <a:endParaRPr lang="id-ID"/>
          </a:p>
        </p:txBody>
      </p:sp>
      <p:sp>
        <p:nvSpPr>
          <p:cNvPr id="12" name="Picture Placeholder 3"/>
          <p:cNvSpPr>
            <a:spLocks noGrp="1"/>
          </p:cNvSpPr>
          <p:nvPr>
            <p:ph type="pic" sz="quarter" idx="25"/>
          </p:nvPr>
        </p:nvSpPr>
        <p:spPr>
          <a:xfrm>
            <a:off x="6119400" y="0"/>
            <a:ext cx="2034000" cy="2286000"/>
          </a:xfrm>
        </p:spPr>
        <p:txBody>
          <a:bodyPr>
            <a:normAutofit/>
          </a:bodyPr>
          <a:lstStyle>
            <a:lvl1pPr>
              <a:defRPr sz="1200"/>
            </a:lvl1pPr>
          </a:lstStyle>
          <a:p>
            <a:endParaRPr lang="id-ID"/>
          </a:p>
        </p:txBody>
      </p:sp>
      <p:sp>
        <p:nvSpPr>
          <p:cNvPr id="13" name="Picture Placeholder 3"/>
          <p:cNvSpPr>
            <a:spLocks noGrp="1"/>
          </p:cNvSpPr>
          <p:nvPr>
            <p:ph type="pic" sz="quarter" idx="27"/>
          </p:nvPr>
        </p:nvSpPr>
        <p:spPr>
          <a:xfrm>
            <a:off x="6119400" y="4572000"/>
            <a:ext cx="2034000" cy="2286000"/>
          </a:xfrm>
        </p:spPr>
        <p:txBody>
          <a:bodyPr>
            <a:normAutofit/>
          </a:bodyPr>
          <a:lstStyle>
            <a:lvl1pPr>
              <a:defRPr sz="1200"/>
            </a:lvl1pPr>
          </a:lstStyle>
          <a:p>
            <a:endParaRPr lang="id-ID"/>
          </a:p>
        </p:txBody>
      </p:sp>
    </p:spTree>
    <p:extLst>
      <p:ext uri="{BB962C8B-B14F-4D97-AF65-F5344CB8AC3E}">
        <p14:creationId xmlns:p14="http://schemas.microsoft.com/office/powerpoint/2010/main" val="16777196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61361" y="326491"/>
            <a:ext cx="500154"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2"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761597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595171" y="1041063"/>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61361" y="326491"/>
            <a:ext cx="500154"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2"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4219548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v2">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237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14816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v3">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383511" y="1482887"/>
            <a:ext cx="767021" cy="451599"/>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237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565003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v4">
    <p:spTree>
      <p:nvGrpSpPr>
        <p:cNvPr id="1" name=""/>
        <p:cNvGrpSpPr/>
        <p:nvPr/>
      </p:nvGrpSpPr>
      <p:grpSpPr>
        <a:xfrm>
          <a:off x="0" y="0"/>
          <a:ext cx="0" cy="0"/>
          <a:chOff x="0" y="0"/>
          <a:chExt cx="0" cy="0"/>
        </a:xfrm>
      </p:grpSpPr>
      <p:sp>
        <p:nvSpPr>
          <p:cNvPr id="25" name="Freeform 34"/>
          <p:cNvSpPr>
            <a:spLocks/>
          </p:cNvSpPr>
          <p:nvPr userDrawn="1"/>
        </p:nvSpPr>
        <p:spPr bwMode="auto">
          <a:xfrm>
            <a:off x="11986959" y="893789"/>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10391033" y="-111262"/>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237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2"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477461" y="560289"/>
            <a:ext cx="10515600" cy="911682"/>
          </a:xfrm>
        </p:spPr>
        <p:txBody>
          <a:bodyPr/>
          <a:lstStyle>
            <a:lvl1pPr algn="l">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477461" y="1278475"/>
            <a:ext cx="10515600" cy="366712"/>
          </a:xfrm>
        </p:spPr>
        <p:txBody>
          <a:bodyPr>
            <a:normAutofit/>
          </a:bodyPr>
          <a:lstStyle>
            <a:lvl1pPr marL="0" indent="0" algn="l">
              <a:buNone/>
              <a:defRPr sz="200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971556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p:bgPr>
        <a:pattFill prst="smConfetti">
          <a:fgClr>
            <a:schemeClr val="accent1"/>
          </a:fgClr>
          <a:bgClr>
            <a:schemeClr val="accent1">
              <a:lumMod val="60000"/>
              <a:lumOff val="40000"/>
            </a:schemeClr>
          </a:bgClr>
        </a:pattFill>
        <a:effectLst/>
      </p:bgPr>
    </p:bg>
    <p:spTree>
      <p:nvGrpSpPr>
        <p:cNvPr id="1" name=""/>
        <p:cNvGrpSpPr/>
        <p:nvPr/>
      </p:nvGrpSpPr>
      <p:grpSpPr>
        <a:xfrm>
          <a:off x="0" y="0"/>
          <a:ext cx="0" cy="0"/>
          <a:chOff x="0" y="0"/>
          <a:chExt cx="0" cy="0"/>
        </a:xfrm>
      </p:grpSpPr>
      <p:sp>
        <p:nvSpPr>
          <p:cNvPr id="10" name="Freeform 9"/>
          <p:cNvSpPr>
            <a:spLocks/>
          </p:cNvSpPr>
          <p:nvPr userDrawn="1"/>
        </p:nvSpPr>
        <p:spPr bwMode="auto">
          <a:xfrm>
            <a:off x="4763" y="-25400"/>
            <a:ext cx="12242800" cy="6934200"/>
          </a:xfrm>
          <a:custGeom>
            <a:avLst/>
            <a:gdLst>
              <a:gd name="T0" fmla="*/ 7120 w 7712"/>
              <a:gd name="T1" fmla="*/ 0 h 4368"/>
              <a:gd name="T2" fmla="*/ 6553 w 7712"/>
              <a:gd name="T3" fmla="*/ 0 h 4368"/>
              <a:gd name="T4" fmla="*/ 4364 w 7712"/>
              <a:gd name="T5" fmla="*/ 3854 h 4368"/>
              <a:gd name="T6" fmla="*/ 5434 w 7712"/>
              <a:gd name="T7" fmla="*/ 0 h 4368"/>
              <a:gd name="T8" fmla="*/ 4914 w 7712"/>
              <a:gd name="T9" fmla="*/ 0 h 4368"/>
              <a:gd name="T10" fmla="*/ 4060 w 7712"/>
              <a:gd name="T11" fmla="*/ 3834 h 4368"/>
              <a:gd name="T12" fmla="*/ 3842 w 7712"/>
              <a:gd name="T13" fmla="*/ 0 h 4368"/>
              <a:gd name="T14" fmla="*/ 3334 w 7712"/>
              <a:gd name="T15" fmla="*/ 0 h 4368"/>
              <a:gd name="T16" fmla="*/ 3753 w 7712"/>
              <a:gd name="T17" fmla="*/ 3843 h 4368"/>
              <a:gd name="T18" fmla="*/ 2245 w 7712"/>
              <a:gd name="T19" fmla="*/ 0 h 4368"/>
              <a:gd name="T20" fmla="*/ 1709 w 7712"/>
              <a:gd name="T21" fmla="*/ 0 h 4368"/>
              <a:gd name="T22" fmla="*/ 3454 w 7712"/>
              <a:gd name="T23" fmla="*/ 3876 h 4368"/>
              <a:gd name="T24" fmla="*/ 539 w 7712"/>
              <a:gd name="T25" fmla="*/ 0 h 4368"/>
              <a:gd name="T26" fmla="*/ 0 w 7712"/>
              <a:gd name="T27" fmla="*/ 78 h 4368"/>
              <a:gd name="T28" fmla="*/ 3169 w 7712"/>
              <a:gd name="T29" fmla="*/ 3941 h 4368"/>
              <a:gd name="T30" fmla="*/ 0 w 7712"/>
              <a:gd name="T31" fmla="*/ 1263 h 4368"/>
              <a:gd name="T32" fmla="*/ 0 w 7712"/>
              <a:gd name="T33" fmla="*/ 1652 h 4368"/>
              <a:gd name="T34" fmla="*/ 2909 w 7712"/>
              <a:gd name="T35" fmla="*/ 4027 h 4368"/>
              <a:gd name="T36" fmla="*/ 0 w 7712"/>
              <a:gd name="T37" fmla="*/ 2356 h 4368"/>
              <a:gd name="T38" fmla="*/ 0 w 7712"/>
              <a:gd name="T39" fmla="*/ 2580 h 4368"/>
              <a:gd name="T40" fmla="*/ 2683 w 7712"/>
              <a:gd name="T41" fmla="*/ 4136 h 4368"/>
              <a:gd name="T42" fmla="*/ 0 w 7712"/>
              <a:gd name="T43" fmla="*/ 3074 h 4368"/>
              <a:gd name="T44" fmla="*/ 0 w 7712"/>
              <a:gd name="T45" fmla="*/ 3225 h 4368"/>
              <a:gd name="T46" fmla="*/ 2496 w 7712"/>
              <a:gd name="T47" fmla="*/ 4265 h 4368"/>
              <a:gd name="T48" fmla="*/ 0 w 7712"/>
              <a:gd name="T49" fmla="*/ 3614 h 4368"/>
              <a:gd name="T50" fmla="*/ 0 w 7712"/>
              <a:gd name="T51" fmla="*/ 3725 h 4368"/>
              <a:gd name="T52" fmla="*/ 2189 w 7712"/>
              <a:gd name="T53" fmla="*/ 4368 h 4368"/>
              <a:gd name="T54" fmla="*/ 7712 w 7712"/>
              <a:gd name="T55" fmla="*/ 3904 h 4368"/>
              <a:gd name="T56" fmla="*/ 5545 w 7712"/>
              <a:gd name="T57" fmla="*/ 4335 h 4368"/>
              <a:gd name="T58" fmla="*/ 7712 w 7712"/>
              <a:gd name="T59" fmla="*/ 3569 h 4368"/>
              <a:gd name="T60" fmla="*/ 7712 w 7712"/>
              <a:gd name="T61" fmla="*/ 3451 h 4368"/>
              <a:gd name="T62" fmla="*/ 5381 w 7712"/>
              <a:gd name="T63" fmla="*/ 4198 h 4368"/>
              <a:gd name="T64" fmla="*/ 7712 w 7712"/>
              <a:gd name="T65" fmla="*/ 3043 h 4368"/>
              <a:gd name="T66" fmla="*/ 7712 w 7712"/>
              <a:gd name="T67" fmla="*/ 2879 h 4368"/>
              <a:gd name="T68" fmla="*/ 5174 w 7712"/>
              <a:gd name="T69" fmla="*/ 4077 h 4368"/>
              <a:gd name="T70" fmla="*/ 7712 w 7712"/>
              <a:gd name="T71" fmla="*/ 2328 h 4368"/>
              <a:gd name="T72" fmla="*/ 7712 w 7712"/>
              <a:gd name="T73" fmla="*/ 2065 h 4368"/>
              <a:gd name="T74" fmla="*/ 4931 w 7712"/>
              <a:gd name="T75" fmla="*/ 3980 h 4368"/>
              <a:gd name="T76" fmla="*/ 7712 w 7712"/>
              <a:gd name="T77" fmla="*/ 1224 h 4368"/>
              <a:gd name="T78" fmla="*/ 7712 w 7712"/>
              <a:gd name="T79" fmla="*/ 718 h 4368"/>
              <a:gd name="T80" fmla="*/ 4657 w 7712"/>
              <a:gd name="T81" fmla="*/ 3904 h 4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712" h="4368">
                <a:moveTo>
                  <a:pt x="7427" y="0"/>
                </a:moveTo>
                <a:lnTo>
                  <a:pt x="7120" y="0"/>
                </a:lnTo>
                <a:lnTo>
                  <a:pt x="4515" y="3876"/>
                </a:lnTo>
                <a:lnTo>
                  <a:pt x="6553" y="0"/>
                </a:lnTo>
                <a:lnTo>
                  <a:pt x="6257" y="0"/>
                </a:lnTo>
                <a:lnTo>
                  <a:pt x="4364" y="3854"/>
                </a:lnTo>
                <a:lnTo>
                  <a:pt x="5721" y="0"/>
                </a:lnTo>
                <a:lnTo>
                  <a:pt x="5434" y="0"/>
                </a:lnTo>
                <a:lnTo>
                  <a:pt x="4213" y="3843"/>
                </a:lnTo>
                <a:lnTo>
                  <a:pt x="4914" y="0"/>
                </a:lnTo>
                <a:lnTo>
                  <a:pt x="4632" y="0"/>
                </a:lnTo>
                <a:lnTo>
                  <a:pt x="4060" y="3834"/>
                </a:lnTo>
                <a:lnTo>
                  <a:pt x="4124" y="0"/>
                </a:lnTo>
                <a:lnTo>
                  <a:pt x="3842" y="0"/>
                </a:lnTo>
                <a:lnTo>
                  <a:pt x="3906" y="3834"/>
                </a:lnTo>
                <a:lnTo>
                  <a:pt x="3334" y="0"/>
                </a:lnTo>
                <a:lnTo>
                  <a:pt x="3052" y="0"/>
                </a:lnTo>
                <a:lnTo>
                  <a:pt x="3753" y="3843"/>
                </a:lnTo>
                <a:lnTo>
                  <a:pt x="2532" y="0"/>
                </a:lnTo>
                <a:lnTo>
                  <a:pt x="2245" y="0"/>
                </a:lnTo>
                <a:lnTo>
                  <a:pt x="3602" y="3857"/>
                </a:lnTo>
                <a:lnTo>
                  <a:pt x="1709" y="0"/>
                </a:lnTo>
                <a:lnTo>
                  <a:pt x="1413" y="0"/>
                </a:lnTo>
                <a:lnTo>
                  <a:pt x="3454" y="3876"/>
                </a:lnTo>
                <a:lnTo>
                  <a:pt x="846" y="0"/>
                </a:lnTo>
                <a:lnTo>
                  <a:pt x="539" y="0"/>
                </a:lnTo>
                <a:lnTo>
                  <a:pt x="3309" y="3904"/>
                </a:lnTo>
                <a:lnTo>
                  <a:pt x="0" y="78"/>
                </a:lnTo>
                <a:lnTo>
                  <a:pt x="0" y="436"/>
                </a:lnTo>
                <a:lnTo>
                  <a:pt x="3169" y="3941"/>
                </a:lnTo>
                <a:lnTo>
                  <a:pt x="0" y="987"/>
                </a:lnTo>
                <a:lnTo>
                  <a:pt x="0" y="1263"/>
                </a:lnTo>
                <a:lnTo>
                  <a:pt x="3035" y="3980"/>
                </a:lnTo>
                <a:lnTo>
                  <a:pt x="0" y="1652"/>
                </a:lnTo>
                <a:lnTo>
                  <a:pt x="0" y="1875"/>
                </a:lnTo>
                <a:lnTo>
                  <a:pt x="2909" y="4027"/>
                </a:lnTo>
                <a:lnTo>
                  <a:pt x="0" y="2166"/>
                </a:lnTo>
                <a:lnTo>
                  <a:pt x="0" y="2356"/>
                </a:lnTo>
                <a:lnTo>
                  <a:pt x="2792" y="4077"/>
                </a:lnTo>
                <a:lnTo>
                  <a:pt x="0" y="2580"/>
                </a:lnTo>
                <a:lnTo>
                  <a:pt x="0" y="2744"/>
                </a:lnTo>
                <a:lnTo>
                  <a:pt x="2683" y="4136"/>
                </a:lnTo>
                <a:lnTo>
                  <a:pt x="0" y="2929"/>
                </a:lnTo>
                <a:lnTo>
                  <a:pt x="0" y="3074"/>
                </a:lnTo>
                <a:lnTo>
                  <a:pt x="2585" y="4198"/>
                </a:lnTo>
                <a:lnTo>
                  <a:pt x="0" y="3225"/>
                </a:lnTo>
                <a:lnTo>
                  <a:pt x="0" y="3359"/>
                </a:lnTo>
                <a:lnTo>
                  <a:pt x="2496" y="4265"/>
                </a:lnTo>
                <a:lnTo>
                  <a:pt x="0" y="3488"/>
                </a:lnTo>
                <a:lnTo>
                  <a:pt x="0" y="3614"/>
                </a:lnTo>
                <a:lnTo>
                  <a:pt x="2421" y="4335"/>
                </a:lnTo>
                <a:lnTo>
                  <a:pt x="0" y="3725"/>
                </a:lnTo>
                <a:lnTo>
                  <a:pt x="0" y="3843"/>
                </a:lnTo>
                <a:lnTo>
                  <a:pt x="2189" y="4368"/>
                </a:lnTo>
                <a:lnTo>
                  <a:pt x="5777" y="4368"/>
                </a:lnTo>
                <a:lnTo>
                  <a:pt x="7712" y="3904"/>
                </a:lnTo>
                <a:lnTo>
                  <a:pt x="7712" y="3790"/>
                </a:lnTo>
                <a:lnTo>
                  <a:pt x="5545" y="4335"/>
                </a:lnTo>
                <a:lnTo>
                  <a:pt x="7712" y="3689"/>
                </a:lnTo>
                <a:lnTo>
                  <a:pt x="7712" y="3569"/>
                </a:lnTo>
                <a:lnTo>
                  <a:pt x="5470" y="4265"/>
                </a:lnTo>
                <a:lnTo>
                  <a:pt x="7712" y="3451"/>
                </a:lnTo>
                <a:lnTo>
                  <a:pt x="7712" y="3323"/>
                </a:lnTo>
                <a:lnTo>
                  <a:pt x="5381" y="4198"/>
                </a:lnTo>
                <a:lnTo>
                  <a:pt x="7712" y="3186"/>
                </a:lnTo>
                <a:lnTo>
                  <a:pt x="7712" y="3043"/>
                </a:lnTo>
                <a:lnTo>
                  <a:pt x="5283" y="4136"/>
                </a:lnTo>
                <a:lnTo>
                  <a:pt x="7712" y="2879"/>
                </a:lnTo>
                <a:lnTo>
                  <a:pt x="7712" y="2716"/>
                </a:lnTo>
                <a:lnTo>
                  <a:pt x="5174" y="4077"/>
                </a:lnTo>
                <a:lnTo>
                  <a:pt x="7712" y="2512"/>
                </a:lnTo>
                <a:lnTo>
                  <a:pt x="7712" y="2328"/>
                </a:lnTo>
                <a:lnTo>
                  <a:pt x="5057" y="4027"/>
                </a:lnTo>
                <a:lnTo>
                  <a:pt x="7712" y="2065"/>
                </a:lnTo>
                <a:lnTo>
                  <a:pt x="7712" y="1847"/>
                </a:lnTo>
                <a:lnTo>
                  <a:pt x="4931" y="3980"/>
                </a:lnTo>
                <a:lnTo>
                  <a:pt x="7712" y="1490"/>
                </a:lnTo>
                <a:lnTo>
                  <a:pt x="7712" y="1224"/>
                </a:lnTo>
                <a:lnTo>
                  <a:pt x="4797" y="3938"/>
                </a:lnTo>
                <a:lnTo>
                  <a:pt x="7712" y="718"/>
                </a:lnTo>
                <a:lnTo>
                  <a:pt x="7712" y="375"/>
                </a:lnTo>
                <a:lnTo>
                  <a:pt x="4657" y="3904"/>
                </a:lnTo>
                <a:lnTo>
                  <a:pt x="7427" y="0"/>
                </a:lnTo>
                <a:close/>
              </a:path>
            </a:pathLst>
          </a:custGeom>
          <a:gradFill>
            <a:gsLst>
              <a:gs pos="0">
                <a:schemeClr val="bg1">
                  <a:alpha val="15000"/>
                </a:schemeClr>
              </a:gs>
              <a:gs pos="100000">
                <a:schemeClr val="bg1">
                  <a:alpha val="0"/>
                </a:schemeClr>
              </a:gs>
            </a:gsLst>
            <a:lin ang="5400000" scaled="1"/>
          </a:gradFill>
          <a:ln>
            <a:noFill/>
          </a:ln>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1559841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61361" y="326491"/>
            <a:ext cx="500154"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2"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28" name="Picture Placeholder 35"/>
          <p:cNvSpPr>
            <a:spLocks noGrp="1"/>
          </p:cNvSpPr>
          <p:nvPr>
            <p:ph type="pic" sz="quarter" idx="14"/>
          </p:nvPr>
        </p:nvSpPr>
        <p:spPr>
          <a:xfrm>
            <a:off x="0" y="2615903"/>
            <a:ext cx="7800110" cy="2554000"/>
          </a:xfrm>
        </p:spPr>
      </p:sp>
    </p:spTree>
    <p:extLst>
      <p:ext uri="{BB962C8B-B14F-4D97-AF65-F5344CB8AC3E}">
        <p14:creationId xmlns:p14="http://schemas.microsoft.com/office/powerpoint/2010/main" val="3242209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ockup Phone with Hand">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154563" y="-235075"/>
            <a:ext cx="798528" cy="4701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48815" y="326491"/>
            <a:ext cx="5127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2"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31" name="Group 30"/>
          <p:cNvGrpSpPr/>
          <p:nvPr userDrawn="1"/>
        </p:nvGrpSpPr>
        <p:grpSpPr>
          <a:xfrm rot="20577970" flipH="1">
            <a:off x="-1258790" y="968791"/>
            <a:ext cx="6252102" cy="6693595"/>
            <a:chOff x="5594771" y="128702"/>
            <a:chExt cx="6504024" cy="6963306"/>
          </a:xfrm>
        </p:grpSpPr>
        <p:pic>
          <p:nvPicPr>
            <p:cNvPr id="32" name="Picture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5594771" y="128702"/>
              <a:ext cx="6504024" cy="6963306"/>
            </a:xfrm>
            <a:prstGeom prst="rect">
              <a:avLst/>
            </a:prstGeom>
            <a:effectLst>
              <a:outerShdw blurRad="177800" dist="228600" dir="4680000" sx="99000" sy="99000" algn="t" rotWithShape="0">
                <a:prstClr val="black">
                  <a:alpha val="11000"/>
                </a:prstClr>
              </a:outerShdw>
            </a:effectLst>
          </p:spPr>
        </p:pic>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687487" y="378785"/>
              <a:ext cx="1840996" cy="1743460"/>
            </a:xfrm>
            <a:prstGeom prst="rect">
              <a:avLst/>
            </a:prstGeom>
          </p:spPr>
        </p:pic>
      </p:grpSp>
      <p:sp>
        <p:nvSpPr>
          <p:cNvPr id="3" name="Picture Placeholder 2"/>
          <p:cNvSpPr>
            <a:spLocks noGrp="1"/>
          </p:cNvSpPr>
          <p:nvPr>
            <p:ph type="pic" sz="quarter" idx="10"/>
          </p:nvPr>
        </p:nvSpPr>
        <p:spPr>
          <a:xfrm>
            <a:off x="1567316" y="1306059"/>
            <a:ext cx="1843087" cy="2800804"/>
          </a:xfrm>
          <a:custGeom>
            <a:avLst/>
            <a:gdLst>
              <a:gd name="connsiteX0" fmla="*/ 0 w 725487"/>
              <a:gd name="connsiteY0" fmla="*/ 0 h 2670175"/>
              <a:gd name="connsiteX1" fmla="*/ 725487 w 725487"/>
              <a:gd name="connsiteY1" fmla="*/ 0 h 2670175"/>
              <a:gd name="connsiteX2" fmla="*/ 725487 w 725487"/>
              <a:gd name="connsiteY2" fmla="*/ 2670175 h 2670175"/>
              <a:gd name="connsiteX3" fmla="*/ 0 w 725487"/>
              <a:gd name="connsiteY3" fmla="*/ 2670175 h 2670175"/>
              <a:gd name="connsiteX4" fmla="*/ 0 w 725487"/>
              <a:gd name="connsiteY4" fmla="*/ 0 h 2670175"/>
              <a:gd name="connsiteX0" fmla="*/ 580572 w 1306059"/>
              <a:gd name="connsiteY0" fmla="*/ 0 h 2670175"/>
              <a:gd name="connsiteX1" fmla="*/ 1306059 w 1306059"/>
              <a:gd name="connsiteY1" fmla="*/ 0 h 2670175"/>
              <a:gd name="connsiteX2" fmla="*/ 1306059 w 1306059"/>
              <a:gd name="connsiteY2" fmla="*/ 2670175 h 2670175"/>
              <a:gd name="connsiteX3" fmla="*/ 0 w 1306059"/>
              <a:gd name="connsiteY3" fmla="*/ 2670175 h 2670175"/>
              <a:gd name="connsiteX4" fmla="*/ 580572 w 1306059"/>
              <a:gd name="connsiteY4" fmla="*/ 0 h 2670175"/>
              <a:gd name="connsiteX0" fmla="*/ 580572 w 1843087"/>
              <a:gd name="connsiteY0" fmla="*/ 130629 h 2800804"/>
              <a:gd name="connsiteX1" fmla="*/ 1843087 w 1843087"/>
              <a:gd name="connsiteY1" fmla="*/ 0 h 2800804"/>
              <a:gd name="connsiteX2" fmla="*/ 1306059 w 1843087"/>
              <a:gd name="connsiteY2" fmla="*/ 2800804 h 2800804"/>
              <a:gd name="connsiteX3" fmla="*/ 0 w 1843087"/>
              <a:gd name="connsiteY3" fmla="*/ 2800804 h 2800804"/>
              <a:gd name="connsiteX4" fmla="*/ 580572 w 1843087"/>
              <a:gd name="connsiteY4" fmla="*/ 130629 h 2800804"/>
              <a:gd name="connsiteX0" fmla="*/ 537029 w 1843087"/>
              <a:gd name="connsiteY0" fmla="*/ 130629 h 2800804"/>
              <a:gd name="connsiteX1" fmla="*/ 1843087 w 1843087"/>
              <a:gd name="connsiteY1" fmla="*/ 0 h 2800804"/>
              <a:gd name="connsiteX2" fmla="*/ 1306059 w 1843087"/>
              <a:gd name="connsiteY2" fmla="*/ 2800804 h 2800804"/>
              <a:gd name="connsiteX3" fmla="*/ 0 w 1843087"/>
              <a:gd name="connsiteY3" fmla="*/ 2800804 h 2800804"/>
              <a:gd name="connsiteX4" fmla="*/ 537029 w 1843087"/>
              <a:gd name="connsiteY4" fmla="*/ 130629 h 2800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3087" h="2800804">
                <a:moveTo>
                  <a:pt x="537029" y="130629"/>
                </a:moveTo>
                <a:lnTo>
                  <a:pt x="1843087" y="0"/>
                </a:lnTo>
                <a:lnTo>
                  <a:pt x="1306059" y="2800804"/>
                </a:lnTo>
                <a:lnTo>
                  <a:pt x="0" y="2800804"/>
                </a:lnTo>
                <a:lnTo>
                  <a:pt x="537029" y="130629"/>
                </a:lnTo>
                <a:close/>
              </a:path>
            </a:pathLst>
          </a:custGeom>
        </p:spPr>
        <p:txBody>
          <a:bodyPr>
            <a:normAutofit/>
          </a:bodyPr>
          <a:lstStyle>
            <a:lvl1pPr>
              <a:defRPr sz="1800"/>
            </a:lvl1pPr>
          </a:lstStyle>
          <a:p>
            <a:endParaRPr lang="id-ID"/>
          </a:p>
        </p:txBody>
      </p:sp>
    </p:spTree>
    <p:extLst>
      <p:ext uri="{BB962C8B-B14F-4D97-AF65-F5344CB8AC3E}">
        <p14:creationId xmlns:p14="http://schemas.microsoft.com/office/powerpoint/2010/main" val="1959780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0-#ppt_w/2"/>
                                          </p:val>
                                        </p:tav>
                                        <p:tav tm="100000">
                                          <p:val>
                                            <p:strVal val="#ppt_x"/>
                                          </p:val>
                                        </p:tav>
                                      </p:tavLst>
                                    </p:anim>
                                    <p:anim calcmode="lin" valueType="num">
                                      <p:cBhvr additive="base">
                                        <p:cTn id="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ockup 2 Phone">
    <p:spTree>
      <p:nvGrpSpPr>
        <p:cNvPr id="1" name=""/>
        <p:cNvGrpSpPr/>
        <p:nvPr/>
      </p:nvGrpSpPr>
      <p:grpSpPr>
        <a:xfrm>
          <a:off x="0" y="0"/>
          <a:ext cx="0" cy="0"/>
          <a:chOff x="0" y="0"/>
          <a:chExt cx="0" cy="0"/>
        </a:xfrm>
      </p:grpSpPr>
      <p:sp>
        <p:nvSpPr>
          <p:cNvPr id="26" name="Freeform 35"/>
          <p:cNvSpPr>
            <a:spLocks/>
          </p:cNvSpPr>
          <p:nvPr userDrawn="1"/>
        </p:nvSpPr>
        <p:spPr bwMode="auto">
          <a:xfrm>
            <a:off x="1154563" y="-235075"/>
            <a:ext cx="798528" cy="4701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872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3" name="Picture Placeholder 6"/>
          <p:cNvSpPr>
            <a:spLocks noGrp="1"/>
          </p:cNvSpPr>
          <p:nvPr>
            <p:ph type="pic" sz="quarter" idx="10"/>
          </p:nvPr>
        </p:nvSpPr>
        <p:spPr>
          <a:xfrm>
            <a:off x="533400" y="1651000"/>
            <a:ext cx="1701800" cy="2522538"/>
          </a:xfrm>
          <a:prstGeom prst="rect">
            <a:avLst/>
          </a:prstGeom>
        </p:spPr>
        <p:txBody>
          <a:bodyPr/>
          <a:lstStyle/>
          <a:p>
            <a:endParaRPr lang="id-ID"/>
          </a:p>
        </p:txBody>
      </p:sp>
      <p:sp>
        <p:nvSpPr>
          <p:cNvPr id="24" name="Picture Placeholder 6"/>
          <p:cNvSpPr>
            <a:spLocks noGrp="1"/>
          </p:cNvSpPr>
          <p:nvPr>
            <p:ph type="pic" sz="quarter" idx="11"/>
          </p:nvPr>
        </p:nvSpPr>
        <p:spPr>
          <a:xfrm>
            <a:off x="2201334" y="1778000"/>
            <a:ext cx="1659466" cy="2988205"/>
          </a:xfrm>
          <a:prstGeom prst="rect">
            <a:avLst/>
          </a:prstGeom>
        </p:spPr>
        <p:txBody>
          <a:bodyPr/>
          <a:lstStyle/>
          <a:p>
            <a:endParaRPr lang="id-ID"/>
          </a:p>
        </p:txBody>
      </p:sp>
    </p:spTree>
    <p:extLst>
      <p:ext uri="{BB962C8B-B14F-4D97-AF65-F5344CB8AC3E}">
        <p14:creationId xmlns:p14="http://schemas.microsoft.com/office/powerpoint/2010/main" val="18086194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ne Mockup">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BEBA8EAE-BF5A-486C-A8C5-ECC9F3942E4B}">
                <a14:imgProps xmlns:a14="http://schemas.microsoft.com/office/drawing/2010/main">
                  <a14:imgLayer r:embed="rId3">
                    <a14:imgEffect>
                      <a14:colorTemperature colorTemp="5900"/>
                    </a14:imgEffect>
                    <a14:imgEffect>
                      <a14:saturation sat="66000"/>
                    </a14:imgEffect>
                  </a14:imgLayer>
                </a14:imgProps>
              </a:ext>
              <a:ext uri="{28A0092B-C50C-407E-A947-70E740481C1C}">
                <a14:useLocalDpi xmlns:a14="http://schemas.microsoft.com/office/drawing/2010/main" val="0"/>
              </a:ext>
            </a:extLst>
          </a:blip>
          <a:stretch>
            <a:fillRect/>
          </a:stretch>
        </p:blipFill>
        <p:spPr>
          <a:xfrm flipH="1">
            <a:off x="7099875" y="920941"/>
            <a:ext cx="5142042" cy="5937059"/>
          </a:xfrm>
          <a:prstGeom prst="rect">
            <a:avLst/>
          </a:prstGeom>
          <a:effectLst>
            <a:outerShdw blurRad="139700" dist="76200" dir="10800000" sx="99000" sy="99000" algn="r" rotWithShape="0">
              <a:prstClr val="black">
                <a:alpha val="29000"/>
              </a:prstClr>
            </a:outerShdw>
          </a:effectLst>
        </p:spPr>
      </p:pic>
      <p:sp>
        <p:nvSpPr>
          <p:cNvPr id="25" name="Freeform 34"/>
          <p:cNvSpPr>
            <a:spLocks/>
          </p:cNvSpPr>
          <p:nvPr userDrawn="1"/>
        </p:nvSpPr>
        <p:spPr bwMode="auto">
          <a:xfrm>
            <a:off x="1389063" y="9154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872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23" name="Group 22"/>
          <p:cNvGrpSpPr/>
          <p:nvPr userDrawn="1"/>
        </p:nvGrpSpPr>
        <p:grpSpPr>
          <a:xfrm>
            <a:off x="338952" y="6409324"/>
            <a:ext cx="224082" cy="221156"/>
            <a:chOff x="4328868" y="5502988"/>
            <a:chExt cx="500307" cy="493774"/>
          </a:xfrm>
        </p:grpSpPr>
        <p:sp>
          <p:nvSpPr>
            <p:cNvPr id="24" name="Freeform 2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8" name="Freeform 27">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9" name="Group 28"/>
          <p:cNvGrpSpPr/>
          <p:nvPr userDrawn="1"/>
        </p:nvGrpSpPr>
        <p:grpSpPr>
          <a:xfrm flipH="1">
            <a:off x="11637433" y="6409324"/>
            <a:ext cx="224082" cy="221156"/>
            <a:chOff x="4328868" y="5502988"/>
            <a:chExt cx="500307" cy="493774"/>
          </a:xfrm>
        </p:grpSpPr>
        <p:sp>
          <p:nvSpPr>
            <p:cNvPr id="30" name="Freeform 29">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1" name="Freeform 30">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13" name="Picture Placeholder 2"/>
          <p:cNvSpPr>
            <a:spLocks noGrp="1"/>
          </p:cNvSpPr>
          <p:nvPr>
            <p:ph type="pic" sz="quarter" idx="10"/>
          </p:nvPr>
        </p:nvSpPr>
        <p:spPr>
          <a:xfrm>
            <a:off x="7888754" y="1746120"/>
            <a:ext cx="1926195" cy="2873225"/>
          </a:xfrm>
        </p:spPr>
        <p:txBody>
          <a:bodyPr/>
          <a:lstStyle/>
          <a:p>
            <a:endParaRPr lang="id-ID"/>
          </a:p>
        </p:txBody>
      </p:sp>
    </p:spTree>
    <p:extLst>
      <p:ext uri="{BB962C8B-B14F-4D97-AF65-F5344CB8AC3E}">
        <p14:creationId xmlns:p14="http://schemas.microsoft.com/office/powerpoint/2010/main" val="3430565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1+#ppt_w/2"/>
                                          </p:val>
                                        </p:tav>
                                        <p:tav tm="100000">
                                          <p:val>
                                            <p:strVal val="#ppt_x"/>
                                          </p:val>
                                        </p:tav>
                                      </p:tavLst>
                                    </p:anim>
                                    <p:anim calcmode="lin" valueType="num">
                                      <p:cBhvr additive="base">
                                        <p:cTn id="8"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t Mockup">
    <p:spTree>
      <p:nvGrpSpPr>
        <p:cNvPr id="1" name=""/>
        <p:cNvGrpSpPr/>
        <p:nvPr/>
      </p:nvGrpSpPr>
      <p:grpSpPr>
        <a:xfrm>
          <a:off x="0" y="0"/>
          <a:ext cx="0" cy="0"/>
          <a:chOff x="0" y="0"/>
          <a:chExt cx="0" cy="0"/>
        </a:xfrm>
      </p:grpSpPr>
      <p:grpSp>
        <p:nvGrpSpPr>
          <p:cNvPr id="15" name="Group 14"/>
          <p:cNvGrpSpPr/>
          <p:nvPr userDrawn="1"/>
        </p:nvGrpSpPr>
        <p:grpSpPr>
          <a:xfrm rot="10800000">
            <a:off x="1656483" y="623789"/>
            <a:ext cx="8879034" cy="1179606"/>
            <a:chOff x="4320646" y="785489"/>
            <a:chExt cx="6753082" cy="897167"/>
          </a:xfrm>
        </p:grpSpPr>
        <p:sp>
          <p:nvSpPr>
            <p:cNvPr id="16" name="Freeform 5"/>
            <p:cNvSpPr>
              <a:spLocks/>
            </p:cNvSpPr>
            <p:nvPr/>
          </p:nvSpPr>
          <p:spPr bwMode="auto">
            <a:xfrm rot="10800000">
              <a:off x="10282655" y="785489"/>
              <a:ext cx="791073" cy="605127"/>
            </a:xfrm>
            <a:custGeom>
              <a:avLst/>
              <a:gdLst>
                <a:gd name="T0" fmla="*/ 16 w 243"/>
                <a:gd name="T1" fmla="*/ 111 h 230"/>
                <a:gd name="T2" fmla="*/ 0 w 243"/>
                <a:gd name="T3" fmla="*/ 230 h 230"/>
                <a:gd name="T4" fmla="*/ 243 w 243"/>
                <a:gd name="T5" fmla="*/ 230 h 230"/>
                <a:gd name="T6" fmla="*/ 243 w 243"/>
                <a:gd name="T7" fmla="*/ 0 h 230"/>
                <a:gd name="T8" fmla="*/ 0 w 243"/>
                <a:gd name="T9" fmla="*/ 0 h 230"/>
                <a:gd name="T10" fmla="*/ 16 w 243"/>
                <a:gd name="T11" fmla="*/ 111 h 230"/>
              </a:gdLst>
              <a:ahLst/>
              <a:cxnLst>
                <a:cxn ang="0">
                  <a:pos x="T0" y="T1"/>
                </a:cxn>
                <a:cxn ang="0">
                  <a:pos x="T2" y="T3"/>
                </a:cxn>
                <a:cxn ang="0">
                  <a:pos x="T4" y="T5"/>
                </a:cxn>
                <a:cxn ang="0">
                  <a:pos x="T6" y="T7"/>
                </a:cxn>
                <a:cxn ang="0">
                  <a:pos x="T8" y="T9"/>
                </a:cxn>
                <a:cxn ang="0">
                  <a:pos x="T10" y="T11"/>
                </a:cxn>
              </a:cxnLst>
              <a:rect l="0" t="0" r="r" b="b"/>
              <a:pathLst>
                <a:path w="243" h="230">
                  <a:moveTo>
                    <a:pt x="16" y="111"/>
                  </a:moveTo>
                  <a:lnTo>
                    <a:pt x="0" y="230"/>
                  </a:lnTo>
                  <a:lnTo>
                    <a:pt x="243" y="230"/>
                  </a:lnTo>
                  <a:lnTo>
                    <a:pt x="243" y="0"/>
                  </a:lnTo>
                  <a:lnTo>
                    <a:pt x="0" y="0"/>
                  </a:lnTo>
                  <a:lnTo>
                    <a:pt x="16"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6"/>
            <p:cNvSpPr>
              <a:spLocks/>
            </p:cNvSpPr>
            <p:nvPr/>
          </p:nvSpPr>
          <p:spPr bwMode="auto">
            <a:xfrm rot="10800000">
              <a:off x="10279401" y="785489"/>
              <a:ext cx="494827" cy="652484"/>
            </a:xfrm>
            <a:custGeom>
              <a:avLst/>
              <a:gdLst>
                <a:gd name="T0" fmla="*/ 152 w 152"/>
                <a:gd name="T1" fmla="*/ 248 h 248"/>
                <a:gd name="T2" fmla="*/ 0 w 152"/>
                <a:gd name="T3" fmla="*/ 139 h 248"/>
                <a:gd name="T4" fmla="*/ 66 w 152"/>
                <a:gd name="T5" fmla="*/ 0 h 248"/>
                <a:gd name="T6" fmla="*/ 152 w 152"/>
                <a:gd name="T7" fmla="*/ 85 h 248"/>
                <a:gd name="T8" fmla="*/ 152 w 152"/>
                <a:gd name="T9" fmla="*/ 248 h 248"/>
              </a:gdLst>
              <a:ahLst/>
              <a:cxnLst>
                <a:cxn ang="0">
                  <a:pos x="T0" y="T1"/>
                </a:cxn>
                <a:cxn ang="0">
                  <a:pos x="T2" y="T3"/>
                </a:cxn>
                <a:cxn ang="0">
                  <a:pos x="T4" y="T5"/>
                </a:cxn>
                <a:cxn ang="0">
                  <a:pos x="T6" y="T7"/>
                </a:cxn>
                <a:cxn ang="0">
                  <a:pos x="T8" y="T9"/>
                </a:cxn>
              </a:cxnLst>
              <a:rect l="0" t="0" r="r" b="b"/>
              <a:pathLst>
                <a:path w="152" h="248">
                  <a:moveTo>
                    <a:pt x="152" y="248"/>
                  </a:moveTo>
                  <a:lnTo>
                    <a:pt x="0" y="139"/>
                  </a:lnTo>
                  <a:lnTo>
                    <a:pt x="66" y="0"/>
                  </a:lnTo>
                  <a:lnTo>
                    <a:pt x="152" y="85"/>
                  </a:lnTo>
                  <a:lnTo>
                    <a:pt x="152"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7"/>
            <p:cNvSpPr>
              <a:spLocks/>
            </p:cNvSpPr>
            <p:nvPr/>
          </p:nvSpPr>
          <p:spPr bwMode="auto">
            <a:xfrm rot="10800000">
              <a:off x="4320646" y="785489"/>
              <a:ext cx="787817" cy="605127"/>
            </a:xfrm>
            <a:custGeom>
              <a:avLst/>
              <a:gdLst>
                <a:gd name="T0" fmla="*/ 226 w 242"/>
                <a:gd name="T1" fmla="*/ 111 h 230"/>
                <a:gd name="T2" fmla="*/ 242 w 242"/>
                <a:gd name="T3" fmla="*/ 230 h 230"/>
                <a:gd name="T4" fmla="*/ 0 w 242"/>
                <a:gd name="T5" fmla="*/ 230 h 230"/>
                <a:gd name="T6" fmla="*/ 0 w 242"/>
                <a:gd name="T7" fmla="*/ 0 h 230"/>
                <a:gd name="T8" fmla="*/ 242 w 242"/>
                <a:gd name="T9" fmla="*/ 0 h 230"/>
                <a:gd name="T10" fmla="*/ 226 w 242"/>
                <a:gd name="T11" fmla="*/ 111 h 230"/>
              </a:gdLst>
              <a:ahLst/>
              <a:cxnLst>
                <a:cxn ang="0">
                  <a:pos x="T0" y="T1"/>
                </a:cxn>
                <a:cxn ang="0">
                  <a:pos x="T2" y="T3"/>
                </a:cxn>
                <a:cxn ang="0">
                  <a:pos x="T4" y="T5"/>
                </a:cxn>
                <a:cxn ang="0">
                  <a:pos x="T6" y="T7"/>
                </a:cxn>
                <a:cxn ang="0">
                  <a:pos x="T8" y="T9"/>
                </a:cxn>
                <a:cxn ang="0">
                  <a:pos x="T10" y="T11"/>
                </a:cxn>
              </a:cxnLst>
              <a:rect l="0" t="0" r="r" b="b"/>
              <a:pathLst>
                <a:path w="242" h="230">
                  <a:moveTo>
                    <a:pt x="226" y="111"/>
                  </a:moveTo>
                  <a:lnTo>
                    <a:pt x="242" y="230"/>
                  </a:lnTo>
                  <a:lnTo>
                    <a:pt x="0" y="230"/>
                  </a:lnTo>
                  <a:lnTo>
                    <a:pt x="0" y="0"/>
                  </a:lnTo>
                  <a:lnTo>
                    <a:pt x="242" y="0"/>
                  </a:lnTo>
                  <a:lnTo>
                    <a:pt x="226"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
            <p:cNvSpPr>
              <a:spLocks/>
            </p:cNvSpPr>
            <p:nvPr/>
          </p:nvSpPr>
          <p:spPr bwMode="auto">
            <a:xfrm rot="10800000">
              <a:off x="4616890" y="785489"/>
              <a:ext cx="494827" cy="652484"/>
            </a:xfrm>
            <a:custGeom>
              <a:avLst/>
              <a:gdLst>
                <a:gd name="T0" fmla="*/ 0 w 152"/>
                <a:gd name="T1" fmla="*/ 248 h 248"/>
                <a:gd name="T2" fmla="*/ 152 w 152"/>
                <a:gd name="T3" fmla="*/ 139 h 248"/>
                <a:gd name="T4" fmla="*/ 86 w 152"/>
                <a:gd name="T5" fmla="*/ 0 h 248"/>
                <a:gd name="T6" fmla="*/ 0 w 152"/>
                <a:gd name="T7" fmla="*/ 85 h 248"/>
                <a:gd name="T8" fmla="*/ 0 w 152"/>
                <a:gd name="T9" fmla="*/ 248 h 248"/>
              </a:gdLst>
              <a:ahLst/>
              <a:cxnLst>
                <a:cxn ang="0">
                  <a:pos x="T0" y="T1"/>
                </a:cxn>
                <a:cxn ang="0">
                  <a:pos x="T2" y="T3"/>
                </a:cxn>
                <a:cxn ang="0">
                  <a:pos x="T4" y="T5"/>
                </a:cxn>
                <a:cxn ang="0">
                  <a:pos x="T6" y="T7"/>
                </a:cxn>
                <a:cxn ang="0">
                  <a:pos x="T8" y="T9"/>
                </a:cxn>
              </a:cxnLst>
              <a:rect l="0" t="0" r="r" b="b"/>
              <a:pathLst>
                <a:path w="152" h="248">
                  <a:moveTo>
                    <a:pt x="0" y="248"/>
                  </a:moveTo>
                  <a:lnTo>
                    <a:pt x="152" y="139"/>
                  </a:lnTo>
                  <a:lnTo>
                    <a:pt x="86" y="0"/>
                  </a:lnTo>
                  <a:lnTo>
                    <a:pt x="0" y="85"/>
                  </a:lnTo>
                  <a:lnTo>
                    <a:pt x="0"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Rectangle 9"/>
            <p:cNvSpPr>
              <a:spLocks noChangeArrowheads="1"/>
            </p:cNvSpPr>
            <p:nvPr/>
          </p:nvSpPr>
          <p:spPr bwMode="auto">
            <a:xfrm rot="10800000">
              <a:off x="4615122" y="1072267"/>
              <a:ext cx="6159106" cy="61038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25" name="Freeform 34"/>
          <p:cNvSpPr>
            <a:spLocks/>
          </p:cNvSpPr>
          <p:nvPr userDrawn="1"/>
        </p:nvSpPr>
        <p:spPr bwMode="auto">
          <a:xfrm>
            <a:off x="-220823" y="1256973"/>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69676" y="326491"/>
            <a:ext cx="504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solidFill>
                  <a:schemeClr val="bg1"/>
                </a:solidFill>
              </a:defRPr>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429059"/>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2" name="Freeform 34"/>
          <p:cNvSpPr>
            <a:spLocks/>
          </p:cNvSpPr>
          <p:nvPr userDrawn="1"/>
        </p:nvSpPr>
        <p:spPr bwMode="auto">
          <a:xfrm>
            <a:off x="11963183" y="1136455"/>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39301" y="2036031"/>
            <a:ext cx="5313397" cy="5016325"/>
          </a:xfrm>
          <a:prstGeom prst="rect">
            <a:avLst/>
          </a:prstGeom>
        </p:spPr>
      </p:pic>
      <p:sp>
        <p:nvSpPr>
          <p:cNvPr id="34" name="Picture Placeholder 3"/>
          <p:cNvSpPr>
            <a:spLocks noGrp="1"/>
          </p:cNvSpPr>
          <p:nvPr>
            <p:ph type="pic" sz="quarter" idx="14"/>
          </p:nvPr>
        </p:nvSpPr>
        <p:spPr>
          <a:xfrm>
            <a:off x="4267200" y="2507391"/>
            <a:ext cx="3686629" cy="2746621"/>
          </a:xfrm>
        </p:spPr>
        <p:txBody>
          <a:bodyPr>
            <a:normAutofit/>
          </a:bodyPr>
          <a:lstStyle>
            <a:lvl1pPr>
              <a:defRPr sz="1800"/>
            </a:lvl1pPr>
          </a:lstStyle>
          <a:p>
            <a:endParaRPr lang="id-ID"/>
          </a:p>
        </p:txBody>
      </p:sp>
    </p:spTree>
    <p:extLst>
      <p:ext uri="{BB962C8B-B14F-4D97-AF65-F5344CB8AC3E}">
        <p14:creationId xmlns:p14="http://schemas.microsoft.com/office/powerpoint/2010/main" val="445716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outVertical)">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fade">
                                      <p:cBhvr>
                                        <p:cTn id="15" dur="500"/>
                                        <p:tgtEl>
                                          <p:spTgt spid="24">
                                            <p:txEl>
                                              <p:pRg st="0" end="0"/>
                                            </p:txEl>
                                          </p:spTgt>
                                        </p:tgtEl>
                                      </p:cBhvr>
                                    </p:animEffect>
                                  </p:childTnLst>
                                </p:cTn>
                              </p:par>
                            </p:childTnLst>
                          </p:cTn>
                        </p:par>
                        <p:par>
                          <p:cTn id="16" fill="hold">
                            <p:stCondLst>
                              <p:cond delay="1500"/>
                            </p:stCondLst>
                            <p:childTnLst>
                              <p:par>
                                <p:cTn id="17" presetID="47" presetClass="entr" presetSubtype="0" fill="hold" nodeType="after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1000"/>
                                        <p:tgtEl>
                                          <p:spTgt spid="33"/>
                                        </p:tgtEl>
                                      </p:cBhvr>
                                    </p:animEffect>
                                    <p:anim calcmode="lin" valueType="num">
                                      <p:cBhvr>
                                        <p:cTn id="20" dur="1000" fill="hold"/>
                                        <p:tgtEl>
                                          <p:spTgt spid="33"/>
                                        </p:tgtEl>
                                        <p:attrNameLst>
                                          <p:attrName>ppt_x</p:attrName>
                                        </p:attrNameLst>
                                      </p:cBhvr>
                                      <p:tavLst>
                                        <p:tav tm="0">
                                          <p:val>
                                            <p:strVal val="#ppt_x"/>
                                          </p:val>
                                        </p:tav>
                                        <p:tav tm="100000">
                                          <p:val>
                                            <p:strVal val="#ppt_x"/>
                                          </p:val>
                                        </p:tav>
                                      </p:tavLst>
                                    </p:anim>
                                    <p:anim calcmode="lin" valueType="num">
                                      <p:cBhvr>
                                        <p:cTn id="21"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ablet Mockup">
    <p:spTree>
      <p:nvGrpSpPr>
        <p:cNvPr id="1" name=""/>
        <p:cNvGrpSpPr/>
        <p:nvPr/>
      </p:nvGrpSpPr>
      <p:grpSpPr>
        <a:xfrm>
          <a:off x="0" y="0"/>
          <a:ext cx="0" cy="0"/>
          <a:chOff x="0" y="0"/>
          <a:chExt cx="0" cy="0"/>
        </a:xfrm>
      </p:grpSpPr>
      <p:pic>
        <p:nvPicPr>
          <p:cNvPr id="35" name="Picture 3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6426" y="1804363"/>
            <a:ext cx="3982635" cy="5057314"/>
          </a:xfrm>
          <a:prstGeom prst="rect">
            <a:avLst/>
          </a:prstGeom>
        </p:spPr>
      </p:pic>
      <p:grpSp>
        <p:nvGrpSpPr>
          <p:cNvPr id="15" name="Group 14"/>
          <p:cNvGrpSpPr/>
          <p:nvPr userDrawn="1"/>
        </p:nvGrpSpPr>
        <p:grpSpPr>
          <a:xfrm rot="10800000">
            <a:off x="1656483" y="623789"/>
            <a:ext cx="8879034" cy="1179606"/>
            <a:chOff x="4320646" y="785489"/>
            <a:chExt cx="6753082" cy="897167"/>
          </a:xfrm>
        </p:grpSpPr>
        <p:sp>
          <p:nvSpPr>
            <p:cNvPr id="16" name="Freeform 5"/>
            <p:cNvSpPr>
              <a:spLocks/>
            </p:cNvSpPr>
            <p:nvPr/>
          </p:nvSpPr>
          <p:spPr bwMode="auto">
            <a:xfrm rot="10800000">
              <a:off x="10282655" y="785489"/>
              <a:ext cx="791073" cy="605127"/>
            </a:xfrm>
            <a:custGeom>
              <a:avLst/>
              <a:gdLst>
                <a:gd name="T0" fmla="*/ 16 w 243"/>
                <a:gd name="T1" fmla="*/ 111 h 230"/>
                <a:gd name="T2" fmla="*/ 0 w 243"/>
                <a:gd name="T3" fmla="*/ 230 h 230"/>
                <a:gd name="T4" fmla="*/ 243 w 243"/>
                <a:gd name="T5" fmla="*/ 230 h 230"/>
                <a:gd name="T6" fmla="*/ 243 w 243"/>
                <a:gd name="T7" fmla="*/ 0 h 230"/>
                <a:gd name="T8" fmla="*/ 0 w 243"/>
                <a:gd name="T9" fmla="*/ 0 h 230"/>
                <a:gd name="T10" fmla="*/ 16 w 243"/>
                <a:gd name="T11" fmla="*/ 111 h 230"/>
              </a:gdLst>
              <a:ahLst/>
              <a:cxnLst>
                <a:cxn ang="0">
                  <a:pos x="T0" y="T1"/>
                </a:cxn>
                <a:cxn ang="0">
                  <a:pos x="T2" y="T3"/>
                </a:cxn>
                <a:cxn ang="0">
                  <a:pos x="T4" y="T5"/>
                </a:cxn>
                <a:cxn ang="0">
                  <a:pos x="T6" y="T7"/>
                </a:cxn>
                <a:cxn ang="0">
                  <a:pos x="T8" y="T9"/>
                </a:cxn>
                <a:cxn ang="0">
                  <a:pos x="T10" y="T11"/>
                </a:cxn>
              </a:cxnLst>
              <a:rect l="0" t="0" r="r" b="b"/>
              <a:pathLst>
                <a:path w="243" h="230">
                  <a:moveTo>
                    <a:pt x="16" y="111"/>
                  </a:moveTo>
                  <a:lnTo>
                    <a:pt x="0" y="230"/>
                  </a:lnTo>
                  <a:lnTo>
                    <a:pt x="243" y="230"/>
                  </a:lnTo>
                  <a:lnTo>
                    <a:pt x="243" y="0"/>
                  </a:lnTo>
                  <a:lnTo>
                    <a:pt x="0" y="0"/>
                  </a:lnTo>
                  <a:lnTo>
                    <a:pt x="16"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6"/>
            <p:cNvSpPr>
              <a:spLocks/>
            </p:cNvSpPr>
            <p:nvPr/>
          </p:nvSpPr>
          <p:spPr bwMode="auto">
            <a:xfrm rot="10800000">
              <a:off x="10279401" y="785489"/>
              <a:ext cx="494827" cy="652484"/>
            </a:xfrm>
            <a:custGeom>
              <a:avLst/>
              <a:gdLst>
                <a:gd name="T0" fmla="*/ 152 w 152"/>
                <a:gd name="T1" fmla="*/ 248 h 248"/>
                <a:gd name="T2" fmla="*/ 0 w 152"/>
                <a:gd name="T3" fmla="*/ 139 h 248"/>
                <a:gd name="T4" fmla="*/ 66 w 152"/>
                <a:gd name="T5" fmla="*/ 0 h 248"/>
                <a:gd name="T6" fmla="*/ 152 w 152"/>
                <a:gd name="T7" fmla="*/ 85 h 248"/>
                <a:gd name="T8" fmla="*/ 152 w 152"/>
                <a:gd name="T9" fmla="*/ 248 h 248"/>
              </a:gdLst>
              <a:ahLst/>
              <a:cxnLst>
                <a:cxn ang="0">
                  <a:pos x="T0" y="T1"/>
                </a:cxn>
                <a:cxn ang="0">
                  <a:pos x="T2" y="T3"/>
                </a:cxn>
                <a:cxn ang="0">
                  <a:pos x="T4" y="T5"/>
                </a:cxn>
                <a:cxn ang="0">
                  <a:pos x="T6" y="T7"/>
                </a:cxn>
                <a:cxn ang="0">
                  <a:pos x="T8" y="T9"/>
                </a:cxn>
              </a:cxnLst>
              <a:rect l="0" t="0" r="r" b="b"/>
              <a:pathLst>
                <a:path w="152" h="248">
                  <a:moveTo>
                    <a:pt x="152" y="248"/>
                  </a:moveTo>
                  <a:lnTo>
                    <a:pt x="0" y="139"/>
                  </a:lnTo>
                  <a:lnTo>
                    <a:pt x="66" y="0"/>
                  </a:lnTo>
                  <a:lnTo>
                    <a:pt x="152" y="85"/>
                  </a:lnTo>
                  <a:lnTo>
                    <a:pt x="152"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7"/>
            <p:cNvSpPr>
              <a:spLocks/>
            </p:cNvSpPr>
            <p:nvPr/>
          </p:nvSpPr>
          <p:spPr bwMode="auto">
            <a:xfrm rot="10800000">
              <a:off x="4320646" y="785489"/>
              <a:ext cx="787817" cy="605127"/>
            </a:xfrm>
            <a:custGeom>
              <a:avLst/>
              <a:gdLst>
                <a:gd name="T0" fmla="*/ 226 w 242"/>
                <a:gd name="T1" fmla="*/ 111 h 230"/>
                <a:gd name="T2" fmla="*/ 242 w 242"/>
                <a:gd name="T3" fmla="*/ 230 h 230"/>
                <a:gd name="T4" fmla="*/ 0 w 242"/>
                <a:gd name="T5" fmla="*/ 230 h 230"/>
                <a:gd name="T6" fmla="*/ 0 w 242"/>
                <a:gd name="T7" fmla="*/ 0 h 230"/>
                <a:gd name="T8" fmla="*/ 242 w 242"/>
                <a:gd name="T9" fmla="*/ 0 h 230"/>
                <a:gd name="T10" fmla="*/ 226 w 242"/>
                <a:gd name="T11" fmla="*/ 111 h 230"/>
              </a:gdLst>
              <a:ahLst/>
              <a:cxnLst>
                <a:cxn ang="0">
                  <a:pos x="T0" y="T1"/>
                </a:cxn>
                <a:cxn ang="0">
                  <a:pos x="T2" y="T3"/>
                </a:cxn>
                <a:cxn ang="0">
                  <a:pos x="T4" y="T5"/>
                </a:cxn>
                <a:cxn ang="0">
                  <a:pos x="T6" y="T7"/>
                </a:cxn>
                <a:cxn ang="0">
                  <a:pos x="T8" y="T9"/>
                </a:cxn>
                <a:cxn ang="0">
                  <a:pos x="T10" y="T11"/>
                </a:cxn>
              </a:cxnLst>
              <a:rect l="0" t="0" r="r" b="b"/>
              <a:pathLst>
                <a:path w="242" h="230">
                  <a:moveTo>
                    <a:pt x="226" y="111"/>
                  </a:moveTo>
                  <a:lnTo>
                    <a:pt x="242" y="230"/>
                  </a:lnTo>
                  <a:lnTo>
                    <a:pt x="0" y="230"/>
                  </a:lnTo>
                  <a:lnTo>
                    <a:pt x="0" y="0"/>
                  </a:lnTo>
                  <a:lnTo>
                    <a:pt x="242" y="0"/>
                  </a:lnTo>
                  <a:lnTo>
                    <a:pt x="226" y="1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
            <p:cNvSpPr>
              <a:spLocks/>
            </p:cNvSpPr>
            <p:nvPr/>
          </p:nvSpPr>
          <p:spPr bwMode="auto">
            <a:xfrm rot="10800000">
              <a:off x="4616890" y="785489"/>
              <a:ext cx="494827" cy="652484"/>
            </a:xfrm>
            <a:custGeom>
              <a:avLst/>
              <a:gdLst>
                <a:gd name="T0" fmla="*/ 0 w 152"/>
                <a:gd name="T1" fmla="*/ 248 h 248"/>
                <a:gd name="T2" fmla="*/ 152 w 152"/>
                <a:gd name="T3" fmla="*/ 139 h 248"/>
                <a:gd name="T4" fmla="*/ 86 w 152"/>
                <a:gd name="T5" fmla="*/ 0 h 248"/>
                <a:gd name="T6" fmla="*/ 0 w 152"/>
                <a:gd name="T7" fmla="*/ 85 h 248"/>
                <a:gd name="T8" fmla="*/ 0 w 152"/>
                <a:gd name="T9" fmla="*/ 248 h 248"/>
              </a:gdLst>
              <a:ahLst/>
              <a:cxnLst>
                <a:cxn ang="0">
                  <a:pos x="T0" y="T1"/>
                </a:cxn>
                <a:cxn ang="0">
                  <a:pos x="T2" y="T3"/>
                </a:cxn>
                <a:cxn ang="0">
                  <a:pos x="T4" y="T5"/>
                </a:cxn>
                <a:cxn ang="0">
                  <a:pos x="T6" y="T7"/>
                </a:cxn>
                <a:cxn ang="0">
                  <a:pos x="T8" y="T9"/>
                </a:cxn>
              </a:cxnLst>
              <a:rect l="0" t="0" r="r" b="b"/>
              <a:pathLst>
                <a:path w="152" h="248">
                  <a:moveTo>
                    <a:pt x="0" y="248"/>
                  </a:moveTo>
                  <a:lnTo>
                    <a:pt x="152" y="139"/>
                  </a:lnTo>
                  <a:lnTo>
                    <a:pt x="86" y="0"/>
                  </a:lnTo>
                  <a:lnTo>
                    <a:pt x="0" y="85"/>
                  </a:lnTo>
                  <a:lnTo>
                    <a:pt x="0"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Rectangle 9"/>
            <p:cNvSpPr>
              <a:spLocks noChangeArrowheads="1"/>
            </p:cNvSpPr>
            <p:nvPr/>
          </p:nvSpPr>
          <p:spPr bwMode="auto">
            <a:xfrm rot="10800000">
              <a:off x="4615122" y="1072267"/>
              <a:ext cx="6159106" cy="61038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25" name="Freeform 34"/>
          <p:cNvSpPr>
            <a:spLocks/>
          </p:cNvSpPr>
          <p:nvPr userDrawn="1"/>
        </p:nvSpPr>
        <p:spPr bwMode="auto">
          <a:xfrm>
            <a:off x="-220823" y="1256973"/>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69676" y="326491"/>
            <a:ext cx="504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solidFill>
                  <a:schemeClr val="bg1"/>
                </a:solidFill>
              </a:defRPr>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429059"/>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2" name="Freeform 34"/>
          <p:cNvSpPr>
            <a:spLocks/>
          </p:cNvSpPr>
          <p:nvPr userDrawn="1"/>
        </p:nvSpPr>
        <p:spPr bwMode="auto">
          <a:xfrm>
            <a:off x="11963183" y="1136455"/>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Picture Placeholder 2"/>
          <p:cNvSpPr>
            <a:spLocks noGrp="1"/>
          </p:cNvSpPr>
          <p:nvPr>
            <p:ph type="pic" sz="quarter" idx="14"/>
          </p:nvPr>
        </p:nvSpPr>
        <p:spPr>
          <a:xfrm>
            <a:off x="4891088" y="2565400"/>
            <a:ext cx="2386012" cy="3149600"/>
          </a:xfrm>
        </p:spPr>
        <p:txBody>
          <a:bodyPr>
            <a:normAutofit/>
          </a:bodyPr>
          <a:lstStyle>
            <a:lvl1pPr>
              <a:defRPr sz="1400"/>
            </a:lvl1pPr>
          </a:lstStyle>
          <a:p>
            <a:endParaRPr lang="id-ID" dirty="0"/>
          </a:p>
        </p:txBody>
      </p:sp>
    </p:spTree>
    <p:extLst>
      <p:ext uri="{BB962C8B-B14F-4D97-AF65-F5344CB8AC3E}">
        <p14:creationId xmlns:p14="http://schemas.microsoft.com/office/powerpoint/2010/main" val="3316151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barn(outVertical)">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fade">
                                      <p:cBhvr>
                                        <p:cTn id="15" dur="500"/>
                                        <p:tgtEl>
                                          <p:spTgt spid="24">
                                            <p:txEl>
                                              <p:pRg st="0" end="0"/>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ablet Mockup 2">
    <p:spTree>
      <p:nvGrpSpPr>
        <p:cNvPr id="1" name=""/>
        <p:cNvGrpSpPr/>
        <p:nvPr/>
      </p:nvGrpSpPr>
      <p:grpSpPr>
        <a:xfrm>
          <a:off x="0" y="0"/>
          <a:ext cx="0" cy="0"/>
          <a:chOff x="0" y="0"/>
          <a:chExt cx="0" cy="0"/>
        </a:xfrm>
      </p:grpSpPr>
      <p:sp>
        <p:nvSpPr>
          <p:cNvPr id="25" name="Freeform 34"/>
          <p:cNvSpPr>
            <a:spLocks/>
          </p:cNvSpPr>
          <p:nvPr userDrawn="1"/>
        </p:nvSpPr>
        <p:spPr bwMode="auto">
          <a:xfrm>
            <a:off x="1389063" y="9154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237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23" name="Group 22"/>
          <p:cNvGrpSpPr/>
          <p:nvPr userDrawn="1"/>
        </p:nvGrpSpPr>
        <p:grpSpPr>
          <a:xfrm>
            <a:off x="338952" y="6409324"/>
            <a:ext cx="224082" cy="221156"/>
            <a:chOff x="4328868" y="5502988"/>
            <a:chExt cx="500307" cy="493774"/>
          </a:xfrm>
        </p:grpSpPr>
        <p:sp>
          <p:nvSpPr>
            <p:cNvPr id="24" name="Freeform 2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8" name="Freeform 27">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9" name="Group 28"/>
          <p:cNvGrpSpPr/>
          <p:nvPr userDrawn="1"/>
        </p:nvGrpSpPr>
        <p:grpSpPr>
          <a:xfrm flipH="1">
            <a:off x="11637433" y="6409324"/>
            <a:ext cx="224082" cy="221156"/>
            <a:chOff x="4328868" y="5502988"/>
            <a:chExt cx="500307" cy="493774"/>
          </a:xfrm>
        </p:grpSpPr>
        <p:sp>
          <p:nvSpPr>
            <p:cNvPr id="30" name="Freeform 29">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1" name="Freeform 30">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6568" y="430680"/>
            <a:ext cx="3341604" cy="6534695"/>
          </a:xfrm>
          <a:prstGeom prst="rect">
            <a:avLst/>
          </a:prstGeom>
        </p:spPr>
      </p:pic>
      <p:sp>
        <p:nvSpPr>
          <p:cNvPr id="3" name="Picture Placeholder 2"/>
          <p:cNvSpPr>
            <a:spLocks noGrp="1"/>
          </p:cNvSpPr>
          <p:nvPr>
            <p:ph type="pic" sz="quarter" idx="10"/>
          </p:nvPr>
        </p:nvSpPr>
        <p:spPr>
          <a:xfrm>
            <a:off x="1338263" y="1358900"/>
            <a:ext cx="2039937" cy="3822700"/>
          </a:xfrm>
          <a:custGeom>
            <a:avLst/>
            <a:gdLst>
              <a:gd name="connsiteX0" fmla="*/ 0 w 1824037"/>
              <a:gd name="connsiteY0" fmla="*/ 0 h 3784600"/>
              <a:gd name="connsiteX1" fmla="*/ 1824037 w 1824037"/>
              <a:gd name="connsiteY1" fmla="*/ 0 h 3784600"/>
              <a:gd name="connsiteX2" fmla="*/ 1824037 w 1824037"/>
              <a:gd name="connsiteY2" fmla="*/ 3784600 h 3784600"/>
              <a:gd name="connsiteX3" fmla="*/ 0 w 1824037"/>
              <a:gd name="connsiteY3" fmla="*/ 3784600 h 3784600"/>
              <a:gd name="connsiteX4" fmla="*/ 0 w 1824037"/>
              <a:gd name="connsiteY4" fmla="*/ 0 h 3784600"/>
              <a:gd name="connsiteX0" fmla="*/ 0 w 1925637"/>
              <a:gd name="connsiteY0" fmla="*/ 0 h 3784600"/>
              <a:gd name="connsiteX1" fmla="*/ 1925637 w 1925637"/>
              <a:gd name="connsiteY1" fmla="*/ 279400 h 3784600"/>
              <a:gd name="connsiteX2" fmla="*/ 1824037 w 1925637"/>
              <a:gd name="connsiteY2" fmla="*/ 3784600 h 3784600"/>
              <a:gd name="connsiteX3" fmla="*/ 0 w 1925637"/>
              <a:gd name="connsiteY3" fmla="*/ 3784600 h 3784600"/>
              <a:gd name="connsiteX4" fmla="*/ 0 w 1925637"/>
              <a:gd name="connsiteY4" fmla="*/ 0 h 3784600"/>
              <a:gd name="connsiteX0" fmla="*/ 50800 w 1976437"/>
              <a:gd name="connsiteY0" fmla="*/ 0 h 3784600"/>
              <a:gd name="connsiteX1" fmla="*/ 1976437 w 1976437"/>
              <a:gd name="connsiteY1" fmla="*/ 279400 h 3784600"/>
              <a:gd name="connsiteX2" fmla="*/ 1874837 w 1976437"/>
              <a:gd name="connsiteY2" fmla="*/ 3784600 h 3784600"/>
              <a:gd name="connsiteX3" fmla="*/ 0 w 1976437"/>
              <a:gd name="connsiteY3" fmla="*/ 3771900 h 3784600"/>
              <a:gd name="connsiteX4" fmla="*/ 50800 w 1976437"/>
              <a:gd name="connsiteY4" fmla="*/ 0 h 3784600"/>
              <a:gd name="connsiteX0" fmla="*/ 12700 w 1976437"/>
              <a:gd name="connsiteY0" fmla="*/ 0 h 3759200"/>
              <a:gd name="connsiteX1" fmla="*/ 1976437 w 1976437"/>
              <a:gd name="connsiteY1" fmla="*/ 254000 h 3759200"/>
              <a:gd name="connsiteX2" fmla="*/ 1874837 w 1976437"/>
              <a:gd name="connsiteY2" fmla="*/ 3759200 h 3759200"/>
              <a:gd name="connsiteX3" fmla="*/ 0 w 1976437"/>
              <a:gd name="connsiteY3" fmla="*/ 3746500 h 3759200"/>
              <a:gd name="connsiteX4" fmla="*/ 12700 w 1976437"/>
              <a:gd name="connsiteY4" fmla="*/ 0 h 3759200"/>
              <a:gd name="connsiteX0" fmla="*/ 12700 w 2039937"/>
              <a:gd name="connsiteY0" fmla="*/ 0 h 3822700"/>
              <a:gd name="connsiteX1" fmla="*/ 1976437 w 2039937"/>
              <a:gd name="connsiteY1" fmla="*/ 254000 h 3822700"/>
              <a:gd name="connsiteX2" fmla="*/ 2039937 w 2039937"/>
              <a:gd name="connsiteY2" fmla="*/ 3822700 h 3822700"/>
              <a:gd name="connsiteX3" fmla="*/ 0 w 2039937"/>
              <a:gd name="connsiteY3" fmla="*/ 3746500 h 3822700"/>
              <a:gd name="connsiteX4" fmla="*/ 12700 w 2039937"/>
              <a:gd name="connsiteY4" fmla="*/ 0 h 3822700"/>
              <a:gd name="connsiteX0" fmla="*/ 12700 w 2039937"/>
              <a:gd name="connsiteY0" fmla="*/ 0 h 3822700"/>
              <a:gd name="connsiteX1" fmla="*/ 2001837 w 2039937"/>
              <a:gd name="connsiteY1" fmla="*/ 266700 h 3822700"/>
              <a:gd name="connsiteX2" fmla="*/ 2039937 w 2039937"/>
              <a:gd name="connsiteY2" fmla="*/ 3822700 h 3822700"/>
              <a:gd name="connsiteX3" fmla="*/ 0 w 2039937"/>
              <a:gd name="connsiteY3" fmla="*/ 3746500 h 3822700"/>
              <a:gd name="connsiteX4" fmla="*/ 12700 w 2039937"/>
              <a:gd name="connsiteY4" fmla="*/ 0 h 3822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9937" h="3822700">
                <a:moveTo>
                  <a:pt x="12700" y="0"/>
                </a:moveTo>
                <a:lnTo>
                  <a:pt x="2001837" y="266700"/>
                </a:lnTo>
                <a:lnTo>
                  <a:pt x="2039937" y="3822700"/>
                </a:lnTo>
                <a:lnTo>
                  <a:pt x="0" y="3746500"/>
                </a:lnTo>
                <a:cubicBezTo>
                  <a:pt x="4233" y="2497667"/>
                  <a:pt x="8467" y="1248833"/>
                  <a:pt x="12700" y="0"/>
                </a:cubicBezTo>
                <a:close/>
              </a:path>
            </a:pathLst>
          </a:custGeom>
        </p:spPr>
        <p:txBody>
          <a:bodyPr/>
          <a:lstStyle/>
          <a:p>
            <a:endParaRPr lang="id-ID"/>
          </a:p>
        </p:txBody>
      </p:sp>
    </p:spTree>
    <p:extLst>
      <p:ext uri="{BB962C8B-B14F-4D97-AF65-F5344CB8AC3E}">
        <p14:creationId xmlns:p14="http://schemas.microsoft.com/office/powerpoint/2010/main" val="382491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ublic Events">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872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2"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 name="Picture Placeholder 2"/>
          <p:cNvSpPr>
            <a:spLocks noGrp="1"/>
          </p:cNvSpPr>
          <p:nvPr>
            <p:ph type="pic" sz="quarter" idx="14"/>
          </p:nvPr>
        </p:nvSpPr>
        <p:spPr>
          <a:xfrm>
            <a:off x="845761" y="2500836"/>
            <a:ext cx="2104471" cy="2104471"/>
          </a:xfrm>
          <a:prstGeom prst="ellipse">
            <a:avLst/>
          </a:prstGeom>
          <a:ln w="25400">
            <a:solidFill>
              <a:schemeClr val="accent1"/>
            </a:solidFill>
          </a:ln>
        </p:spPr>
        <p:txBody>
          <a:bodyPr>
            <a:normAutofit/>
          </a:bodyPr>
          <a:lstStyle>
            <a:lvl1pPr>
              <a:defRPr sz="1800"/>
            </a:lvl1pPr>
          </a:lstStyle>
          <a:p>
            <a:endParaRPr lang="id-ID"/>
          </a:p>
        </p:txBody>
      </p:sp>
      <p:sp>
        <p:nvSpPr>
          <p:cNvPr id="28" name="Picture Placeholder 2"/>
          <p:cNvSpPr>
            <a:spLocks noGrp="1"/>
          </p:cNvSpPr>
          <p:nvPr>
            <p:ph type="pic" sz="quarter" idx="15"/>
          </p:nvPr>
        </p:nvSpPr>
        <p:spPr>
          <a:xfrm>
            <a:off x="3634611" y="2500836"/>
            <a:ext cx="2104471" cy="2104471"/>
          </a:xfrm>
          <a:prstGeom prst="ellipse">
            <a:avLst/>
          </a:prstGeom>
          <a:ln w="25400">
            <a:solidFill>
              <a:schemeClr val="accent2"/>
            </a:solidFill>
          </a:ln>
        </p:spPr>
        <p:txBody>
          <a:bodyPr>
            <a:normAutofit/>
          </a:bodyPr>
          <a:lstStyle>
            <a:lvl1pPr>
              <a:defRPr sz="1800"/>
            </a:lvl1pPr>
          </a:lstStyle>
          <a:p>
            <a:endParaRPr lang="id-ID"/>
          </a:p>
        </p:txBody>
      </p:sp>
      <p:sp>
        <p:nvSpPr>
          <p:cNvPr id="29" name="Picture Placeholder 2"/>
          <p:cNvSpPr>
            <a:spLocks noGrp="1"/>
          </p:cNvSpPr>
          <p:nvPr>
            <p:ph type="pic" sz="quarter" idx="16"/>
          </p:nvPr>
        </p:nvSpPr>
        <p:spPr>
          <a:xfrm>
            <a:off x="6433441" y="2500836"/>
            <a:ext cx="2104471" cy="2104471"/>
          </a:xfrm>
          <a:prstGeom prst="ellipse">
            <a:avLst/>
          </a:prstGeom>
          <a:ln w="25400">
            <a:solidFill>
              <a:schemeClr val="accent3"/>
            </a:solidFill>
          </a:ln>
        </p:spPr>
        <p:txBody>
          <a:bodyPr>
            <a:normAutofit/>
          </a:bodyPr>
          <a:lstStyle>
            <a:lvl1pPr>
              <a:defRPr sz="1800"/>
            </a:lvl1pPr>
          </a:lstStyle>
          <a:p>
            <a:endParaRPr lang="id-ID"/>
          </a:p>
        </p:txBody>
      </p:sp>
      <p:sp>
        <p:nvSpPr>
          <p:cNvPr id="30" name="Picture Placeholder 2"/>
          <p:cNvSpPr>
            <a:spLocks noGrp="1"/>
          </p:cNvSpPr>
          <p:nvPr>
            <p:ph type="pic" sz="quarter" idx="17"/>
          </p:nvPr>
        </p:nvSpPr>
        <p:spPr>
          <a:xfrm>
            <a:off x="9222291" y="2500836"/>
            <a:ext cx="2104471" cy="2104471"/>
          </a:xfrm>
          <a:prstGeom prst="ellipse">
            <a:avLst/>
          </a:prstGeom>
          <a:ln w="25400">
            <a:solidFill>
              <a:schemeClr val="accent4"/>
            </a:solidFill>
          </a:ln>
        </p:spPr>
        <p:txBody>
          <a:bodyPr>
            <a:normAutofit/>
          </a:bodyPr>
          <a:lstStyle>
            <a:lvl1pPr>
              <a:defRPr sz="1800"/>
            </a:lvl1pPr>
          </a:lstStyle>
          <a:p>
            <a:endParaRPr lang="id-ID"/>
          </a:p>
        </p:txBody>
      </p:sp>
    </p:spTree>
    <p:extLst>
      <p:ext uri="{BB962C8B-B14F-4D97-AF65-F5344CB8AC3E}">
        <p14:creationId xmlns:p14="http://schemas.microsoft.com/office/powerpoint/2010/main" val="3989358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Public Events">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872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1" name="Picture Placeholder 6"/>
          <p:cNvSpPr>
            <a:spLocks noGrp="1"/>
          </p:cNvSpPr>
          <p:nvPr>
            <p:ph type="pic" sz="quarter" idx="11"/>
          </p:nvPr>
        </p:nvSpPr>
        <p:spPr>
          <a:xfrm>
            <a:off x="6305095" y="2062871"/>
            <a:ext cx="4932000" cy="3600000"/>
          </a:xfrm>
        </p:spPr>
      </p:sp>
      <p:sp>
        <p:nvSpPr>
          <p:cNvPr id="32" name="Picture Placeholder 7"/>
          <p:cNvSpPr>
            <a:spLocks noGrp="1"/>
          </p:cNvSpPr>
          <p:nvPr>
            <p:ph type="pic" sz="quarter" idx="14"/>
          </p:nvPr>
        </p:nvSpPr>
        <p:spPr>
          <a:xfrm>
            <a:off x="901531" y="2062871"/>
            <a:ext cx="4932000" cy="3600000"/>
          </a:xfrm>
        </p:spPr>
      </p:sp>
      <p:grpSp>
        <p:nvGrpSpPr>
          <p:cNvPr id="33" name="Group 32"/>
          <p:cNvGrpSpPr/>
          <p:nvPr userDrawn="1"/>
        </p:nvGrpSpPr>
        <p:grpSpPr>
          <a:xfrm>
            <a:off x="338952" y="6409324"/>
            <a:ext cx="224082" cy="221156"/>
            <a:chOff x="4328868" y="5502988"/>
            <a:chExt cx="500307" cy="493774"/>
          </a:xfrm>
        </p:grpSpPr>
        <p:sp>
          <p:nvSpPr>
            <p:cNvPr id="34" name="Freeform 3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5" name="Freeform 34">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36" name="Group 35"/>
          <p:cNvGrpSpPr/>
          <p:nvPr userDrawn="1"/>
        </p:nvGrpSpPr>
        <p:grpSpPr>
          <a:xfrm flipH="1">
            <a:off x="11637433" y="6409324"/>
            <a:ext cx="224082" cy="221156"/>
            <a:chOff x="4328868" y="5502988"/>
            <a:chExt cx="500307" cy="493774"/>
          </a:xfrm>
        </p:grpSpPr>
        <p:sp>
          <p:nvSpPr>
            <p:cNvPr id="37" name="Freeform 36">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8" name="Freeform 37">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469627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ublic Events">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872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grpSp>
        <p:nvGrpSpPr>
          <p:cNvPr id="33" name="Group 32"/>
          <p:cNvGrpSpPr/>
          <p:nvPr userDrawn="1"/>
        </p:nvGrpSpPr>
        <p:grpSpPr>
          <a:xfrm>
            <a:off x="338952" y="6409324"/>
            <a:ext cx="224082" cy="221156"/>
            <a:chOff x="4328868" y="5502988"/>
            <a:chExt cx="500307" cy="493774"/>
          </a:xfrm>
        </p:grpSpPr>
        <p:sp>
          <p:nvSpPr>
            <p:cNvPr id="34" name="Freeform 3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5" name="Freeform 34">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36" name="Group 35"/>
          <p:cNvGrpSpPr/>
          <p:nvPr userDrawn="1"/>
        </p:nvGrpSpPr>
        <p:grpSpPr>
          <a:xfrm flipH="1">
            <a:off x="11637433" y="6409324"/>
            <a:ext cx="224082" cy="221156"/>
            <a:chOff x="4328868" y="5502988"/>
            <a:chExt cx="500307" cy="493774"/>
          </a:xfrm>
        </p:grpSpPr>
        <p:sp>
          <p:nvSpPr>
            <p:cNvPr id="37" name="Freeform 36">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8" name="Freeform 37">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17" name="Picture Placeholder 14"/>
          <p:cNvSpPr>
            <a:spLocks noGrp="1"/>
          </p:cNvSpPr>
          <p:nvPr>
            <p:ph type="pic" sz="quarter" idx="10"/>
          </p:nvPr>
        </p:nvSpPr>
        <p:spPr>
          <a:xfrm>
            <a:off x="1039813" y="2163233"/>
            <a:ext cx="3206750" cy="3293005"/>
          </a:xfrm>
        </p:spPr>
        <p:txBody>
          <a:bodyPr>
            <a:normAutofit/>
          </a:bodyPr>
          <a:lstStyle>
            <a:lvl1pPr>
              <a:defRPr sz="1600">
                <a:solidFill>
                  <a:schemeClr val="tx2"/>
                </a:solidFill>
              </a:defRPr>
            </a:lvl1pPr>
          </a:lstStyle>
          <a:p>
            <a:endParaRPr lang="id-ID"/>
          </a:p>
        </p:txBody>
      </p:sp>
      <p:sp>
        <p:nvSpPr>
          <p:cNvPr id="18" name="Picture Placeholder 14"/>
          <p:cNvSpPr>
            <a:spLocks noGrp="1"/>
          </p:cNvSpPr>
          <p:nvPr>
            <p:ph type="pic" sz="quarter" idx="11"/>
          </p:nvPr>
        </p:nvSpPr>
        <p:spPr>
          <a:xfrm>
            <a:off x="4513222" y="2163233"/>
            <a:ext cx="3206750" cy="3293005"/>
          </a:xfrm>
        </p:spPr>
        <p:txBody>
          <a:bodyPr>
            <a:normAutofit/>
          </a:bodyPr>
          <a:lstStyle>
            <a:lvl1pPr>
              <a:defRPr sz="1600">
                <a:solidFill>
                  <a:schemeClr val="tx2"/>
                </a:solidFill>
              </a:defRPr>
            </a:lvl1pPr>
          </a:lstStyle>
          <a:p>
            <a:endParaRPr lang="id-ID"/>
          </a:p>
        </p:txBody>
      </p:sp>
      <p:sp>
        <p:nvSpPr>
          <p:cNvPr id="19" name="Picture Placeholder 14"/>
          <p:cNvSpPr>
            <a:spLocks noGrp="1"/>
          </p:cNvSpPr>
          <p:nvPr>
            <p:ph type="pic" sz="quarter" idx="14"/>
          </p:nvPr>
        </p:nvSpPr>
        <p:spPr>
          <a:xfrm>
            <a:off x="7987724" y="2163233"/>
            <a:ext cx="3206750" cy="3293005"/>
          </a:xfrm>
        </p:spPr>
        <p:txBody>
          <a:bodyPr>
            <a:normAutofit/>
          </a:bodyPr>
          <a:lstStyle>
            <a:lvl1pPr>
              <a:defRPr sz="1600">
                <a:solidFill>
                  <a:schemeClr val="tx2"/>
                </a:solidFill>
              </a:defRPr>
            </a:lvl1pPr>
          </a:lstStyle>
          <a:p>
            <a:endParaRPr lang="id-ID"/>
          </a:p>
        </p:txBody>
      </p:sp>
    </p:spTree>
    <p:extLst>
      <p:ext uri="{BB962C8B-B14F-4D97-AF65-F5344CB8AC3E}">
        <p14:creationId xmlns:p14="http://schemas.microsoft.com/office/powerpoint/2010/main" val="643491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bg>
      <p:bgPr>
        <a:pattFill prst="smConfetti">
          <a:fgClr>
            <a:schemeClr val="accent1"/>
          </a:fgClr>
          <a:bgClr>
            <a:schemeClr val="accent1">
              <a:lumMod val="60000"/>
              <a:lumOff val="40000"/>
            </a:schemeClr>
          </a:bgClr>
        </a:pattFill>
        <a:effectLst/>
      </p:bgPr>
    </p:bg>
    <p:spTree>
      <p:nvGrpSpPr>
        <p:cNvPr id="1" name=""/>
        <p:cNvGrpSpPr/>
        <p:nvPr/>
      </p:nvGrpSpPr>
      <p:grpSpPr>
        <a:xfrm>
          <a:off x="0" y="0"/>
          <a:ext cx="0" cy="0"/>
          <a:chOff x="0" y="0"/>
          <a:chExt cx="0" cy="0"/>
        </a:xfrm>
      </p:grpSpPr>
      <p:grpSp>
        <p:nvGrpSpPr>
          <p:cNvPr id="3" name="Group 2"/>
          <p:cNvGrpSpPr/>
          <p:nvPr userDrawn="1"/>
        </p:nvGrpSpPr>
        <p:grpSpPr>
          <a:xfrm>
            <a:off x="6349" y="0"/>
            <a:ext cx="12181249" cy="6858000"/>
            <a:chOff x="6350" y="0"/>
            <a:chExt cx="7194550" cy="3600450"/>
          </a:xfrm>
          <a:gradFill flip="none" rotWithShape="1">
            <a:gsLst>
              <a:gs pos="100000">
                <a:schemeClr val="bg1">
                  <a:alpha val="15000"/>
                </a:schemeClr>
              </a:gs>
              <a:gs pos="0">
                <a:schemeClr val="bg1">
                  <a:alpha val="0"/>
                </a:schemeClr>
              </a:gs>
            </a:gsLst>
            <a:path path="circle">
              <a:fillToRect l="50000" t="50000" r="50000" b="50000"/>
            </a:path>
            <a:tileRect/>
          </a:gradFill>
        </p:grpSpPr>
        <p:sp>
          <p:nvSpPr>
            <p:cNvPr id="4"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84225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ublic Events">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872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1" name="Picture Placeholder 2"/>
          <p:cNvSpPr>
            <a:spLocks noGrp="1"/>
          </p:cNvSpPr>
          <p:nvPr>
            <p:ph type="pic" sz="quarter" idx="41"/>
          </p:nvPr>
        </p:nvSpPr>
        <p:spPr>
          <a:xfrm>
            <a:off x="731400" y="1917699"/>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32" name="Picture Placeholder 2"/>
          <p:cNvSpPr>
            <a:spLocks noGrp="1"/>
          </p:cNvSpPr>
          <p:nvPr>
            <p:ph type="pic" sz="quarter" idx="43"/>
          </p:nvPr>
        </p:nvSpPr>
        <p:spPr>
          <a:xfrm>
            <a:off x="2996928" y="1917700"/>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33" name="Picture Placeholder 2"/>
          <p:cNvSpPr>
            <a:spLocks noGrp="1"/>
          </p:cNvSpPr>
          <p:nvPr>
            <p:ph type="pic" sz="quarter" idx="45"/>
          </p:nvPr>
        </p:nvSpPr>
        <p:spPr>
          <a:xfrm>
            <a:off x="5228188" y="1917700"/>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34" name="Picture Placeholder 2"/>
          <p:cNvSpPr>
            <a:spLocks noGrp="1"/>
          </p:cNvSpPr>
          <p:nvPr>
            <p:ph type="pic" sz="quarter" idx="47"/>
          </p:nvPr>
        </p:nvSpPr>
        <p:spPr>
          <a:xfrm>
            <a:off x="7415824" y="1917700"/>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35" name="Picture Placeholder 2"/>
          <p:cNvSpPr>
            <a:spLocks noGrp="1"/>
          </p:cNvSpPr>
          <p:nvPr>
            <p:ph type="pic" sz="quarter" idx="49"/>
          </p:nvPr>
        </p:nvSpPr>
        <p:spPr>
          <a:xfrm>
            <a:off x="731400" y="4079627"/>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36" name="Picture Placeholder 2"/>
          <p:cNvSpPr>
            <a:spLocks noGrp="1"/>
          </p:cNvSpPr>
          <p:nvPr>
            <p:ph type="pic" sz="quarter" idx="51"/>
          </p:nvPr>
        </p:nvSpPr>
        <p:spPr>
          <a:xfrm>
            <a:off x="2996928" y="4079627"/>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37" name="Picture Placeholder 2"/>
          <p:cNvSpPr>
            <a:spLocks noGrp="1"/>
          </p:cNvSpPr>
          <p:nvPr>
            <p:ph type="pic" sz="quarter" idx="53"/>
          </p:nvPr>
        </p:nvSpPr>
        <p:spPr>
          <a:xfrm>
            <a:off x="5228188" y="4079627"/>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38" name="Picture Placeholder 2"/>
          <p:cNvSpPr>
            <a:spLocks noGrp="1"/>
          </p:cNvSpPr>
          <p:nvPr>
            <p:ph type="pic" sz="quarter" idx="55"/>
          </p:nvPr>
        </p:nvSpPr>
        <p:spPr>
          <a:xfrm>
            <a:off x="7415824" y="4079627"/>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39" name="Picture Placeholder 2"/>
          <p:cNvSpPr>
            <a:spLocks noGrp="1"/>
          </p:cNvSpPr>
          <p:nvPr>
            <p:ph type="pic" sz="quarter" idx="57"/>
          </p:nvPr>
        </p:nvSpPr>
        <p:spPr>
          <a:xfrm>
            <a:off x="9606656" y="1917700"/>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sp>
        <p:nvSpPr>
          <p:cNvPr id="40" name="Picture Placeholder 2"/>
          <p:cNvSpPr>
            <a:spLocks noGrp="1"/>
          </p:cNvSpPr>
          <p:nvPr>
            <p:ph type="pic" sz="quarter" idx="59"/>
          </p:nvPr>
        </p:nvSpPr>
        <p:spPr>
          <a:xfrm>
            <a:off x="9606656" y="4079627"/>
            <a:ext cx="1644650" cy="1644650"/>
          </a:xfrm>
          <a:prstGeom prst="ellipse">
            <a:avLst/>
          </a:prstGeom>
          <a:ln w="28575">
            <a:solidFill>
              <a:schemeClr val="tx2"/>
            </a:solidFill>
          </a:ln>
        </p:spPr>
        <p:txBody>
          <a:bodyPr anchor="ctr">
            <a:normAutofit/>
          </a:bodyPr>
          <a:lstStyle>
            <a:lvl1pPr marL="0" indent="0" algn="ctr">
              <a:buNone/>
              <a:defRPr sz="1200">
                <a:solidFill>
                  <a:schemeClr val="tx2"/>
                </a:solidFill>
              </a:defRPr>
            </a:lvl1pPr>
          </a:lstStyle>
          <a:p>
            <a:endParaRPr lang="en-US"/>
          </a:p>
        </p:txBody>
      </p:sp>
      <p:grpSp>
        <p:nvGrpSpPr>
          <p:cNvPr id="41" name="Group 40"/>
          <p:cNvGrpSpPr/>
          <p:nvPr userDrawn="1"/>
        </p:nvGrpSpPr>
        <p:grpSpPr>
          <a:xfrm>
            <a:off x="338952" y="6409324"/>
            <a:ext cx="224082" cy="221156"/>
            <a:chOff x="4328868" y="5502988"/>
            <a:chExt cx="500307" cy="493774"/>
          </a:xfrm>
        </p:grpSpPr>
        <p:sp>
          <p:nvSpPr>
            <p:cNvPr id="42" name="Freeform 41">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43" name="Freeform 42">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44" name="Group 43"/>
          <p:cNvGrpSpPr/>
          <p:nvPr userDrawn="1"/>
        </p:nvGrpSpPr>
        <p:grpSpPr>
          <a:xfrm flipH="1">
            <a:off x="11637433" y="6409324"/>
            <a:ext cx="224082" cy="221156"/>
            <a:chOff x="4328868" y="5502988"/>
            <a:chExt cx="500307" cy="493774"/>
          </a:xfrm>
        </p:grpSpPr>
        <p:sp>
          <p:nvSpPr>
            <p:cNvPr id="45" name="Freeform 44">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46" name="Freeform 45">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766231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ortfolio">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872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1" name="Picture Placeholder 4"/>
          <p:cNvSpPr>
            <a:spLocks noGrp="1"/>
          </p:cNvSpPr>
          <p:nvPr>
            <p:ph type="pic" sz="quarter" idx="14"/>
          </p:nvPr>
        </p:nvSpPr>
        <p:spPr>
          <a:xfrm>
            <a:off x="474600" y="1850217"/>
            <a:ext cx="3564000" cy="4320000"/>
          </a:xfrm>
        </p:spPr>
      </p:sp>
      <p:sp>
        <p:nvSpPr>
          <p:cNvPr id="32" name="Picture Placeholder 7"/>
          <p:cNvSpPr>
            <a:spLocks noGrp="1"/>
          </p:cNvSpPr>
          <p:nvPr>
            <p:ph type="pic" sz="quarter" idx="15"/>
          </p:nvPr>
        </p:nvSpPr>
        <p:spPr>
          <a:xfrm>
            <a:off x="4178300" y="1849438"/>
            <a:ext cx="2641600" cy="2088000"/>
          </a:xfrm>
        </p:spPr>
        <p:txBody>
          <a:bodyPr/>
          <a:lstStyle/>
          <a:p>
            <a:endParaRPr lang="id-ID"/>
          </a:p>
        </p:txBody>
      </p:sp>
      <p:sp>
        <p:nvSpPr>
          <p:cNvPr id="33" name="Picture Placeholder 7"/>
          <p:cNvSpPr>
            <a:spLocks noGrp="1"/>
          </p:cNvSpPr>
          <p:nvPr>
            <p:ph type="pic" sz="quarter" idx="16"/>
          </p:nvPr>
        </p:nvSpPr>
        <p:spPr>
          <a:xfrm>
            <a:off x="4178300" y="4076305"/>
            <a:ext cx="2641600" cy="2088000"/>
          </a:xfrm>
        </p:spPr>
        <p:txBody>
          <a:bodyPr/>
          <a:lstStyle/>
          <a:p>
            <a:endParaRPr lang="id-ID"/>
          </a:p>
        </p:txBody>
      </p:sp>
      <p:sp>
        <p:nvSpPr>
          <p:cNvPr id="34" name="Picture Placeholder 10"/>
          <p:cNvSpPr>
            <a:spLocks noGrp="1"/>
          </p:cNvSpPr>
          <p:nvPr>
            <p:ph type="pic" sz="quarter" idx="17"/>
          </p:nvPr>
        </p:nvSpPr>
        <p:spPr>
          <a:xfrm>
            <a:off x="6921500" y="4076743"/>
            <a:ext cx="4203700" cy="2087562"/>
          </a:xfrm>
        </p:spPr>
        <p:txBody>
          <a:bodyPr/>
          <a:lstStyle/>
          <a:p>
            <a:endParaRPr lang="id-ID"/>
          </a:p>
        </p:txBody>
      </p:sp>
      <p:grpSp>
        <p:nvGrpSpPr>
          <p:cNvPr id="35" name="Group 34"/>
          <p:cNvGrpSpPr/>
          <p:nvPr userDrawn="1"/>
        </p:nvGrpSpPr>
        <p:grpSpPr>
          <a:xfrm>
            <a:off x="338952" y="6409324"/>
            <a:ext cx="224082" cy="221156"/>
            <a:chOff x="4328868" y="5502988"/>
            <a:chExt cx="500307" cy="493774"/>
          </a:xfrm>
        </p:grpSpPr>
        <p:sp>
          <p:nvSpPr>
            <p:cNvPr id="36" name="Freeform 35">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7" name="Freeform 36">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38" name="Group 37"/>
          <p:cNvGrpSpPr/>
          <p:nvPr userDrawn="1"/>
        </p:nvGrpSpPr>
        <p:grpSpPr>
          <a:xfrm flipH="1">
            <a:off x="11637433" y="6409324"/>
            <a:ext cx="224082" cy="221156"/>
            <a:chOff x="4328868" y="5502988"/>
            <a:chExt cx="500307" cy="493774"/>
          </a:xfrm>
        </p:grpSpPr>
        <p:sp>
          <p:nvSpPr>
            <p:cNvPr id="39" name="Freeform 38">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40" name="Freeform 39">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413499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Portfolio">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872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grpSp>
        <p:nvGrpSpPr>
          <p:cNvPr id="35" name="Group 34"/>
          <p:cNvGrpSpPr/>
          <p:nvPr userDrawn="1"/>
        </p:nvGrpSpPr>
        <p:grpSpPr>
          <a:xfrm>
            <a:off x="338952" y="6409324"/>
            <a:ext cx="224082" cy="221156"/>
            <a:chOff x="4328868" y="5502988"/>
            <a:chExt cx="500307" cy="493774"/>
          </a:xfrm>
        </p:grpSpPr>
        <p:sp>
          <p:nvSpPr>
            <p:cNvPr id="36" name="Freeform 35">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7" name="Freeform 36">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38" name="Group 37"/>
          <p:cNvGrpSpPr/>
          <p:nvPr userDrawn="1"/>
        </p:nvGrpSpPr>
        <p:grpSpPr>
          <a:xfrm flipH="1">
            <a:off x="11637433" y="6409324"/>
            <a:ext cx="224082" cy="221156"/>
            <a:chOff x="4328868" y="5502988"/>
            <a:chExt cx="500307" cy="493774"/>
          </a:xfrm>
        </p:grpSpPr>
        <p:sp>
          <p:nvSpPr>
            <p:cNvPr id="39" name="Freeform 38">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40" name="Freeform 39">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19" name="Picture Placeholder 7"/>
          <p:cNvSpPr>
            <a:spLocks noGrp="1"/>
          </p:cNvSpPr>
          <p:nvPr>
            <p:ph type="pic" sz="quarter" idx="14"/>
          </p:nvPr>
        </p:nvSpPr>
        <p:spPr>
          <a:xfrm>
            <a:off x="4432300" y="1836738"/>
            <a:ext cx="2641600" cy="2124000"/>
          </a:xfrm>
        </p:spPr>
        <p:txBody>
          <a:bodyPr/>
          <a:lstStyle/>
          <a:p>
            <a:endParaRPr lang="id-ID"/>
          </a:p>
        </p:txBody>
      </p:sp>
      <p:sp>
        <p:nvSpPr>
          <p:cNvPr id="20" name="Picture Placeholder 7"/>
          <p:cNvSpPr>
            <a:spLocks noGrp="1"/>
          </p:cNvSpPr>
          <p:nvPr>
            <p:ph type="pic" sz="quarter" idx="15"/>
          </p:nvPr>
        </p:nvSpPr>
        <p:spPr>
          <a:xfrm>
            <a:off x="8737600" y="4063824"/>
            <a:ext cx="2641600" cy="2124000"/>
          </a:xfrm>
        </p:spPr>
        <p:txBody>
          <a:bodyPr/>
          <a:lstStyle/>
          <a:p>
            <a:endParaRPr lang="id-ID"/>
          </a:p>
        </p:txBody>
      </p:sp>
      <p:sp>
        <p:nvSpPr>
          <p:cNvPr id="21" name="Picture Placeholder 10"/>
          <p:cNvSpPr>
            <a:spLocks noGrp="1"/>
          </p:cNvSpPr>
          <p:nvPr>
            <p:ph type="pic" sz="quarter" idx="16"/>
          </p:nvPr>
        </p:nvSpPr>
        <p:spPr>
          <a:xfrm>
            <a:off x="7175500" y="1836738"/>
            <a:ext cx="4203700" cy="2124000"/>
          </a:xfrm>
        </p:spPr>
        <p:txBody>
          <a:bodyPr/>
          <a:lstStyle/>
          <a:p>
            <a:endParaRPr lang="id-ID"/>
          </a:p>
        </p:txBody>
      </p:sp>
      <p:sp>
        <p:nvSpPr>
          <p:cNvPr id="22" name="Picture Placeholder 10"/>
          <p:cNvSpPr>
            <a:spLocks noGrp="1"/>
          </p:cNvSpPr>
          <p:nvPr>
            <p:ph type="pic" sz="quarter" idx="17"/>
          </p:nvPr>
        </p:nvSpPr>
        <p:spPr>
          <a:xfrm>
            <a:off x="4432300" y="4063824"/>
            <a:ext cx="4203700" cy="2124000"/>
          </a:xfrm>
        </p:spPr>
        <p:txBody>
          <a:bodyPr/>
          <a:lstStyle/>
          <a:p>
            <a:endParaRPr lang="id-ID"/>
          </a:p>
        </p:txBody>
      </p:sp>
    </p:spTree>
    <p:extLst>
      <p:ext uri="{BB962C8B-B14F-4D97-AF65-F5344CB8AC3E}">
        <p14:creationId xmlns:p14="http://schemas.microsoft.com/office/powerpoint/2010/main" val="637910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ient List Picture">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237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2"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28" name="Picture Placeholder 2"/>
          <p:cNvSpPr>
            <a:spLocks noGrp="1"/>
          </p:cNvSpPr>
          <p:nvPr>
            <p:ph type="pic" sz="quarter" idx="11"/>
          </p:nvPr>
        </p:nvSpPr>
        <p:spPr>
          <a:xfrm>
            <a:off x="1012755" y="2279803"/>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29" name="Picture Placeholder 2"/>
          <p:cNvSpPr>
            <a:spLocks noGrp="1"/>
          </p:cNvSpPr>
          <p:nvPr>
            <p:ph type="pic" sz="quarter" idx="12"/>
          </p:nvPr>
        </p:nvSpPr>
        <p:spPr>
          <a:xfrm>
            <a:off x="3247354" y="2279804"/>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30" name="Picture Placeholder 2"/>
          <p:cNvSpPr>
            <a:spLocks noGrp="1"/>
          </p:cNvSpPr>
          <p:nvPr>
            <p:ph type="pic" sz="quarter" idx="14"/>
          </p:nvPr>
        </p:nvSpPr>
        <p:spPr>
          <a:xfrm>
            <a:off x="5477053" y="2279804"/>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31" name="Picture Placeholder 2"/>
          <p:cNvSpPr>
            <a:spLocks noGrp="1"/>
          </p:cNvSpPr>
          <p:nvPr>
            <p:ph type="pic" sz="quarter" idx="15"/>
          </p:nvPr>
        </p:nvSpPr>
        <p:spPr>
          <a:xfrm>
            <a:off x="7681198" y="2279804"/>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32" name="Picture Placeholder 2"/>
          <p:cNvSpPr>
            <a:spLocks noGrp="1"/>
          </p:cNvSpPr>
          <p:nvPr>
            <p:ph type="pic" sz="quarter" idx="16"/>
          </p:nvPr>
        </p:nvSpPr>
        <p:spPr>
          <a:xfrm>
            <a:off x="9887007" y="2279804"/>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34" name="Picture Placeholder 2"/>
          <p:cNvSpPr>
            <a:spLocks noGrp="1"/>
          </p:cNvSpPr>
          <p:nvPr>
            <p:ph type="pic" sz="quarter" idx="18"/>
          </p:nvPr>
        </p:nvSpPr>
        <p:spPr>
          <a:xfrm>
            <a:off x="2111550" y="3174444"/>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35" name="Picture Placeholder 2"/>
          <p:cNvSpPr>
            <a:spLocks noGrp="1"/>
          </p:cNvSpPr>
          <p:nvPr>
            <p:ph type="pic" sz="quarter" idx="19"/>
          </p:nvPr>
        </p:nvSpPr>
        <p:spPr>
          <a:xfrm>
            <a:off x="4380924" y="3174444"/>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36" name="Picture Placeholder 2"/>
          <p:cNvSpPr>
            <a:spLocks noGrp="1"/>
          </p:cNvSpPr>
          <p:nvPr>
            <p:ph type="pic" sz="quarter" idx="20"/>
          </p:nvPr>
        </p:nvSpPr>
        <p:spPr>
          <a:xfrm>
            <a:off x="6585069" y="3174444"/>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37" name="Picture Placeholder 2"/>
          <p:cNvSpPr>
            <a:spLocks noGrp="1"/>
          </p:cNvSpPr>
          <p:nvPr>
            <p:ph type="pic" sz="quarter" idx="21"/>
          </p:nvPr>
        </p:nvSpPr>
        <p:spPr>
          <a:xfrm>
            <a:off x="8796442" y="3174444"/>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39" name="Picture Placeholder 2"/>
          <p:cNvSpPr>
            <a:spLocks noGrp="1"/>
          </p:cNvSpPr>
          <p:nvPr>
            <p:ph type="pic" sz="quarter" idx="29"/>
          </p:nvPr>
        </p:nvSpPr>
        <p:spPr>
          <a:xfrm>
            <a:off x="3282129" y="4097492"/>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40" name="Picture Placeholder 2"/>
          <p:cNvSpPr>
            <a:spLocks noGrp="1"/>
          </p:cNvSpPr>
          <p:nvPr>
            <p:ph type="pic" sz="quarter" idx="30"/>
          </p:nvPr>
        </p:nvSpPr>
        <p:spPr>
          <a:xfrm>
            <a:off x="5511828" y="4097492"/>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41" name="Picture Placeholder 2"/>
          <p:cNvSpPr>
            <a:spLocks noGrp="1"/>
          </p:cNvSpPr>
          <p:nvPr>
            <p:ph type="pic" sz="quarter" idx="31"/>
          </p:nvPr>
        </p:nvSpPr>
        <p:spPr>
          <a:xfrm>
            <a:off x="7715973" y="4097492"/>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42" name="Picture Placeholder 2"/>
          <p:cNvSpPr>
            <a:spLocks noGrp="1"/>
          </p:cNvSpPr>
          <p:nvPr>
            <p:ph type="pic" sz="quarter" idx="32"/>
          </p:nvPr>
        </p:nvSpPr>
        <p:spPr>
          <a:xfrm>
            <a:off x="9921783" y="4097492"/>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
        <p:nvSpPr>
          <p:cNvPr id="43" name="Picture Placeholder 2"/>
          <p:cNvSpPr>
            <a:spLocks noGrp="1"/>
          </p:cNvSpPr>
          <p:nvPr>
            <p:ph type="pic" sz="quarter" idx="37"/>
          </p:nvPr>
        </p:nvSpPr>
        <p:spPr>
          <a:xfrm>
            <a:off x="1012755" y="4097492"/>
            <a:ext cx="1294283" cy="1294283"/>
          </a:xfrm>
          <a:prstGeom prst="ellipse">
            <a:avLst/>
          </a:prstGeom>
          <a:ln w="25400">
            <a:solidFill>
              <a:schemeClr val="accent1"/>
            </a:solidFill>
          </a:ln>
        </p:spPr>
        <p:txBody>
          <a:bodyPr anchor="ctr">
            <a:normAutofit/>
          </a:bodyPr>
          <a:lstStyle>
            <a:lvl1pPr marL="0" indent="0" algn="ctr">
              <a:buNone/>
              <a:defRPr sz="1000">
                <a:solidFill>
                  <a:schemeClr val="tx2"/>
                </a:solidFill>
              </a:defRPr>
            </a:lvl1pPr>
          </a:lstStyle>
          <a:p>
            <a:endParaRPr lang="en-US"/>
          </a:p>
        </p:txBody>
      </p:sp>
    </p:spTree>
    <p:extLst>
      <p:ext uri="{BB962C8B-B14F-4D97-AF65-F5344CB8AC3E}">
        <p14:creationId xmlns:p14="http://schemas.microsoft.com/office/powerpoint/2010/main" val="2550069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par>
                          <p:cTn id="12" fill="hold">
                            <p:stCondLst>
                              <p:cond delay="1000"/>
                            </p:stCondLst>
                            <p:childTnLst>
                              <p:par>
                                <p:cTn id="13" presetID="53" presetClass="entr" presetSubtype="16" fill="hold" grpId="0" nodeType="afterEffect">
                                  <p:stCondLst>
                                    <p:cond delay="0"/>
                                  </p:stCondLst>
                                  <p:childTnLst>
                                    <p:set>
                                      <p:cBhvr>
                                        <p:cTn id="14" dur="1" fill="hold">
                                          <p:stCondLst>
                                            <p:cond delay="0"/>
                                          </p:stCondLst>
                                        </p:cTn>
                                        <p:tgtEl>
                                          <p:spTgt spid="28"/>
                                        </p:tgtEl>
                                        <p:attrNameLst>
                                          <p:attrName>style.visibility</p:attrName>
                                        </p:attrNameLst>
                                      </p:cBhvr>
                                      <p:to>
                                        <p:strVal val="visible"/>
                                      </p:to>
                                    </p:set>
                                    <p:anim calcmode="lin" valueType="num">
                                      <p:cBhvr>
                                        <p:cTn id="15" dur="500" fill="hold"/>
                                        <p:tgtEl>
                                          <p:spTgt spid="28"/>
                                        </p:tgtEl>
                                        <p:attrNameLst>
                                          <p:attrName>ppt_w</p:attrName>
                                        </p:attrNameLst>
                                      </p:cBhvr>
                                      <p:tavLst>
                                        <p:tav tm="0">
                                          <p:val>
                                            <p:fltVal val="0"/>
                                          </p:val>
                                        </p:tav>
                                        <p:tav tm="100000">
                                          <p:val>
                                            <p:strVal val="#ppt_w"/>
                                          </p:val>
                                        </p:tav>
                                      </p:tavLst>
                                    </p:anim>
                                    <p:anim calcmode="lin" valueType="num">
                                      <p:cBhvr>
                                        <p:cTn id="16" dur="500" fill="hold"/>
                                        <p:tgtEl>
                                          <p:spTgt spid="28"/>
                                        </p:tgtEl>
                                        <p:attrNameLst>
                                          <p:attrName>ppt_h</p:attrName>
                                        </p:attrNameLst>
                                      </p:cBhvr>
                                      <p:tavLst>
                                        <p:tav tm="0">
                                          <p:val>
                                            <p:fltVal val="0"/>
                                          </p:val>
                                        </p:tav>
                                        <p:tav tm="100000">
                                          <p:val>
                                            <p:strVal val="#ppt_h"/>
                                          </p:val>
                                        </p:tav>
                                      </p:tavLst>
                                    </p:anim>
                                    <p:animEffect transition="in" filter="fade">
                                      <p:cBhvr>
                                        <p:cTn id="17" dur="500"/>
                                        <p:tgtEl>
                                          <p:spTgt spid="28"/>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29"/>
                                        </p:tgtEl>
                                        <p:attrNameLst>
                                          <p:attrName>style.visibility</p:attrName>
                                        </p:attrNameLst>
                                      </p:cBhvr>
                                      <p:to>
                                        <p:strVal val="visible"/>
                                      </p:to>
                                    </p:set>
                                    <p:anim calcmode="lin" valueType="num">
                                      <p:cBhvr>
                                        <p:cTn id="20" dur="500" fill="hold"/>
                                        <p:tgtEl>
                                          <p:spTgt spid="29"/>
                                        </p:tgtEl>
                                        <p:attrNameLst>
                                          <p:attrName>ppt_w</p:attrName>
                                        </p:attrNameLst>
                                      </p:cBhvr>
                                      <p:tavLst>
                                        <p:tav tm="0">
                                          <p:val>
                                            <p:fltVal val="0"/>
                                          </p:val>
                                        </p:tav>
                                        <p:tav tm="100000">
                                          <p:val>
                                            <p:strVal val="#ppt_w"/>
                                          </p:val>
                                        </p:tav>
                                      </p:tavLst>
                                    </p:anim>
                                    <p:anim calcmode="lin" valueType="num">
                                      <p:cBhvr>
                                        <p:cTn id="21" dur="500" fill="hold"/>
                                        <p:tgtEl>
                                          <p:spTgt spid="29"/>
                                        </p:tgtEl>
                                        <p:attrNameLst>
                                          <p:attrName>ppt_h</p:attrName>
                                        </p:attrNameLst>
                                      </p:cBhvr>
                                      <p:tavLst>
                                        <p:tav tm="0">
                                          <p:val>
                                            <p:fltVal val="0"/>
                                          </p:val>
                                        </p:tav>
                                        <p:tav tm="100000">
                                          <p:val>
                                            <p:strVal val="#ppt_h"/>
                                          </p:val>
                                        </p:tav>
                                      </p:tavLst>
                                    </p:anim>
                                    <p:animEffect transition="in" filter="fade">
                                      <p:cBhvr>
                                        <p:cTn id="22" dur="500"/>
                                        <p:tgtEl>
                                          <p:spTgt spid="29"/>
                                        </p:tgtEl>
                                      </p:cBhvr>
                                    </p:animEffect>
                                  </p:childTnLst>
                                </p:cTn>
                              </p:par>
                              <p:par>
                                <p:cTn id="23" presetID="53" presetClass="entr" presetSubtype="16"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 calcmode="lin" valueType="num">
                                      <p:cBhvr>
                                        <p:cTn id="25" dur="500" fill="hold"/>
                                        <p:tgtEl>
                                          <p:spTgt spid="30"/>
                                        </p:tgtEl>
                                        <p:attrNameLst>
                                          <p:attrName>ppt_w</p:attrName>
                                        </p:attrNameLst>
                                      </p:cBhvr>
                                      <p:tavLst>
                                        <p:tav tm="0">
                                          <p:val>
                                            <p:fltVal val="0"/>
                                          </p:val>
                                        </p:tav>
                                        <p:tav tm="100000">
                                          <p:val>
                                            <p:strVal val="#ppt_w"/>
                                          </p:val>
                                        </p:tav>
                                      </p:tavLst>
                                    </p:anim>
                                    <p:anim calcmode="lin" valueType="num">
                                      <p:cBhvr>
                                        <p:cTn id="26" dur="500" fill="hold"/>
                                        <p:tgtEl>
                                          <p:spTgt spid="30"/>
                                        </p:tgtEl>
                                        <p:attrNameLst>
                                          <p:attrName>ppt_h</p:attrName>
                                        </p:attrNameLst>
                                      </p:cBhvr>
                                      <p:tavLst>
                                        <p:tav tm="0">
                                          <p:val>
                                            <p:fltVal val="0"/>
                                          </p:val>
                                        </p:tav>
                                        <p:tav tm="100000">
                                          <p:val>
                                            <p:strVal val="#ppt_h"/>
                                          </p:val>
                                        </p:tav>
                                      </p:tavLst>
                                    </p:anim>
                                    <p:animEffect transition="in" filter="fade">
                                      <p:cBhvr>
                                        <p:cTn id="27" dur="500"/>
                                        <p:tgtEl>
                                          <p:spTgt spid="30"/>
                                        </p:tgtEl>
                                      </p:cBhvr>
                                    </p:animEffect>
                                  </p:childTnLst>
                                </p:cTn>
                              </p:par>
                              <p:par>
                                <p:cTn id="28" presetID="53" presetClass="entr" presetSubtype="16"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 calcmode="lin" valueType="num">
                                      <p:cBhvr>
                                        <p:cTn id="30" dur="500" fill="hold"/>
                                        <p:tgtEl>
                                          <p:spTgt spid="31"/>
                                        </p:tgtEl>
                                        <p:attrNameLst>
                                          <p:attrName>ppt_w</p:attrName>
                                        </p:attrNameLst>
                                      </p:cBhvr>
                                      <p:tavLst>
                                        <p:tav tm="0">
                                          <p:val>
                                            <p:fltVal val="0"/>
                                          </p:val>
                                        </p:tav>
                                        <p:tav tm="100000">
                                          <p:val>
                                            <p:strVal val="#ppt_w"/>
                                          </p:val>
                                        </p:tav>
                                      </p:tavLst>
                                    </p:anim>
                                    <p:anim calcmode="lin" valueType="num">
                                      <p:cBhvr>
                                        <p:cTn id="31" dur="500" fill="hold"/>
                                        <p:tgtEl>
                                          <p:spTgt spid="31"/>
                                        </p:tgtEl>
                                        <p:attrNameLst>
                                          <p:attrName>ppt_h</p:attrName>
                                        </p:attrNameLst>
                                      </p:cBhvr>
                                      <p:tavLst>
                                        <p:tav tm="0">
                                          <p:val>
                                            <p:fltVal val="0"/>
                                          </p:val>
                                        </p:tav>
                                        <p:tav tm="100000">
                                          <p:val>
                                            <p:strVal val="#ppt_h"/>
                                          </p:val>
                                        </p:tav>
                                      </p:tavLst>
                                    </p:anim>
                                    <p:animEffect transition="in" filter="fade">
                                      <p:cBhvr>
                                        <p:cTn id="32" dur="500"/>
                                        <p:tgtEl>
                                          <p:spTgt spid="31"/>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32"/>
                                        </p:tgtEl>
                                        <p:attrNameLst>
                                          <p:attrName>style.visibility</p:attrName>
                                        </p:attrNameLst>
                                      </p:cBhvr>
                                      <p:to>
                                        <p:strVal val="visible"/>
                                      </p:to>
                                    </p:set>
                                    <p:anim calcmode="lin" valueType="num">
                                      <p:cBhvr>
                                        <p:cTn id="35" dur="500" fill="hold"/>
                                        <p:tgtEl>
                                          <p:spTgt spid="32"/>
                                        </p:tgtEl>
                                        <p:attrNameLst>
                                          <p:attrName>ppt_w</p:attrName>
                                        </p:attrNameLst>
                                      </p:cBhvr>
                                      <p:tavLst>
                                        <p:tav tm="0">
                                          <p:val>
                                            <p:fltVal val="0"/>
                                          </p:val>
                                        </p:tav>
                                        <p:tav tm="100000">
                                          <p:val>
                                            <p:strVal val="#ppt_w"/>
                                          </p:val>
                                        </p:tav>
                                      </p:tavLst>
                                    </p:anim>
                                    <p:anim calcmode="lin" valueType="num">
                                      <p:cBhvr>
                                        <p:cTn id="36" dur="500" fill="hold"/>
                                        <p:tgtEl>
                                          <p:spTgt spid="32"/>
                                        </p:tgtEl>
                                        <p:attrNameLst>
                                          <p:attrName>ppt_h</p:attrName>
                                        </p:attrNameLst>
                                      </p:cBhvr>
                                      <p:tavLst>
                                        <p:tav tm="0">
                                          <p:val>
                                            <p:fltVal val="0"/>
                                          </p:val>
                                        </p:tav>
                                        <p:tav tm="100000">
                                          <p:val>
                                            <p:strVal val="#ppt_h"/>
                                          </p:val>
                                        </p:tav>
                                      </p:tavLst>
                                    </p:anim>
                                    <p:animEffect transition="in" filter="fade">
                                      <p:cBhvr>
                                        <p:cTn id="37" dur="500"/>
                                        <p:tgtEl>
                                          <p:spTgt spid="32"/>
                                        </p:tgtEl>
                                      </p:cBhvr>
                                    </p:animEffect>
                                  </p:childTnLst>
                                </p:cTn>
                              </p:par>
                              <p:par>
                                <p:cTn id="38" presetID="53" presetClass="entr" presetSubtype="16" fill="hold" grpId="0" nodeType="withEffect">
                                  <p:stCondLst>
                                    <p:cond delay="0"/>
                                  </p:stCondLst>
                                  <p:childTnLst>
                                    <p:set>
                                      <p:cBhvr>
                                        <p:cTn id="39" dur="1" fill="hold">
                                          <p:stCondLst>
                                            <p:cond delay="0"/>
                                          </p:stCondLst>
                                        </p:cTn>
                                        <p:tgtEl>
                                          <p:spTgt spid="34"/>
                                        </p:tgtEl>
                                        <p:attrNameLst>
                                          <p:attrName>style.visibility</p:attrName>
                                        </p:attrNameLst>
                                      </p:cBhvr>
                                      <p:to>
                                        <p:strVal val="visible"/>
                                      </p:to>
                                    </p:set>
                                    <p:anim calcmode="lin" valueType="num">
                                      <p:cBhvr>
                                        <p:cTn id="40" dur="500" fill="hold"/>
                                        <p:tgtEl>
                                          <p:spTgt spid="34"/>
                                        </p:tgtEl>
                                        <p:attrNameLst>
                                          <p:attrName>ppt_w</p:attrName>
                                        </p:attrNameLst>
                                      </p:cBhvr>
                                      <p:tavLst>
                                        <p:tav tm="0">
                                          <p:val>
                                            <p:fltVal val="0"/>
                                          </p:val>
                                        </p:tav>
                                        <p:tav tm="100000">
                                          <p:val>
                                            <p:strVal val="#ppt_w"/>
                                          </p:val>
                                        </p:tav>
                                      </p:tavLst>
                                    </p:anim>
                                    <p:anim calcmode="lin" valueType="num">
                                      <p:cBhvr>
                                        <p:cTn id="41" dur="500" fill="hold"/>
                                        <p:tgtEl>
                                          <p:spTgt spid="34"/>
                                        </p:tgtEl>
                                        <p:attrNameLst>
                                          <p:attrName>ppt_h</p:attrName>
                                        </p:attrNameLst>
                                      </p:cBhvr>
                                      <p:tavLst>
                                        <p:tav tm="0">
                                          <p:val>
                                            <p:fltVal val="0"/>
                                          </p:val>
                                        </p:tav>
                                        <p:tav tm="100000">
                                          <p:val>
                                            <p:strVal val="#ppt_h"/>
                                          </p:val>
                                        </p:tav>
                                      </p:tavLst>
                                    </p:anim>
                                    <p:animEffect transition="in" filter="fade">
                                      <p:cBhvr>
                                        <p:cTn id="42" dur="500"/>
                                        <p:tgtEl>
                                          <p:spTgt spid="34"/>
                                        </p:tgtEl>
                                      </p:cBhvr>
                                    </p:animEffect>
                                  </p:childTnLst>
                                </p:cTn>
                              </p:par>
                              <p:par>
                                <p:cTn id="43" presetID="53" presetClass="entr" presetSubtype="16"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 calcmode="lin" valueType="num">
                                      <p:cBhvr>
                                        <p:cTn id="45" dur="500" fill="hold"/>
                                        <p:tgtEl>
                                          <p:spTgt spid="35"/>
                                        </p:tgtEl>
                                        <p:attrNameLst>
                                          <p:attrName>ppt_w</p:attrName>
                                        </p:attrNameLst>
                                      </p:cBhvr>
                                      <p:tavLst>
                                        <p:tav tm="0">
                                          <p:val>
                                            <p:fltVal val="0"/>
                                          </p:val>
                                        </p:tav>
                                        <p:tav tm="100000">
                                          <p:val>
                                            <p:strVal val="#ppt_w"/>
                                          </p:val>
                                        </p:tav>
                                      </p:tavLst>
                                    </p:anim>
                                    <p:anim calcmode="lin" valueType="num">
                                      <p:cBhvr>
                                        <p:cTn id="46" dur="500" fill="hold"/>
                                        <p:tgtEl>
                                          <p:spTgt spid="35"/>
                                        </p:tgtEl>
                                        <p:attrNameLst>
                                          <p:attrName>ppt_h</p:attrName>
                                        </p:attrNameLst>
                                      </p:cBhvr>
                                      <p:tavLst>
                                        <p:tav tm="0">
                                          <p:val>
                                            <p:fltVal val="0"/>
                                          </p:val>
                                        </p:tav>
                                        <p:tav tm="100000">
                                          <p:val>
                                            <p:strVal val="#ppt_h"/>
                                          </p:val>
                                        </p:tav>
                                      </p:tavLst>
                                    </p:anim>
                                    <p:animEffect transition="in" filter="fade">
                                      <p:cBhvr>
                                        <p:cTn id="47" dur="500"/>
                                        <p:tgtEl>
                                          <p:spTgt spid="35"/>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36"/>
                                        </p:tgtEl>
                                        <p:attrNameLst>
                                          <p:attrName>style.visibility</p:attrName>
                                        </p:attrNameLst>
                                      </p:cBhvr>
                                      <p:to>
                                        <p:strVal val="visible"/>
                                      </p:to>
                                    </p:set>
                                    <p:anim calcmode="lin" valueType="num">
                                      <p:cBhvr>
                                        <p:cTn id="50" dur="500" fill="hold"/>
                                        <p:tgtEl>
                                          <p:spTgt spid="36"/>
                                        </p:tgtEl>
                                        <p:attrNameLst>
                                          <p:attrName>ppt_w</p:attrName>
                                        </p:attrNameLst>
                                      </p:cBhvr>
                                      <p:tavLst>
                                        <p:tav tm="0">
                                          <p:val>
                                            <p:fltVal val="0"/>
                                          </p:val>
                                        </p:tav>
                                        <p:tav tm="100000">
                                          <p:val>
                                            <p:strVal val="#ppt_w"/>
                                          </p:val>
                                        </p:tav>
                                      </p:tavLst>
                                    </p:anim>
                                    <p:anim calcmode="lin" valueType="num">
                                      <p:cBhvr>
                                        <p:cTn id="51" dur="500" fill="hold"/>
                                        <p:tgtEl>
                                          <p:spTgt spid="36"/>
                                        </p:tgtEl>
                                        <p:attrNameLst>
                                          <p:attrName>ppt_h</p:attrName>
                                        </p:attrNameLst>
                                      </p:cBhvr>
                                      <p:tavLst>
                                        <p:tav tm="0">
                                          <p:val>
                                            <p:fltVal val="0"/>
                                          </p:val>
                                        </p:tav>
                                        <p:tav tm="100000">
                                          <p:val>
                                            <p:strVal val="#ppt_h"/>
                                          </p:val>
                                        </p:tav>
                                      </p:tavLst>
                                    </p:anim>
                                    <p:animEffect transition="in" filter="fade">
                                      <p:cBhvr>
                                        <p:cTn id="52" dur="500"/>
                                        <p:tgtEl>
                                          <p:spTgt spid="36"/>
                                        </p:tgtEl>
                                      </p:cBhvr>
                                    </p:animEffect>
                                  </p:childTnLst>
                                </p:cTn>
                              </p:par>
                              <p:par>
                                <p:cTn id="53" presetID="53" presetClass="entr" presetSubtype="16" fill="hold" grpId="0" nodeType="withEffect">
                                  <p:stCondLst>
                                    <p:cond delay="0"/>
                                  </p:stCondLst>
                                  <p:childTnLst>
                                    <p:set>
                                      <p:cBhvr>
                                        <p:cTn id="54" dur="1" fill="hold">
                                          <p:stCondLst>
                                            <p:cond delay="0"/>
                                          </p:stCondLst>
                                        </p:cTn>
                                        <p:tgtEl>
                                          <p:spTgt spid="37"/>
                                        </p:tgtEl>
                                        <p:attrNameLst>
                                          <p:attrName>style.visibility</p:attrName>
                                        </p:attrNameLst>
                                      </p:cBhvr>
                                      <p:to>
                                        <p:strVal val="visible"/>
                                      </p:to>
                                    </p:set>
                                    <p:anim calcmode="lin" valueType="num">
                                      <p:cBhvr>
                                        <p:cTn id="55" dur="500" fill="hold"/>
                                        <p:tgtEl>
                                          <p:spTgt spid="37"/>
                                        </p:tgtEl>
                                        <p:attrNameLst>
                                          <p:attrName>ppt_w</p:attrName>
                                        </p:attrNameLst>
                                      </p:cBhvr>
                                      <p:tavLst>
                                        <p:tav tm="0">
                                          <p:val>
                                            <p:fltVal val="0"/>
                                          </p:val>
                                        </p:tav>
                                        <p:tav tm="100000">
                                          <p:val>
                                            <p:strVal val="#ppt_w"/>
                                          </p:val>
                                        </p:tav>
                                      </p:tavLst>
                                    </p:anim>
                                    <p:anim calcmode="lin" valueType="num">
                                      <p:cBhvr>
                                        <p:cTn id="56" dur="500" fill="hold"/>
                                        <p:tgtEl>
                                          <p:spTgt spid="37"/>
                                        </p:tgtEl>
                                        <p:attrNameLst>
                                          <p:attrName>ppt_h</p:attrName>
                                        </p:attrNameLst>
                                      </p:cBhvr>
                                      <p:tavLst>
                                        <p:tav tm="0">
                                          <p:val>
                                            <p:fltVal val="0"/>
                                          </p:val>
                                        </p:tav>
                                        <p:tav tm="100000">
                                          <p:val>
                                            <p:strVal val="#ppt_h"/>
                                          </p:val>
                                        </p:tav>
                                      </p:tavLst>
                                    </p:anim>
                                    <p:animEffect transition="in" filter="fade">
                                      <p:cBhvr>
                                        <p:cTn id="57" dur="500"/>
                                        <p:tgtEl>
                                          <p:spTgt spid="37"/>
                                        </p:tgtEl>
                                      </p:cBhvr>
                                    </p:animEffect>
                                  </p:childTnLst>
                                </p:cTn>
                              </p:par>
                              <p:par>
                                <p:cTn id="58" presetID="53" presetClass="entr" presetSubtype="16" fill="hold" grpId="0" nodeType="withEffect">
                                  <p:stCondLst>
                                    <p:cond delay="0"/>
                                  </p:stCondLst>
                                  <p:childTnLst>
                                    <p:set>
                                      <p:cBhvr>
                                        <p:cTn id="59" dur="1" fill="hold">
                                          <p:stCondLst>
                                            <p:cond delay="0"/>
                                          </p:stCondLst>
                                        </p:cTn>
                                        <p:tgtEl>
                                          <p:spTgt spid="39"/>
                                        </p:tgtEl>
                                        <p:attrNameLst>
                                          <p:attrName>style.visibility</p:attrName>
                                        </p:attrNameLst>
                                      </p:cBhvr>
                                      <p:to>
                                        <p:strVal val="visible"/>
                                      </p:to>
                                    </p:set>
                                    <p:anim calcmode="lin" valueType="num">
                                      <p:cBhvr>
                                        <p:cTn id="60" dur="500" fill="hold"/>
                                        <p:tgtEl>
                                          <p:spTgt spid="39"/>
                                        </p:tgtEl>
                                        <p:attrNameLst>
                                          <p:attrName>ppt_w</p:attrName>
                                        </p:attrNameLst>
                                      </p:cBhvr>
                                      <p:tavLst>
                                        <p:tav tm="0">
                                          <p:val>
                                            <p:fltVal val="0"/>
                                          </p:val>
                                        </p:tav>
                                        <p:tav tm="100000">
                                          <p:val>
                                            <p:strVal val="#ppt_w"/>
                                          </p:val>
                                        </p:tav>
                                      </p:tavLst>
                                    </p:anim>
                                    <p:anim calcmode="lin" valueType="num">
                                      <p:cBhvr>
                                        <p:cTn id="61" dur="500" fill="hold"/>
                                        <p:tgtEl>
                                          <p:spTgt spid="39"/>
                                        </p:tgtEl>
                                        <p:attrNameLst>
                                          <p:attrName>ppt_h</p:attrName>
                                        </p:attrNameLst>
                                      </p:cBhvr>
                                      <p:tavLst>
                                        <p:tav tm="0">
                                          <p:val>
                                            <p:fltVal val="0"/>
                                          </p:val>
                                        </p:tav>
                                        <p:tav tm="100000">
                                          <p:val>
                                            <p:strVal val="#ppt_h"/>
                                          </p:val>
                                        </p:tav>
                                      </p:tavLst>
                                    </p:anim>
                                    <p:animEffect transition="in" filter="fade">
                                      <p:cBhvr>
                                        <p:cTn id="62" dur="500"/>
                                        <p:tgtEl>
                                          <p:spTgt spid="39"/>
                                        </p:tgtEl>
                                      </p:cBhvr>
                                    </p:animEffect>
                                  </p:childTnLst>
                                </p:cTn>
                              </p:par>
                              <p:par>
                                <p:cTn id="63" presetID="53" presetClass="entr" presetSubtype="16" fill="hold" grpId="0" nodeType="withEffect">
                                  <p:stCondLst>
                                    <p:cond delay="0"/>
                                  </p:stCondLst>
                                  <p:childTnLst>
                                    <p:set>
                                      <p:cBhvr>
                                        <p:cTn id="64" dur="1" fill="hold">
                                          <p:stCondLst>
                                            <p:cond delay="0"/>
                                          </p:stCondLst>
                                        </p:cTn>
                                        <p:tgtEl>
                                          <p:spTgt spid="40"/>
                                        </p:tgtEl>
                                        <p:attrNameLst>
                                          <p:attrName>style.visibility</p:attrName>
                                        </p:attrNameLst>
                                      </p:cBhvr>
                                      <p:to>
                                        <p:strVal val="visible"/>
                                      </p:to>
                                    </p:set>
                                    <p:anim calcmode="lin" valueType="num">
                                      <p:cBhvr>
                                        <p:cTn id="65" dur="500" fill="hold"/>
                                        <p:tgtEl>
                                          <p:spTgt spid="40"/>
                                        </p:tgtEl>
                                        <p:attrNameLst>
                                          <p:attrName>ppt_w</p:attrName>
                                        </p:attrNameLst>
                                      </p:cBhvr>
                                      <p:tavLst>
                                        <p:tav tm="0">
                                          <p:val>
                                            <p:fltVal val="0"/>
                                          </p:val>
                                        </p:tav>
                                        <p:tav tm="100000">
                                          <p:val>
                                            <p:strVal val="#ppt_w"/>
                                          </p:val>
                                        </p:tav>
                                      </p:tavLst>
                                    </p:anim>
                                    <p:anim calcmode="lin" valueType="num">
                                      <p:cBhvr>
                                        <p:cTn id="66" dur="500" fill="hold"/>
                                        <p:tgtEl>
                                          <p:spTgt spid="40"/>
                                        </p:tgtEl>
                                        <p:attrNameLst>
                                          <p:attrName>ppt_h</p:attrName>
                                        </p:attrNameLst>
                                      </p:cBhvr>
                                      <p:tavLst>
                                        <p:tav tm="0">
                                          <p:val>
                                            <p:fltVal val="0"/>
                                          </p:val>
                                        </p:tav>
                                        <p:tav tm="100000">
                                          <p:val>
                                            <p:strVal val="#ppt_h"/>
                                          </p:val>
                                        </p:tav>
                                      </p:tavLst>
                                    </p:anim>
                                    <p:animEffect transition="in" filter="fade">
                                      <p:cBhvr>
                                        <p:cTn id="67" dur="500"/>
                                        <p:tgtEl>
                                          <p:spTgt spid="40"/>
                                        </p:tgtEl>
                                      </p:cBhvr>
                                    </p:animEffect>
                                  </p:childTnLst>
                                </p:cTn>
                              </p:par>
                              <p:par>
                                <p:cTn id="68" presetID="53" presetClass="entr" presetSubtype="16" fill="hold" grpId="0" nodeType="withEffect">
                                  <p:stCondLst>
                                    <p:cond delay="0"/>
                                  </p:stCondLst>
                                  <p:childTnLst>
                                    <p:set>
                                      <p:cBhvr>
                                        <p:cTn id="69" dur="1" fill="hold">
                                          <p:stCondLst>
                                            <p:cond delay="0"/>
                                          </p:stCondLst>
                                        </p:cTn>
                                        <p:tgtEl>
                                          <p:spTgt spid="41"/>
                                        </p:tgtEl>
                                        <p:attrNameLst>
                                          <p:attrName>style.visibility</p:attrName>
                                        </p:attrNameLst>
                                      </p:cBhvr>
                                      <p:to>
                                        <p:strVal val="visible"/>
                                      </p:to>
                                    </p:set>
                                    <p:anim calcmode="lin" valueType="num">
                                      <p:cBhvr>
                                        <p:cTn id="70" dur="500" fill="hold"/>
                                        <p:tgtEl>
                                          <p:spTgt spid="41"/>
                                        </p:tgtEl>
                                        <p:attrNameLst>
                                          <p:attrName>ppt_w</p:attrName>
                                        </p:attrNameLst>
                                      </p:cBhvr>
                                      <p:tavLst>
                                        <p:tav tm="0">
                                          <p:val>
                                            <p:fltVal val="0"/>
                                          </p:val>
                                        </p:tav>
                                        <p:tav tm="100000">
                                          <p:val>
                                            <p:strVal val="#ppt_w"/>
                                          </p:val>
                                        </p:tav>
                                      </p:tavLst>
                                    </p:anim>
                                    <p:anim calcmode="lin" valueType="num">
                                      <p:cBhvr>
                                        <p:cTn id="71" dur="500" fill="hold"/>
                                        <p:tgtEl>
                                          <p:spTgt spid="41"/>
                                        </p:tgtEl>
                                        <p:attrNameLst>
                                          <p:attrName>ppt_h</p:attrName>
                                        </p:attrNameLst>
                                      </p:cBhvr>
                                      <p:tavLst>
                                        <p:tav tm="0">
                                          <p:val>
                                            <p:fltVal val="0"/>
                                          </p:val>
                                        </p:tav>
                                        <p:tav tm="100000">
                                          <p:val>
                                            <p:strVal val="#ppt_h"/>
                                          </p:val>
                                        </p:tav>
                                      </p:tavLst>
                                    </p:anim>
                                    <p:animEffect transition="in" filter="fade">
                                      <p:cBhvr>
                                        <p:cTn id="72" dur="500"/>
                                        <p:tgtEl>
                                          <p:spTgt spid="41"/>
                                        </p:tgtEl>
                                      </p:cBhvr>
                                    </p:animEffect>
                                  </p:childTnLst>
                                </p:cTn>
                              </p:par>
                              <p:par>
                                <p:cTn id="73" presetID="53" presetClass="entr" presetSubtype="16" fill="hold" grpId="0" nodeType="withEffect">
                                  <p:stCondLst>
                                    <p:cond delay="0"/>
                                  </p:stCondLst>
                                  <p:childTnLst>
                                    <p:set>
                                      <p:cBhvr>
                                        <p:cTn id="74" dur="1" fill="hold">
                                          <p:stCondLst>
                                            <p:cond delay="0"/>
                                          </p:stCondLst>
                                        </p:cTn>
                                        <p:tgtEl>
                                          <p:spTgt spid="42"/>
                                        </p:tgtEl>
                                        <p:attrNameLst>
                                          <p:attrName>style.visibility</p:attrName>
                                        </p:attrNameLst>
                                      </p:cBhvr>
                                      <p:to>
                                        <p:strVal val="visible"/>
                                      </p:to>
                                    </p:set>
                                    <p:anim calcmode="lin" valueType="num">
                                      <p:cBhvr>
                                        <p:cTn id="75" dur="500" fill="hold"/>
                                        <p:tgtEl>
                                          <p:spTgt spid="42"/>
                                        </p:tgtEl>
                                        <p:attrNameLst>
                                          <p:attrName>ppt_w</p:attrName>
                                        </p:attrNameLst>
                                      </p:cBhvr>
                                      <p:tavLst>
                                        <p:tav tm="0">
                                          <p:val>
                                            <p:fltVal val="0"/>
                                          </p:val>
                                        </p:tav>
                                        <p:tav tm="100000">
                                          <p:val>
                                            <p:strVal val="#ppt_w"/>
                                          </p:val>
                                        </p:tav>
                                      </p:tavLst>
                                    </p:anim>
                                    <p:anim calcmode="lin" valueType="num">
                                      <p:cBhvr>
                                        <p:cTn id="76" dur="500" fill="hold"/>
                                        <p:tgtEl>
                                          <p:spTgt spid="42"/>
                                        </p:tgtEl>
                                        <p:attrNameLst>
                                          <p:attrName>ppt_h</p:attrName>
                                        </p:attrNameLst>
                                      </p:cBhvr>
                                      <p:tavLst>
                                        <p:tav tm="0">
                                          <p:val>
                                            <p:fltVal val="0"/>
                                          </p:val>
                                        </p:tav>
                                        <p:tav tm="100000">
                                          <p:val>
                                            <p:strVal val="#ppt_h"/>
                                          </p:val>
                                        </p:tav>
                                      </p:tavLst>
                                    </p:anim>
                                    <p:animEffect transition="in" filter="fade">
                                      <p:cBhvr>
                                        <p:cTn id="77" dur="500"/>
                                        <p:tgtEl>
                                          <p:spTgt spid="42"/>
                                        </p:tgtEl>
                                      </p:cBhvr>
                                    </p:animEffect>
                                  </p:childTnLst>
                                </p:cTn>
                              </p:par>
                              <p:par>
                                <p:cTn id="78" presetID="53" presetClass="entr" presetSubtype="16" fill="hold" grpId="0" nodeType="withEffect">
                                  <p:stCondLst>
                                    <p:cond delay="0"/>
                                  </p:stCondLst>
                                  <p:childTnLst>
                                    <p:set>
                                      <p:cBhvr>
                                        <p:cTn id="79" dur="1" fill="hold">
                                          <p:stCondLst>
                                            <p:cond delay="0"/>
                                          </p:stCondLst>
                                        </p:cTn>
                                        <p:tgtEl>
                                          <p:spTgt spid="43"/>
                                        </p:tgtEl>
                                        <p:attrNameLst>
                                          <p:attrName>style.visibility</p:attrName>
                                        </p:attrNameLst>
                                      </p:cBhvr>
                                      <p:to>
                                        <p:strVal val="visible"/>
                                      </p:to>
                                    </p:set>
                                    <p:anim calcmode="lin" valueType="num">
                                      <p:cBhvr>
                                        <p:cTn id="80" dur="500" fill="hold"/>
                                        <p:tgtEl>
                                          <p:spTgt spid="43"/>
                                        </p:tgtEl>
                                        <p:attrNameLst>
                                          <p:attrName>ppt_w</p:attrName>
                                        </p:attrNameLst>
                                      </p:cBhvr>
                                      <p:tavLst>
                                        <p:tav tm="0">
                                          <p:val>
                                            <p:fltVal val="0"/>
                                          </p:val>
                                        </p:tav>
                                        <p:tav tm="100000">
                                          <p:val>
                                            <p:strVal val="#ppt_w"/>
                                          </p:val>
                                        </p:tav>
                                      </p:tavLst>
                                    </p:anim>
                                    <p:anim calcmode="lin" valueType="num">
                                      <p:cBhvr>
                                        <p:cTn id="81" dur="500" fill="hold"/>
                                        <p:tgtEl>
                                          <p:spTgt spid="43"/>
                                        </p:tgtEl>
                                        <p:attrNameLst>
                                          <p:attrName>ppt_h</p:attrName>
                                        </p:attrNameLst>
                                      </p:cBhvr>
                                      <p:tavLst>
                                        <p:tav tm="0">
                                          <p:val>
                                            <p:fltVal val="0"/>
                                          </p:val>
                                        </p:tav>
                                        <p:tav tm="100000">
                                          <p:val>
                                            <p:strVal val="#ppt_h"/>
                                          </p:val>
                                        </p:tav>
                                      </p:tavLst>
                                    </p:anim>
                                    <p:animEffect transition="in" filter="fade">
                                      <p:cBhvr>
                                        <p:cTn id="82"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P spid="28" grpId="0" animBg="1"/>
      <p:bldP spid="29" grpId="0" animBg="1"/>
      <p:bldP spid="30" grpId="0" animBg="1"/>
      <p:bldP spid="31" grpId="0" animBg="1"/>
      <p:bldP spid="32" grpId="0" animBg="1"/>
      <p:bldP spid="34" grpId="0" animBg="1"/>
      <p:bldP spid="35" grpId="0" animBg="1"/>
      <p:bldP spid="36" grpId="0" animBg="1"/>
      <p:bldP spid="37" grpId="0" animBg="1"/>
      <p:bldP spid="39" grpId="0" animBg="1"/>
      <p:bldP spid="40" grpId="0" animBg="1"/>
      <p:bldP spid="41" grpId="0" animBg="1"/>
      <p:bldP spid="42" grpId="0" animBg="1"/>
      <p:bldP spid="43"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ablet Mockup">
    <p:spTree>
      <p:nvGrpSpPr>
        <p:cNvPr id="1" name=""/>
        <p:cNvGrpSpPr/>
        <p:nvPr/>
      </p:nvGrpSpPr>
      <p:grpSpPr>
        <a:xfrm>
          <a:off x="0" y="0"/>
          <a:ext cx="0" cy="0"/>
          <a:chOff x="0" y="0"/>
          <a:chExt cx="0" cy="0"/>
        </a:xfrm>
      </p:grpSpPr>
      <p:sp>
        <p:nvSpPr>
          <p:cNvPr id="25" name="Freeform 34"/>
          <p:cNvSpPr>
            <a:spLocks/>
          </p:cNvSpPr>
          <p:nvPr userDrawn="1"/>
        </p:nvSpPr>
        <p:spPr bwMode="auto">
          <a:xfrm>
            <a:off x="1950877" y="109482"/>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69676" y="326491"/>
            <a:ext cx="504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32" name="Freeform 34"/>
          <p:cNvSpPr>
            <a:spLocks/>
          </p:cNvSpPr>
          <p:nvPr userDrawn="1"/>
        </p:nvSpPr>
        <p:spPr bwMode="auto">
          <a:xfrm>
            <a:off x="11963183" y="1136455"/>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pic>
        <p:nvPicPr>
          <p:cNvPr id="33" name="Picture 3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88000" y="802497"/>
            <a:ext cx="6273515" cy="5448052"/>
          </a:xfrm>
          <a:prstGeom prst="rect">
            <a:avLst/>
          </a:prstGeom>
        </p:spPr>
      </p:pic>
      <p:sp>
        <p:nvSpPr>
          <p:cNvPr id="3" name="Picture Placeholder 2"/>
          <p:cNvSpPr>
            <a:spLocks noGrp="1"/>
          </p:cNvSpPr>
          <p:nvPr>
            <p:ph type="pic" sz="quarter" idx="10"/>
          </p:nvPr>
        </p:nvSpPr>
        <p:spPr>
          <a:xfrm>
            <a:off x="5878226" y="1409700"/>
            <a:ext cx="5707349" cy="4251239"/>
          </a:xfrm>
        </p:spPr>
        <p:txBody>
          <a:bodyPr/>
          <a:lstStyle/>
          <a:p>
            <a:endParaRPr lang="id-ID"/>
          </a:p>
        </p:txBody>
      </p:sp>
    </p:spTree>
    <p:extLst>
      <p:ext uri="{BB962C8B-B14F-4D97-AF65-F5344CB8AC3E}">
        <p14:creationId xmlns:p14="http://schemas.microsoft.com/office/powerpoint/2010/main" val="589154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additive="base">
                                        <p:cTn id="7" dur="500" fill="hold"/>
                                        <p:tgtEl>
                                          <p:spTgt spid="33"/>
                                        </p:tgtEl>
                                        <p:attrNameLst>
                                          <p:attrName>ppt_x</p:attrName>
                                        </p:attrNameLst>
                                      </p:cBhvr>
                                      <p:tavLst>
                                        <p:tav tm="0">
                                          <p:val>
                                            <p:strVal val="1+#ppt_w/2"/>
                                          </p:val>
                                        </p:tav>
                                        <p:tav tm="100000">
                                          <p:val>
                                            <p:strVal val="#ppt_x"/>
                                          </p:val>
                                        </p:tav>
                                      </p:tavLst>
                                    </p:anim>
                                    <p:anim calcmode="lin" valueType="num">
                                      <p:cBhvr additive="base">
                                        <p:cTn id="8" dur="500" fill="hold"/>
                                        <p:tgtEl>
                                          <p:spTgt spid="3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ablet Mockup 2">
    <p:spTree>
      <p:nvGrpSpPr>
        <p:cNvPr id="1" name=""/>
        <p:cNvGrpSpPr/>
        <p:nvPr/>
      </p:nvGrpSpPr>
      <p:grpSpPr>
        <a:xfrm>
          <a:off x="0" y="0"/>
          <a:ext cx="0" cy="0"/>
          <a:chOff x="0" y="0"/>
          <a:chExt cx="0" cy="0"/>
        </a:xfrm>
      </p:grpSpPr>
      <p:sp>
        <p:nvSpPr>
          <p:cNvPr id="25" name="Freeform 34"/>
          <p:cNvSpPr>
            <a:spLocks/>
          </p:cNvSpPr>
          <p:nvPr userDrawn="1"/>
        </p:nvSpPr>
        <p:spPr bwMode="auto">
          <a:xfrm>
            <a:off x="1389063" y="9154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237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23" name="Group 22"/>
          <p:cNvGrpSpPr/>
          <p:nvPr userDrawn="1"/>
        </p:nvGrpSpPr>
        <p:grpSpPr>
          <a:xfrm>
            <a:off x="338952" y="6409324"/>
            <a:ext cx="224082" cy="221156"/>
            <a:chOff x="4328868" y="5502988"/>
            <a:chExt cx="500307" cy="493774"/>
          </a:xfrm>
        </p:grpSpPr>
        <p:sp>
          <p:nvSpPr>
            <p:cNvPr id="24" name="Freeform 23">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8" name="Freeform 27">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9" name="Group 28"/>
          <p:cNvGrpSpPr/>
          <p:nvPr userDrawn="1"/>
        </p:nvGrpSpPr>
        <p:grpSpPr>
          <a:xfrm flipH="1">
            <a:off x="11637433" y="6409324"/>
            <a:ext cx="224082" cy="221156"/>
            <a:chOff x="4328868" y="5502988"/>
            <a:chExt cx="500307" cy="493774"/>
          </a:xfrm>
        </p:grpSpPr>
        <p:sp>
          <p:nvSpPr>
            <p:cNvPr id="30" name="Freeform 29">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31" name="Freeform 30">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32" name="Picture Placeholder 2"/>
          <p:cNvSpPr>
            <a:spLocks noGrp="1"/>
          </p:cNvSpPr>
          <p:nvPr>
            <p:ph type="pic" sz="quarter" idx="13"/>
          </p:nvPr>
        </p:nvSpPr>
        <p:spPr>
          <a:xfrm>
            <a:off x="1389063" y="1389063"/>
            <a:ext cx="3251200" cy="4391025"/>
          </a:xfrm>
        </p:spPr>
        <p:txBody>
          <a:bodyPr/>
          <a:lstStyle/>
          <a:p>
            <a:endParaRPr lang="id-ID"/>
          </a:p>
        </p:txBody>
      </p:sp>
    </p:spTree>
    <p:extLst>
      <p:ext uri="{BB962C8B-B14F-4D97-AF65-F5344CB8AC3E}">
        <p14:creationId xmlns:p14="http://schemas.microsoft.com/office/powerpoint/2010/main" val="36306277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stimonial">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237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15" name="Picture Placeholder 6"/>
          <p:cNvSpPr>
            <a:spLocks noGrp="1"/>
          </p:cNvSpPr>
          <p:nvPr>
            <p:ph type="pic" sz="quarter" idx="14"/>
          </p:nvPr>
        </p:nvSpPr>
        <p:spPr>
          <a:xfrm>
            <a:off x="514349" y="2432275"/>
            <a:ext cx="900000" cy="900000"/>
          </a:xfrm>
          <a:prstGeom prst="roundRect">
            <a:avLst/>
          </a:prstGeom>
        </p:spPr>
        <p:txBody>
          <a:bodyPr/>
          <a:lstStyle>
            <a:lvl1pPr>
              <a:defRPr sz="1200"/>
            </a:lvl1pPr>
          </a:lstStyle>
          <a:p>
            <a:endParaRPr lang="id-ID"/>
          </a:p>
        </p:txBody>
      </p:sp>
      <p:sp>
        <p:nvSpPr>
          <p:cNvPr id="16" name="Picture Placeholder 6"/>
          <p:cNvSpPr>
            <a:spLocks noGrp="1"/>
          </p:cNvSpPr>
          <p:nvPr>
            <p:ph type="pic" sz="quarter" idx="15"/>
          </p:nvPr>
        </p:nvSpPr>
        <p:spPr>
          <a:xfrm>
            <a:off x="8534399" y="2432275"/>
            <a:ext cx="900000" cy="900000"/>
          </a:xfrm>
          <a:prstGeom prst="roundRect">
            <a:avLst/>
          </a:prstGeom>
        </p:spPr>
        <p:txBody>
          <a:bodyPr/>
          <a:lstStyle>
            <a:lvl1pPr>
              <a:defRPr sz="1200"/>
            </a:lvl1pPr>
          </a:lstStyle>
          <a:p>
            <a:endParaRPr lang="id-ID"/>
          </a:p>
        </p:txBody>
      </p:sp>
      <p:sp>
        <p:nvSpPr>
          <p:cNvPr id="28" name="Picture Placeholder 6"/>
          <p:cNvSpPr>
            <a:spLocks noGrp="1"/>
          </p:cNvSpPr>
          <p:nvPr>
            <p:ph type="pic" sz="quarter" idx="16"/>
          </p:nvPr>
        </p:nvSpPr>
        <p:spPr>
          <a:xfrm>
            <a:off x="4610099" y="2432275"/>
            <a:ext cx="900000" cy="900000"/>
          </a:xfrm>
          <a:prstGeom prst="roundRect">
            <a:avLst/>
          </a:prstGeom>
        </p:spPr>
        <p:txBody>
          <a:bodyPr/>
          <a:lstStyle>
            <a:lvl1pPr>
              <a:defRPr sz="1200"/>
            </a:lvl1pPr>
          </a:lstStyle>
          <a:p>
            <a:endParaRPr lang="id-ID"/>
          </a:p>
        </p:txBody>
      </p:sp>
    </p:spTree>
    <p:extLst>
      <p:ext uri="{BB962C8B-B14F-4D97-AF65-F5344CB8AC3E}">
        <p14:creationId xmlns:p14="http://schemas.microsoft.com/office/powerpoint/2010/main" val="4285932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Picture Placeholder">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a:xfrm>
            <a:off x="928305" y="2157412"/>
            <a:ext cx="1908000" cy="1908000"/>
          </a:xfrm>
          <a:prstGeom prst="ellipse">
            <a:avLst/>
          </a:prstGeom>
        </p:spPr>
        <p:txBody>
          <a:bodyPr>
            <a:normAutofit/>
          </a:bodyPr>
          <a:lstStyle>
            <a:lvl1pPr>
              <a:defRPr sz="1600"/>
            </a:lvl1pPr>
          </a:lstStyle>
          <a:p>
            <a:endParaRPr lang="id-ID"/>
          </a:p>
        </p:txBody>
      </p:sp>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382376" y="326491"/>
            <a:ext cx="468000"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28" name="Picture Placeholder 2"/>
          <p:cNvSpPr>
            <a:spLocks noGrp="1"/>
          </p:cNvSpPr>
          <p:nvPr>
            <p:ph type="pic" sz="quarter" idx="15"/>
          </p:nvPr>
        </p:nvSpPr>
        <p:spPr>
          <a:xfrm>
            <a:off x="6623596" y="2157412"/>
            <a:ext cx="1908000" cy="1908000"/>
          </a:xfrm>
          <a:prstGeom prst="ellipse">
            <a:avLst/>
          </a:prstGeom>
        </p:spPr>
        <p:txBody>
          <a:bodyPr>
            <a:normAutofit/>
          </a:bodyPr>
          <a:lstStyle>
            <a:lvl1pPr>
              <a:defRPr sz="1600"/>
            </a:lvl1pPr>
          </a:lstStyle>
          <a:p>
            <a:endParaRPr lang="id-ID"/>
          </a:p>
        </p:txBody>
      </p:sp>
    </p:spTree>
    <p:extLst>
      <p:ext uri="{BB962C8B-B14F-4D97-AF65-F5344CB8AC3E}">
        <p14:creationId xmlns:p14="http://schemas.microsoft.com/office/powerpoint/2010/main" val="2406182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et The Team 6 Picture">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40" name="Picture Placeholder 24"/>
          <p:cNvSpPr>
            <a:spLocks noGrp="1"/>
          </p:cNvSpPr>
          <p:nvPr>
            <p:ph type="pic" sz="quarter" idx="14"/>
          </p:nvPr>
        </p:nvSpPr>
        <p:spPr>
          <a:xfrm>
            <a:off x="657550" y="2241550"/>
            <a:ext cx="1800000" cy="1800000"/>
          </a:xfrm>
        </p:spPr>
        <p:txBody>
          <a:bodyPr>
            <a:normAutofit/>
          </a:bodyPr>
          <a:lstStyle>
            <a:lvl1pPr>
              <a:defRPr sz="1800"/>
            </a:lvl1pPr>
          </a:lstStyle>
          <a:p>
            <a:endParaRPr lang="id-ID"/>
          </a:p>
        </p:txBody>
      </p:sp>
      <p:sp>
        <p:nvSpPr>
          <p:cNvPr id="41" name="Picture Placeholder 24"/>
          <p:cNvSpPr>
            <a:spLocks noGrp="1"/>
          </p:cNvSpPr>
          <p:nvPr>
            <p:ph type="pic" sz="quarter" idx="15"/>
          </p:nvPr>
        </p:nvSpPr>
        <p:spPr>
          <a:xfrm>
            <a:off x="2481914" y="4051300"/>
            <a:ext cx="1800000" cy="1800000"/>
          </a:xfrm>
        </p:spPr>
        <p:txBody>
          <a:bodyPr>
            <a:normAutofit/>
          </a:bodyPr>
          <a:lstStyle>
            <a:lvl1pPr>
              <a:defRPr sz="1800"/>
            </a:lvl1pPr>
          </a:lstStyle>
          <a:p>
            <a:endParaRPr lang="id-ID"/>
          </a:p>
        </p:txBody>
      </p:sp>
      <p:sp>
        <p:nvSpPr>
          <p:cNvPr id="42" name="Picture Placeholder 24"/>
          <p:cNvSpPr>
            <a:spLocks noGrp="1"/>
          </p:cNvSpPr>
          <p:nvPr>
            <p:ph type="pic" sz="quarter" idx="16"/>
          </p:nvPr>
        </p:nvSpPr>
        <p:spPr>
          <a:xfrm>
            <a:off x="4283838" y="2241550"/>
            <a:ext cx="1800000" cy="1800000"/>
          </a:xfrm>
        </p:spPr>
        <p:txBody>
          <a:bodyPr>
            <a:normAutofit/>
          </a:bodyPr>
          <a:lstStyle>
            <a:lvl1pPr>
              <a:defRPr sz="1800"/>
            </a:lvl1pPr>
          </a:lstStyle>
          <a:p>
            <a:endParaRPr lang="id-ID"/>
          </a:p>
        </p:txBody>
      </p:sp>
      <p:sp>
        <p:nvSpPr>
          <p:cNvPr id="43" name="Picture Placeholder 24"/>
          <p:cNvSpPr>
            <a:spLocks noGrp="1"/>
          </p:cNvSpPr>
          <p:nvPr>
            <p:ph type="pic" sz="quarter" idx="17"/>
          </p:nvPr>
        </p:nvSpPr>
        <p:spPr>
          <a:xfrm>
            <a:off x="6108202" y="4051300"/>
            <a:ext cx="1800000" cy="1800000"/>
          </a:xfrm>
        </p:spPr>
        <p:txBody>
          <a:bodyPr>
            <a:normAutofit/>
          </a:bodyPr>
          <a:lstStyle>
            <a:lvl1pPr>
              <a:defRPr sz="1800"/>
            </a:lvl1pPr>
          </a:lstStyle>
          <a:p>
            <a:endParaRPr lang="id-ID"/>
          </a:p>
        </p:txBody>
      </p:sp>
      <p:sp>
        <p:nvSpPr>
          <p:cNvPr id="44" name="Picture Placeholder 24"/>
          <p:cNvSpPr>
            <a:spLocks noGrp="1"/>
          </p:cNvSpPr>
          <p:nvPr>
            <p:ph type="pic" sz="quarter" idx="18"/>
          </p:nvPr>
        </p:nvSpPr>
        <p:spPr>
          <a:xfrm>
            <a:off x="7915703" y="2241550"/>
            <a:ext cx="1800000" cy="1800000"/>
          </a:xfrm>
        </p:spPr>
        <p:txBody>
          <a:bodyPr>
            <a:normAutofit/>
          </a:bodyPr>
          <a:lstStyle>
            <a:lvl1pPr>
              <a:defRPr sz="1800"/>
            </a:lvl1pPr>
          </a:lstStyle>
          <a:p>
            <a:endParaRPr lang="id-ID"/>
          </a:p>
        </p:txBody>
      </p:sp>
      <p:sp>
        <p:nvSpPr>
          <p:cNvPr id="45" name="Picture Placeholder 24"/>
          <p:cNvSpPr>
            <a:spLocks noGrp="1"/>
          </p:cNvSpPr>
          <p:nvPr>
            <p:ph type="pic" sz="quarter" idx="19"/>
          </p:nvPr>
        </p:nvSpPr>
        <p:spPr>
          <a:xfrm>
            <a:off x="9740067" y="4051300"/>
            <a:ext cx="1800000" cy="1800000"/>
          </a:xfrm>
        </p:spPr>
        <p:txBody>
          <a:bodyPr>
            <a:normAutofit/>
          </a:bodyPr>
          <a:lstStyle>
            <a:lvl1pPr>
              <a:defRPr sz="1800"/>
            </a:lvl1pPr>
          </a:lstStyle>
          <a:p>
            <a:endParaRPr lang="id-ID"/>
          </a:p>
        </p:txBody>
      </p:sp>
      <p:grpSp>
        <p:nvGrpSpPr>
          <p:cNvPr id="46" name="Group 45"/>
          <p:cNvGrpSpPr/>
          <p:nvPr userDrawn="1"/>
        </p:nvGrpSpPr>
        <p:grpSpPr>
          <a:xfrm>
            <a:off x="338952" y="6409324"/>
            <a:ext cx="224082" cy="221156"/>
            <a:chOff x="4328868" y="5502988"/>
            <a:chExt cx="500307" cy="493774"/>
          </a:xfrm>
        </p:grpSpPr>
        <p:sp>
          <p:nvSpPr>
            <p:cNvPr id="47" name="Freeform 46">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48" name="Freeform 47">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49" name="Group 48"/>
          <p:cNvGrpSpPr/>
          <p:nvPr userDrawn="1"/>
        </p:nvGrpSpPr>
        <p:grpSpPr>
          <a:xfrm flipH="1">
            <a:off x="11637433" y="6409324"/>
            <a:ext cx="224082" cy="221156"/>
            <a:chOff x="4328868" y="5502988"/>
            <a:chExt cx="500307" cy="493774"/>
          </a:xfrm>
        </p:grpSpPr>
        <p:sp>
          <p:nvSpPr>
            <p:cNvPr id="50" name="Freeform 49">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51" name="Freeform 50">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704164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eet The Team 9 Picture">
    <p:spTree>
      <p:nvGrpSpPr>
        <p:cNvPr id="1" name=""/>
        <p:cNvGrpSpPr/>
        <p:nvPr/>
      </p:nvGrpSpPr>
      <p:grpSpPr>
        <a:xfrm>
          <a:off x="0" y="0"/>
          <a:ext cx="0" cy="0"/>
          <a:chOff x="0" y="0"/>
          <a:chExt cx="0" cy="0"/>
        </a:xfrm>
      </p:grpSpPr>
      <p:sp>
        <p:nvSpPr>
          <p:cNvPr id="25" name="Freeform 34"/>
          <p:cNvSpPr>
            <a:spLocks/>
          </p:cNvSpPr>
          <p:nvPr userDrawn="1"/>
        </p:nvSpPr>
        <p:spPr bwMode="auto">
          <a:xfrm>
            <a:off x="10956548" y="1183384"/>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1903813" y="800877"/>
            <a:ext cx="745387" cy="438862"/>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l">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l">
              <a:buNone/>
              <a:defRPr sz="2000">
                <a:solidFill>
                  <a:schemeClr val="bg2"/>
                </a:solidFill>
              </a:defRPr>
            </a:lvl1pPr>
          </a:lstStyle>
          <a:p>
            <a:pPr lvl="0"/>
            <a:r>
              <a:rPr lang="en-US" dirty="0"/>
              <a:t>Click to edit Master text styles</a:t>
            </a:r>
          </a:p>
        </p:txBody>
      </p:sp>
      <p:sp>
        <p:nvSpPr>
          <p:cNvPr id="21" name="Picture Placeholder 4"/>
          <p:cNvSpPr>
            <a:spLocks noGrp="1"/>
          </p:cNvSpPr>
          <p:nvPr>
            <p:ph type="pic" sz="quarter" idx="14"/>
          </p:nvPr>
        </p:nvSpPr>
        <p:spPr>
          <a:xfrm>
            <a:off x="6882877" y="1807102"/>
            <a:ext cx="1404000" cy="1404000"/>
          </a:xfrm>
          <a:prstGeom prst="rect">
            <a:avLst/>
          </a:prstGeom>
        </p:spPr>
        <p:txBody>
          <a:bodyPr/>
          <a:lstStyle>
            <a:lvl1pPr>
              <a:defRPr sz="1600"/>
            </a:lvl1pPr>
          </a:lstStyle>
          <a:p>
            <a:endParaRPr lang="id-ID"/>
          </a:p>
        </p:txBody>
      </p:sp>
      <p:sp>
        <p:nvSpPr>
          <p:cNvPr id="22" name="Picture Placeholder 4"/>
          <p:cNvSpPr>
            <a:spLocks noGrp="1"/>
          </p:cNvSpPr>
          <p:nvPr>
            <p:ph type="pic" sz="quarter" idx="15"/>
          </p:nvPr>
        </p:nvSpPr>
        <p:spPr>
          <a:xfrm>
            <a:off x="8305275" y="1807102"/>
            <a:ext cx="1404000" cy="1404000"/>
          </a:xfrm>
          <a:prstGeom prst="rect">
            <a:avLst/>
          </a:prstGeom>
        </p:spPr>
        <p:txBody>
          <a:bodyPr/>
          <a:lstStyle>
            <a:lvl1pPr>
              <a:defRPr sz="1600"/>
            </a:lvl1pPr>
          </a:lstStyle>
          <a:p>
            <a:endParaRPr lang="id-ID"/>
          </a:p>
        </p:txBody>
      </p:sp>
      <p:sp>
        <p:nvSpPr>
          <p:cNvPr id="28" name="Picture Placeholder 4"/>
          <p:cNvSpPr>
            <a:spLocks noGrp="1"/>
          </p:cNvSpPr>
          <p:nvPr>
            <p:ph type="pic" sz="quarter" idx="16"/>
          </p:nvPr>
        </p:nvSpPr>
        <p:spPr>
          <a:xfrm>
            <a:off x="9727672" y="1807102"/>
            <a:ext cx="1404000" cy="1404000"/>
          </a:xfrm>
          <a:prstGeom prst="rect">
            <a:avLst/>
          </a:prstGeom>
        </p:spPr>
        <p:txBody>
          <a:bodyPr/>
          <a:lstStyle>
            <a:lvl1pPr>
              <a:defRPr sz="1600"/>
            </a:lvl1pPr>
          </a:lstStyle>
          <a:p>
            <a:endParaRPr lang="id-ID"/>
          </a:p>
        </p:txBody>
      </p:sp>
      <p:sp>
        <p:nvSpPr>
          <p:cNvPr id="29" name="Picture Placeholder 4"/>
          <p:cNvSpPr>
            <a:spLocks noGrp="1"/>
          </p:cNvSpPr>
          <p:nvPr>
            <p:ph type="pic" sz="quarter" idx="17"/>
          </p:nvPr>
        </p:nvSpPr>
        <p:spPr>
          <a:xfrm>
            <a:off x="6882878" y="3229501"/>
            <a:ext cx="1404000" cy="1404000"/>
          </a:xfrm>
          <a:prstGeom prst="rect">
            <a:avLst/>
          </a:prstGeom>
        </p:spPr>
        <p:txBody>
          <a:bodyPr/>
          <a:lstStyle>
            <a:lvl1pPr>
              <a:defRPr sz="1600"/>
            </a:lvl1pPr>
          </a:lstStyle>
          <a:p>
            <a:endParaRPr lang="id-ID"/>
          </a:p>
        </p:txBody>
      </p:sp>
      <p:sp>
        <p:nvSpPr>
          <p:cNvPr id="30" name="Picture Placeholder 4"/>
          <p:cNvSpPr>
            <a:spLocks noGrp="1"/>
          </p:cNvSpPr>
          <p:nvPr>
            <p:ph type="pic" sz="quarter" idx="18"/>
          </p:nvPr>
        </p:nvSpPr>
        <p:spPr>
          <a:xfrm>
            <a:off x="8305276" y="3229501"/>
            <a:ext cx="1404000" cy="1404000"/>
          </a:xfrm>
          <a:prstGeom prst="rect">
            <a:avLst/>
          </a:prstGeom>
        </p:spPr>
        <p:txBody>
          <a:bodyPr/>
          <a:lstStyle>
            <a:lvl1pPr>
              <a:defRPr sz="1600"/>
            </a:lvl1pPr>
          </a:lstStyle>
          <a:p>
            <a:endParaRPr lang="id-ID"/>
          </a:p>
        </p:txBody>
      </p:sp>
      <p:sp>
        <p:nvSpPr>
          <p:cNvPr id="31" name="Picture Placeholder 4"/>
          <p:cNvSpPr>
            <a:spLocks noGrp="1"/>
          </p:cNvSpPr>
          <p:nvPr>
            <p:ph type="pic" sz="quarter" idx="19"/>
          </p:nvPr>
        </p:nvSpPr>
        <p:spPr>
          <a:xfrm>
            <a:off x="9727673" y="3229501"/>
            <a:ext cx="1404000" cy="1404000"/>
          </a:xfrm>
          <a:prstGeom prst="rect">
            <a:avLst/>
          </a:prstGeom>
        </p:spPr>
        <p:txBody>
          <a:bodyPr/>
          <a:lstStyle>
            <a:lvl1pPr>
              <a:defRPr sz="1600"/>
            </a:lvl1pPr>
          </a:lstStyle>
          <a:p>
            <a:endParaRPr lang="id-ID"/>
          </a:p>
        </p:txBody>
      </p:sp>
      <p:sp>
        <p:nvSpPr>
          <p:cNvPr id="32" name="Picture Placeholder 4"/>
          <p:cNvSpPr>
            <a:spLocks noGrp="1"/>
          </p:cNvSpPr>
          <p:nvPr>
            <p:ph type="pic" sz="quarter" idx="20"/>
          </p:nvPr>
        </p:nvSpPr>
        <p:spPr>
          <a:xfrm>
            <a:off x="6882878" y="4651899"/>
            <a:ext cx="1404000" cy="1404000"/>
          </a:xfrm>
          <a:prstGeom prst="rect">
            <a:avLst/>
          </a:prstGeom>
        </p:spPr>
        <p:txBody>
          <a:bodyPr/>
          <a:lstStyle>
            <a:lvl1pPr>
              <a:defRPr sz="1600"/>
            </a:lvl1pPr>
          </a:lstStyle>
          <a:p>
            <a:endParaRPr lang="id-ID"/>
          </a:p>
        </p:txBody>
      </p:sp>
      <p:sp>
        <p:nvSpPr>
          <p:cNvPr id="33" name="Picture Placeholder 4"/>
          <p:cNvSpPr>
            <a:spLocks noGrp="1"/>
          </p:cNvSpPr>
          <p:nvPr>
            <p:ph type="pic" sz="quarter" idx="21"/>
          </p:nvPr>
        </p:nvSpPr>
        <p:spPr>
          <a:xfrm>
            <a:off x="8305276" y="4651899"/>
            <a:ext cx="1404000" cy="1404000"/>
          </a:xfrm>
          <a:prstGeom prst="rect">
            <a:avLst/>
          </a:prstGeom>
        </p:spPr>
        <p:txBody>
          <a:bodyPr/>
          <a:lstStyle>
            <a:lvl1pPr>
              <a:defRPr sz="1600"/>
            </a:lvl1pPr>
          </a:lstStyle>
          <a:p>
            <a:endParaRPr lang="id-ID"/>
          </a:p>
        </p:txBody>
      </p:sp>
      <p:sp>
        <p:nvSpPr>
          <p:cNvPr id="34" name="Picture Placeholder 4"/>
          <p:cNvSpPr>
            <a:spLocks noGrp="1"/>
          </p:cNvSpPr>
          <p:nvPr>
            <p:ph type="pic" sz="quarter" idx="22"/>
          </p:nvPr>
        </p:nvSpPr>
        <p:spPr>
          <a:xfrm>
            <a:off x="9727673" y="4651899"/>
            <a:ext cx="1404000" cy="1404000"/>
          </a:xfrm>
          <a:prstGeom prst="rect">
            <a:avLst/>
          </a:prstGeom>
        </p:spPr>
        <p:txBody>
          <a:bodyPr/>
          <a:lstStyle>
            <a:lvl1pPr>
              <a:defRPr sz="1600"/>
            </a:lvl1pPr>
          </a:lstStyle>
          <a:p>
            <a:endParaRPr lang="id-ID"/>
          </a:p>
        </p:txBody>
      </p:sp>
      <p:sp>
        <p:nvSpPr>
          <p:cNvPr id="35"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6"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9" name="Group 38"/>
          <p:cNvGrpSpPr/>
          <p:nvPr userDrawn="1"/>
        </p:nvGrpSpPr>
        <p:grpSpPr>
          <a:xfrm>
            <a:off x="338952" y="6409324"/>
            <a:ext cx="224082" cy="221156"/>
            <a:chOff x="4328868" y="5502988"/>
            <a:chExt cx="500307" cy="493774"/>
          </a:xfrm>
        </p:grpSpPr>
        <p:sp>
          <p:nvSpPr>
            <p:cNvPr id="52" name="Freeform 51">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53" name="Freeform 52">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54" name="Group 53"/>
          <p:cNvGrpSpPr/>
          <p:nvPr userDrawn="1"/>
        </p:nvGrpSpPr>
        <p:grpSpPr>
          <a:xfrm flipH="1">
            <a:off x="11637433" y="6409324"/>
            <a:ext cx="224082" cy="221156"/>
            <a:chOff x="4328868" y="5502988"/>
            <a:chExt cx="500307" cy="493774"/>
          </a:xfrm>
        </p:grpSpPr>
        <p:sp>
          <p:nvSpPr>
            <p:cNvPr id="55" name="Freeform 54">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56" name="Freeform 55">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1354829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 Message">
    <p:bg>
      <p:bgPr>
        <a:pattFill prst="smConfetti">
          <a:fgClr>
            <a:schemeClr val="accent1"/>
          </a:fgClr>
          <a:bgClr>
            <a:schemeClr val="accent1">
              <a:lumMod val="60000"/>
              <a:lumOff val="40000"/>
            </a:schemeClr>
          </a:bgClr>
        </a:pattFill>
        <a:effectLst/>
      </p:bgPr>
    </p:bg>
    <p:spTree>
      <p:nvGrpSpPr>
        <p:cNvPr id="1" name=""/>
        <p:cNvGrpSpPr/>
        <p:nvPr/>
      </p:nvGrpSpPr>
      <p:grpSpPr>
        <a:xfrm>
          <a:off x="0" y="0"/>
          <a:ext cx="0" cy="0"/>
          <a:chOff x="0" y="0"/>
          <a:chExt cx="0" cy="0"/>
        </a:xfrm>
      </p:grpSpPr>
      <p:grpSp>
        <p:nvGrpSpPr>
          <p:cNvPr id="3" name="Group 2"/>
          <p:cNvGrpSpPr/>
          <p:nvPr userDrawn="1"/>
        </p:nvGrpSpPr>
        <p:grpSpPr>
          <a:xfrm>
            <a:off x="6349" y="0"/>
            <a:ext cx="12181249" cy="6858000"/>
            <a:chOff x="6350" y="0"/>
            <a:chExt cx="7194550" cy="3600450"/>
          </a:xfrm>
          <a:gradFill flip="none" rotWithShape="1">
            <a:gsLst>
              <a:gs pos="100000">
                <a:schemeClr val="bg1">
                  <a:alpha val="15000"/>
                </a:schemeClr>
              </a:gs>
              <a:gs pos="0">
                <a:schemeClr val="bg1">
                  <a:alpha val="0"/>
                </a:schemeClr>
              </a:gs>
            </a:gsLst>
            <a:path path="circle">
              <a:fillToRect l="50000" t="50000" r="50000" b="50000"/>
            </a:path>
            <a:tileRect/>
          </a:gradFill>
        </p:grpSpPr>
        <p:sp>
          <p:nvSpPr>
            <p:cNvPr id="4"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p:cNvGrpSpPr/>
          <p:nvPr userDrawn="1"/>
        </p:nvGrpSpPr>
        <p:grpSpPr>
          <a:xfrm>
            <a:off x="601663" y="225425"/>
            <a:ext cx="10755313" cy="6632575"/>
            <a:chOff x="601663" y="225425"/>
            <a:chExt cx="10755313" cy="6632575"/>
          </a:xfrm>
        </p:grpSpPr>
        <p:sp>
          <p:nvSpPr>
            <p:cNvPr id="24" name="Freeform 23"/>
            <p:cNvSpPr>
              <a:spLocks/>
            </p:cNvSpPr>
            <p:nvPr/>
          </p:nvSpPr>
          <p:spPr bwMode="auto">
            <a:xfrm>
              <a:off x="601663" y="301625"/>
              <a:ext cx="10755313" cy="6556375"/>
            </a:xfrm>
            <a:custGeom>
              <a:avLst/>
              <a:gdLst>
                <a:gd name="T0" fmla="*/ 1174 w 3009"/>
                <a:gd name="T1" fmla="*/ 1833 h 1833"/>
                <a:gd name="T2" fmla="*/ 1270 w 3009"/>
                <a:gd name="T3" fmla="*/ 1826 h 1833"/>
                <a:gd name="T4" fmla="*/ 1675 w 3009"/>
                <a:gd name="T5" fmla="*/ 1594 h 1833"/>
                <a:gd name="T6" fmla="*/ 1997 w 3009"/>
                <a:gd name="T7" fmla="*/ 1748 h 1833"/>
                <a:gd name="T8" fmla="*/ 2071 w 3009"/>
                <a:gd name="T9" fmla="*/ 1741 h 1833"/>
                <a:gd name="T10" fmla="*/ 2352 w 3009"/>
                <a:gd name="T11" fmla="*/ 1474 h 1833"/>
                <a:gd name="T12" fmla="*/ 2512 w 3009"/>
                <a:gd name="T13" fmla="*/ 1492 h 1833"/>
                <a:gd name="T14" fmla="*/ 2932 w 3009"/>
                <a:gd name="T15" fmla="*/ 1262 h 1833"/>
                <a:gd name="T16" fmla="*/ 2921 w 3009"/>
                <a:gd name="T17" fmla="*/ 814 h 1833"/>
                <a:gd name="T18" fmla="*/ 2619 w 3009"/>
                <a:gd name="T19" fmla="*/ 620 h 1833"/>
                <a:gd name="T20" fmla="*/ 2584 w 3009"/>
                <a:gd name="T21" fmla="*/ 622 h 1833"/>
                <a:gd name="T22" fmla="*/ 2298 w 3009"/>
                <a:gd name="T23" fmla="*/ 409 h 1833"/>
                <a:gd name="T24" fmla="*/ 2209 w 3009"/>
                <a:gd name="T25" fmla="*/ 418 h 1833"/>
                <a:gd name="T26" fmla="*/ 1710 w 3009"/>
                <a:gd name="T27" fmla="*/ 0 h 1833"/>
                <a:gd name="T28" fmla="*/ 1682 w 3009"/>
                <a:gd name="T29" fmla="*/ 0 h 1833"/>
                <a:gd name="T30" fmla="*/ 1198 w 3009"/>
                <a:gd name="T31" fmla="*/ 254 h 1833"/>
                <a:gd name="T32" fmla="*/ 972 w 3009"/>
                <a:gd name="T33" fmla="*/ 208 h 1833"/>
                <a:gd name="T34" fmla="*/ 693 w 3009"/>
                <a:gd name="T35" fmla="*/ 311 h 1833"/>
                <a:gd name="T36" fmla="*/ 531 w 3009"/>
                <a:gd name="T37" fmla="*/ 680 h 1833"/>
                <a:gd name="T38" fmla="*/ 474 w 3009"/>
                <a:gd name="T39" fmla="*/ 677 h 1833"/>
                <a:gd name="T40" fmla="*/ 85 w 3009"/>
                <a:gd name="T41" fmla="*/ 848 h 1833"/>
                <a:gd name="T42" fmla="*/ 69 w 3009"/>
                <a:gd name="T43" fmla="*/ 1244 h 1833"/>
                <a:gd name="T44" fmla="*/ 350 w 3009"/>
                <a:gd name="T45" fmla="*/ 1449 h 1833"/>
                <a:gd name="T46" fmla="*/ 603 w 3009"/>
                <a:gd name="T47" fmla="*/ 1585 h 1833"/>
                <a:gd name="T48" fmla="*/ 735 w 3009"/>
                <a:gd name="T49" fmla="*/ 1564 h 1833"/>
                <a:gd name="T50" fmla="*/ 1174 w 3009"/>
                <a:gd name="T51" fmla="*/ 183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09" h="1833">
                  <a:moveTo>
                    <a:pt x="1174" y="1833"/>
                  </a:moveTo>
                  <a:cubicBezTo>
                    <a:pt x="1205" y="1833"/>
                    <a:pt x="1237" y="1831"/>
                    <a:pt x="1270" y="1826"/>
                  </a:cubicBezTo>
                  <a:cubicBezTo>
                    <a:pt x="1563" y="1783"/>
                    <a:pt x="1649" y="1663"/>
                    <a:pt x="1675" y="1594"/>
                  </a:cubicBezTo>
                  <a:cubicBezTo>
                    <a:pt x="1724" y="1650"/>
                    <a:pt x="1833" y="1748"/>
                    <a:pt x="1997" y="1748"/>
                  </a:cubicBezTo>
                  <a:cubicBezTo>
                    <a:pt x="2021" y="1748"/>
                    <a:pt x="2046" y="1746"/>
                    <a:pt x="2071" y="1741"/>
                  </a:cubicBezTo>
                  <a:cubicBezTo>
                    <a:pt x="2291" y="1703"/>
                    <a:pt x="2341" y="1539"/>
                    <a:pt x="2352" y="1474"/>
                  </a:cubicBezTo>
                  <a:cubicBezTo>
                    <a:pt x="2384" y="1481"/>
                    <a:pt x="2442" y="1492"/>
                    <a:pt x="2512" y="1492"/>
                  </a:cubicBezTo>
                  <a:cubicBezTo>
                    <a:pt x="2646" y="1492"/>
                    <a:pt x="2827" y="1452"/>
                    <a:pt x="2932" y="1262"/>
                  </a:cubicBezTo>
                  <a:cubicBezTo>
                    <a:pt x="3009" y="1123"/>
                    <a:pt x="3005" y="955"/>
                    <a:pt x="2921" y="814"/>
                  </a:cubicBezTo>
                  <a:cubicBezTo>
                    <a:pt x="2850" y="694"/>
                    <a:pt x="2734" y="620"/>
                    <a:pt x="2619" y="620"/>
                  </a:cubicBezTo>
                  <a:cubicBezTo>
                    <a:pt x="2607" y="620"/>
                    <a:pt x="2596" y="620"/>
                    <a:pt x="2584" y="622"/>
                  </a:cubicBezTo>
                  <a:cubicBezTo>
                    <a:pt x="2566" y="565"/>
                    <a:pt x="2499" y="409"/>
                    <a:pt x="2298" y="409"/>
                  </a:cubicBezTo>
                  <a:cubicBezTo>
                    <a:pt x="2270" y="409"/>
                    <a:pt x="2240" y="412"/>
                    <a:pt x="2209" y="418"/>
                  </a:cubicBezTo>
                  <a:cubicBezTo>
                    <a:pt x="2192" y="328"/>
                    <a:pt x="2104" y="13"/>
                    <a:pt x="1710" y="0"/>
                  </a:cubicBezTo>
                  <a:cubicBezTo>
                    <a:pt x="1700" y="0"/>
                    <a:pt x="1691" y="0"/>
                    <a:pt x="1682" y="0"/>
                  </a:cubicBezTo>
                  <a:cubicBezTo>
                    <a:pt x="1356" y="0"/>
                    <a:pt x="1231" y="189"/>
                    <a:pt x="1198" y="254"/>
                  </a:cubicBezTo>
                  <a:cubicBezTo>
                    <a:pt x="1160" y="238"/>
                    <a:pt x="1073" y="208"/>
                    <a:pt x="972" y="208"/>
                  </a:cubicBezTo>
                  <a:cubicBezTo>
                    <a:pt x="862" y="208"/>
                    <a:pt x="768" y="243"/>
                    <a:pt x="693" y="311"/>
                  </a:cubicBezTo>
                  <a:cubicBezTo>
                    <a:pt x="525" y="463"/>
                    <a:pt x="522" y="615"/>
                    <a:pt x="531" y="680"/>
                  </a:cubicBezTo>
                  <a:cubicBezTo>
                    <a:pt x="516" y="678"/>
                    <a:pt x="497" y="677"/>
                    <a:pt x="474" y="677"/>
                  </a:cubicBezTo>
                  <a:cubicBezTo>
                    <a:pt x="377" y="677"/>
                    <a:pt x="196" y="700"/>
                    <a:pt x="85" y="848"/>
                  </a:cubicBezTo>
                  <a:cubicBezTo>
                    <a:pt x="6" y="954"/>
                    <a:pt x="0" y="1106"/>
                    <a:pt x="69" y="1244"/>
                  </a:cubicBezTo>
                  <a:cubicBezTo>
                    <a:pt x="131" y="1368"/>
                    <a:pt x="238" y="1446"/>
                    <a:pt x="350" y="1449"/>
                  </a:cubicBezTo>
                  <a:cubicBezTo>
                    <a:pt x="371" y="1485"/>
                    <a:pt x="445" y="1585"/>
                    <a:pt x="603" y="1585"/>
                  </a:cubicBezTo>
                  <a:cubicBezTo>
                    <a:pt x="644" y="1585"/>
                    <a:pt x="689" y="1578"/>
                    <a:pt x="735" y="1564"/>
                  </a:cubicBezTo>
                  <a:cubicBezTo>
                    <a:pt x="767" y="1628"/>
                    <a:pt x="890" y="1833"/>
                    <a:pt x="1174" y="1833"/>
                  </a:cubicBezTo>
                  <a:close/>
                </a:path>
              </a:pathLst>
            </a:custGeom>
            <a:solidFill>
              <a:schemeClr val="bg1">
                <a:lumMod val="85000"/>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Freeform 5"/>
            <p:cNvSpPr>
              <a:spLocks/>
            </p:cNvSpPr>
            <p:nvPr/>
          </p:nvSpPr>
          <p:spPr bwMode="auto">
            <a:xfrm>
              <a:off x="601663" y="225425"/>
              <a:ext cx="10755313" cy="6556375"/>
            </a:xfrm>
            <a:custGeom>
              <a:avLst/>
              <a:gdLst>
                <a:gd name="T0" fmla="*/ 1174 w 3009"/>
                <a:gd name="T1" fmla="*/ 1833 h 1833"/>
                <a:gd name="T2" fmla="*/ 1270 w 3009"/>
                <a:gd name="T3" fmla="*/ 1826 h 1833"/>
                <a:gd name="T4" fmla="*/ 1675 w 3009"/>
                <a:gd name="T5" fmla="*/ 1594 h 1833"/>
                <a:gd name="T6" fmla="*/ 1997 w 3009"/>
                <a:gd name="T7" fmla="*/ 1748 h 1833"/>
                <a:gd name="T8" fmla="*/ 2071 w 3009"/>
                <a:gd name="T9" fmla="*/ 1741 h 1833"/>
                <a:gd name="T10" fmla="*/ 2352 w 3009"/>
                <a:gd name="T11" fmla="*/ 1474 h 1833"/>
                <a:gd name="T12" fmla="*/ 2512 w 3009"/>
                <a:gd name="T13" fmla="*/ 1492 h 1833"/>
                <a:gd name="T14" fmla="*/ 2932 w 3009"/>
                <a:gd name="T15" fmla="*/ 1262 h 1833"/>
                <a:gd name="T16" fmla="*/ 2921 w 3009"/>
                <a:gd name="T17" fmla="*/ 814 h 1833"/>
                <a:gd name="T18" fmla="*/ 2619 w 3009"/>
                <a:gd name="T19" fmla="*/ 620 h 1833"/>
                <a:gd name="T20" fmla="*/ 2584 w 3009"/>
                <a:gd name="T21" fmla="*/ 622 h 1833"/>
                <a:gd name="T22" fmla="*/ 2298 w 3009"/>
                <a:gd name="T23" fmla="*/ 409 h 1833"/>
                <a:gd name="T24" fmla="*/ 2209 w 3009"/>
                <a:gd name="T25" fmla="*/ 418 h 1833"/>
                <a:gd name="T26" fmla="*/ 1710 w 3009"/>
                <a:gd name="T27" fmla="*/ 0 h 1833"/>
                <a:gd name="T28" fmla="*/ 1682 w 3009"/>
                <a:gd name="T29" fmla="*/ 0 h 1833"/>
                <a:gd name="T30" fmla="*/ 1198 w 3009"/>
                <a:gd name="T31" fmla="*/ 254 h 1833"/>
                <a:gd name="T32" fmla="*/ 972 w 3009"/>
                <a:gd name="T33" fmla="*/ 208 h 1833"/>
                <a:gd name="T34" fmla="*/ 693 w 3009"/>
                <a:gd name="T35" fmla="*/ 311 h 1833"/>
                <a:gd name="T36" fmla="*/ 531 w 3009"/>
                <a:gd name="T37" fmla="*/ 680 h 1833"/>
                <a:gd name="T38" fmla="*/ 474 w 3009"/>
                <a:gd name="T39" fmla="*/ 677 h 1833"/>
                <a:gd name="T40" fmla="*/ 85 w 3009"/>
                <a:gd name="T41" fmla="*/ 848 h 1833"/>
                <a:gd name="T42" fmla="*/ 69 w 3009"/>
                <a:gd name="T43" fmla="*/ 1244 h 1833"/>
                <a:gd name="T44" fmla="*/ 350 w 3009"/>
                <a:gd name="T45" fmla="*/ 1449 h 1833"/>
                <a:gd name="T46" fmla="*/ 603 w 3009"/>
                <a:gd name="T47" fmla="*/ 1585 h 1833"/>
                <a:gd name="T48" fmla="*/ 735 w 3009"/>
                <a:gd name="T49" fmla="*/ 1564 h 1833"/>
                <a:gd name="T50" fmla="*/ 1174 w 3009"/>
                <a:gd name="T51" fmla="*/ 1833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09" h="1833">
                  <a:moveTo>
                    <a:pt x="1174" y="1833"/>
                  </a:moveTo>
                  <a:cubicBezTo>
                    <a:pt x="1205" y="1833"/>
                    <a:pt x="1237" y="1831"/>
                    <a:pt x="1270" y="1826"/>
                  </a:cubicBezTo>
                  <a:cubicBezTo>
                    <a:pt x="1563" y="1783"/>
                    <a:pt x="1649" y="1663"/>
                    <a:pt x="1675" y="1594"/>
                  </a:cubicBezTo>
                  <a:cubicBezTo>
                    <a:pt x="1724" y="1650"/>
                    <a:pt x="1833" y="1748"/>
                    <a:pt x="1997" y="1748"/>
                  </a:cubicBezTo>
                  <a:cubicBezTo>
                    <a:pt x="2021" y="1748"/>
                    <a:pt x="2046" y="1746"/>
                    <a:pt x="2071" y="1741"/>
                  </a:cubicBezTo>
                  <a:cubicBezTo>
                    <a:pt x="2291" y="1703"/>
                    <a:pt x="2341" y="1539"/>
                    <a:pt x="2352" y="1474"/>
                  </a:cubicBezTo>
                  <a:cubicBezTo>
                    <a:pt x="2384" y="1481"/>
                    <a:pt x="2442" y="1492"/>
                    <a:pt x="2512" y="1492"/>
                  </a:cubicBezTo>
                  <a:cubicBezTo>
                    <a:pt x="2646" y="1492"/>
                    <a:pt x="2827" y="1452"/>
                    <a:pt x="2932" y="1262"/>
                  </a:cubicBezTo>
                  <a:cubicBezTo>
                    <a:pt x="3009" y="1123"/>
                    <a:pt x="3005" y="955"/>
                    <a:pt x="2921" y="814"/>
                  </a:cubicBezTo>
                  <a:cubicBezTo>
                    <a:pt x="2850" y="694"/>
                    <a:pt x="2734" y="620"/>
                    <a:pt x="2619" y="620"/>
                  </a:cubicBezTo>
                  <a:cubicBezTo>
                    <a:pt x="2607" y="620"/>
                    <a:pt x="2596" y="620"/>
                    <a:pt x="2584" y="622"/>
                  </a:cubicBezTo>
                  <a:cubicBezTo>
                    <a:pt x="2566" y="565"/>
                    <a:pt x="2499" y="409"/>
                    <a:pt x="2298" y="409"/>
                  </a:cubicBezTo>
                  <a:cubicBezTo>
                    <a:pt x="2270" y="409"/>
                    <a:pt x="2240" y="412"/>
                    <a:pt x="2209" y="418"/>
                  </a:cubicBezTo>
                  <a:cubicBezTo>
                    <a:pt x="2192" y="328"/>
                    <a:pt x="2104" y="13"/>
                    <a:pt x="1710" y="0"/>
                  </a:cubicBezTo>
                  <a:cubicBezTo>
                    <a:pt x="1700" y="0"/>
                    <a:pt x="1691" y="0"/>
                    <a:pt x="1682" y="0"/>
                  </a:cubicBezTo>
                  <a:cubicBezTo>
                    <a:pt x="1356" y="0"/>
                    <a:pt x="1231" y="189"/>
                    <a:pt x="1198" y="254"/>
                  </a:cubicBezTo>
                  <a:cubicBezTo>
                    <a:pt x="1160" y="238"/>
                    <a:pt x="1073" y="208"/>
                    <a:pt x="972" y="208"/>
                  </a:cubicBezTo>
                  <a:cubicBezTo>
                    <a:pt x="862" y="208"/>
                    <a:pt x="768" y="243"/>
                    <a:pt x="693" y="311"/>
                  </a:cubicBezTo>
                  <a:cubicBezTo>
                    <a:pt x="525" y="463"/>
                    <a:pt x="522" y="615"/>
                    <a:pt x="531" y="680"/>
                  </a:cubicBezTo>
                  <a:cubicBezTo>
                    <a:pt x="516" y="678"/>
                    <a:pt x="497" y="677"/>
                    <a:pt x="474" y="677"/>
                  </a:cubicBezTo>
                  <a:cubicBezTo>
                    <a:pt x="377" y="677"/>
                    <a:pt x="196" y="700"/>
                    <a:pt x="85" y="848"/>
                  </a:cubicBezTo>
                  <a:cubicBezTo>
                    <a:pt x="6" y="954"/>
                    <a:pt x="0" y="1106"/>
                    <a:pt x="69" y="1244"/>
                  </a:cubicBezTo>
                  <a:cubicBezTo>
                    <a:pt x="131" y="1368"/>
                    <a:pt x="238" y="1446"/>
                    <a:pt x="350" y="1449"/>
                  </a:cubicBezTo>
                  <a:cubicBezTo>
                    <a:pt x="371" y="1485"/>
                    <a:pt x="445" y="1585"/>
                    <a:pt x="603" y="1585"/>
                  </a:cubicBezTo>
                  <a:cubicBezTo>
                    <a:pt x="644" y="1585"/>
                    <a:pt x="689" y="1578"/>
                    <a:pt x="735" y="1564"/>
                  </a:cubicBezTo>
                  <a:cubicBezTo>
                    <a:pt x="767" y="1628"/>
                    <a:pt x="890" y="1833"/>
                    <a:pt x="1174" y="1833"/>
                  </a:cubicBezTo>
                  <a:close/>
                </a:path>
              </a:pathLst>
            </a:custGeom>
            <a:solidFill>
              <a:schemeClr val="bg1"/>
            </a:solidFill>
            <a:ln w="44450">
              <a:noFill/>
            </a:ln>
          </p:spPr>
          <p:txBody>
            <a:bodyPr vert="horz" wrap="square" lIns="91440" tIns="45720" rIns="91440" bIns="45720" numCol="1" anchor="t" anchorCtr="0" compatLnSpc="1">
              <a:prstTxWarp prst="textNoShape">
                <a:avLst/>
              </a:prstTxWarp>
            </a:bodyPr>
            <a:lstStyle/>
            <a:p>
              <a:endParaRPr lang="id-ID"/>
            </a:p>
          </p:txBody>
        </p:sp>
      </p:grpSp>
      <p:sp>
        <p:nvSpPr>
          <p:cNvPr id="10" name="Picture Placeholder 9"/>
          <p:cNvSpPr>
            <a:spLocks noGrp="1"/>
          </p:cNvSpPr>
          <p:nvPr>
            <p:ph type="pic" sz="quarter" idx="10"/>
          </p:nvPr>
        </p:nvSpPr>
        <p:spPr>
          <a:xfrm>
            <a:off x="5021263" y="1289729"/>
            <a:ext cx="2215470" cy="2215471"/>
          </a:xfrm>
          <a:prstGeom prst="ellipse">
            <a:avLst/>
          </a:prstGeom>
          <a:ln w="28575">
            <a:solidFill>
              <a:schemeClr val="accent1"/>
            </a:solidFill>
          </a:ln>
        </p:spPr>
        <p:txBody>
          <a:bodyPr>
            <a:normAutofit/>
          </a:bodyPr>
          <a:lstStyle>
            <a:lvl1pPr>
              <a:defRPr sz="1050"/>
            </a:lvl1pPr>
          </a:lstStyle>
          <a:p>
            <a:endParaRPr lang="id-ID" dirty="0"/>
          </a:p>
        </p:txBody>
      </p:sp>
      <p:sp>
        <p:nvSpPr>
          <p:cNvPr id="27" name="Text Placeholder 26"/>
          <p:cNvSpPr>
            <a:spLocks noGrp="1"/>
          </p:cNvSpPr>
          <p:nvPr>
            <p:ph type="body" sz="quarter" idx="11"/>
          </p:nvPr>
        </p:nvSpPr>
        <p:spPr>
          <a:xfrm>
            <a:off x="3233123" y="3882685"/>
            <a:ext cx="5727700" cy="1544637"/>
          </a:xfrm>
        </p:spPr>
        <p:txBody>
          <a:bodyPr/>
          <a:lstStyle>
            <a:lvl1pPr algn="ctr">
              <a:defRPr/>
            </a:lvl1pPr>
            <a:lvl2pPr marL="457200" indent="0" algn="ctr">
              <a:buNone/>
              <a:defRPr/>
            </a:lvl2pPr>
          </a:lstStyle>
          <a:p>
            <a:pPr lvl="0"/>
            <a:r>
              <a:rPr lang="en-US" dirty="0"/>
              <a:t>Click to edit Master text styles</a:t>
            </a:r>
          </a:p>
          <a:p>
            <a:pPr lvl="1"/>
            <a:endParaRPr lang="id-ID" dirty="0"/>
          </a:p>
        </p:txBody>
      </p:sp>
      <p:sp>
        <p:nvSpPr>
          <p:cNvPr id="28"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29" name="Slide Number Placeholder 5"/>
          <p:cNvSpPr>
            <a:spLocks noGrp="1"/>
          </p:cNvSpPr>
          <p:nvPr>
            <p:ph type="sldNum" sz="quarter" idx="12"/>
          </p:nvPr>
        </p:nvSpPr>
        <p:spPr>
          <a:xfrm>
            <a:off x="11407776" y="326491"/>
            <a:ext cx="415312" cy="365125"/>
          </a:xfrm>
        </p:spPr>
        <p:txBody>
          <a:bodyPr/>
          <a:lstStyle>
            <a:lvl1pPr algn="ctr">
              <a:defRPr/>
            </a:lvl1pPr>
          </a:lstStyle>
          <a:p>
            <a:fld id="{0A4E97F8-F2EB-4E84-BA61-217D6A6B81BD}" type="slidenum">
              <a:rPr lang="id-ID" smtClean="0"/>
              <a:pPr/>
              <a:t>‹N°›</a:t>
            </a:fld>
            <a:endParaRPr lang="id-ID"/>
          </a:p>
        </p:txBody>
      </p:sp>
    </p:spTree>
    <p:extLst>
      <p:ext uri="{BB962C8B-B14F-4D97-AF65-F5344CB8AC3E}">
        <p14:creationId xmlns:p14="http://schemas.microsoft.com/office/powerpoint/2010/main" val="913812145"/>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Meet The Team 9 Picture">
    <p:spTree>
      <p:nvGrpSpPr>
        <p:cNvPr id="1" name=""/>
        <p:cNvGrpSpPr/>
        <p:nvPr/>
      </p:nvGrpSpPr>
      <p:grpSpPr>
        <a:xfrm>
          <a:off x="0" y="0"/>
          <a:ext cx="0" cy="0"/>
          <a:chOff x="0" y="0"/>
          <a:chExt cx="0" cy="0"/>
        </a:xfrm>
      </p:grpSpPr>
      <p:sp>
        <p:nvSpPr>
          <p:cNvPr id="25" name="Freeform 34"/>
          <p:cNvSpPr>
            <a:spLocks/>
          </p:cNvSpPr>
          <p:nvPr userDrawn="1"/>
        </p:nvSpPr>
        <p:spPr bwMode="auto">
          <a:xfrm>
            <a:off x="10956548" y="1183384"/>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1903813" y="800877"/>
            <a:ext cx="745387" cy="438862"/>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44" name="Picture Placeholder 2"/>
          <p:cNvSpPr>
            <a:spLocks noGrp="1"/>
          </p:cNvSpPr>
          <p:nvPr>
            <p:ph type="pic" sz="quarter" idx="14"/>
          </p:nvPr>
        </p:nvSpPr>
        <p:spPr>
          <a:xfrm>
            <a:off x="1304066" y="2104828"/>
            <a:ext cx="1692000" cy="1692000"/>
          </a:xfrm>
          <a:prstGeom prst="rect">
            <a:avLst/>
          </a:prstGeom>
        </p:spPr>
        <p:txBody>
          <a:bodyPr>
            <a:normAutofit/>
          </a:bodyPr>
          <a:lstStyle>
            <a:lvl1pPr>
              <a:defRPr sz="1600"/>
            </a:lvl1pPr>
          </a:lstStyle>
          <a:p>
            <a:endParaRPr lang="id-ID" dirty="0"/>
          </a:p>
        </p:txBody>
      </p:sp>
      <p:sp>
        <p:nvSpPr>
          <p:cNvPr id="45" name="Picture Placeholder 2"/>
          <p:cNvSpPr>
            <a:spLocks noGrp="1"/>
          </p:cNvSpPr>
          <p:nvPr>
            <p:ph type="pic" sz="quarter" idx="15"/>
          </p:nvPr>
        </p:nvSpPr>
        <p:spPr>
          <a:xfrm>
            <a:off x="3890510" y="2104828"/>
            <a:ext cx="1692000" cy="1692000"/>
          </a:xfrm>
          <a:prstGeom prst="rect">
            <a:avLst/>
          </a:prstGeom>
        </p:spPr>
        <p:txBody>
          <a:bodyPr>
            <a:normAutofit/>
          </a:bodyPr>
          <a:lstStyle>
            <a:lvl1pPr>
              <a:defRPr sz="1600"/>
            </a:lvl1pPr>
          </a:lstStyle>
          <a:p>
            <a:endParaRPr lang="id-ID" dirty="0"/>
          </a:p>
        </p:txBody>
      </p:sp>
      <p:sp>
        <p:nvSpPr>
          <p:cNvPr id="46" name="Picture Placeholder 2"/>
          <p:cNvSpPr>
            <a:spLocks noGrp="1"/>
          </p:cNvSpPr>
          <p:nvPr>
            <p:ph type="pic" sz="quarter" idx="16"/>
          </p:nvPr>
        </p:nvSpPr>
        <p:spPr>
          <a:xfrm>
            <a:off x="6631035" y="2104828"/>
            <a:ext cx="1692000" cy="1692000"/>
          </a:xfrm>
          <a:prstGeom prst="rect">
            <a:avLst/>
          </a:prstGeom>
        </p:spPr>
        <p:txBody>
          <a:bodyPr>
            <a:normAutofit/>
          </a:bodyPr>
          <a:lstStyle>
            <a:lvl1pPr>
              <a:defRPr sz="1600"/>
            </a:lvl1pPr>
          </a:lstStyle>
          <a:p>
            <a:endParaRPr lang="id-ID" dirty="0"/>
          </a:p>
        </p:txBody>
      </p:sp>
      <p:sp>
        <p:nvSpPr>
          <p:cNvPr id="47" name="Picture Placeholder 2"/>
          <p:cNvSpPr>
            <a:spLocks noGrp="1"/>
          </p:cNvSpPr>
          <p:nvPr>
            <p:ph type="pic" sz="quarter" idx="17"/>
          </p:nvPr>
        </p:nvSpPr>
        <p:spPr>
          <a:xfrm>
            <a:off x="9216377" y="2104828"/>
            <a:ext cx="1692000" cy="1692000"/>
          </a:xfrm>
          <a:prstGeom prst="rect">
            <a:avLst/>
          </a:prstGeom>
        </p:spPr>
        <p:txBody>
          <a:bodyPr>
            <a:normAutofit/>
          </a:bodyPr>
          <a:lstStyle>
            <a:lvl1pPr>
              <a:defRPr sz="1600"/>
            </a:lvl1pPr>
          </a:lstStyle>
          <a:p>
            <a:endParaRPr lang="id-ID" dirty="0"/>
          </a:p>
        </p:txBody>
      </p:sp>
      <p:sp>
        <p:nvSpPr>
          <p:cNvPr id="48" name="Picture Placeholder 2"/>
          <p:cNvSpPr>
            <a:spLocks noGrp="1"/>
          </p:cNvSpPr>
          <p:nvPr>
            <p:ph type="pic" sz="quarter" idx="18"/>
          </p:nvPr>
        </p:nvSpPr>
        <p:spPr>
          <a:xfrm>
            <a:off x="1304066" y="4303322"/>
            <a:ext cx="1692000" cy="1692000"/>
          </a:xfrm>
          <a:prstGeom prst="rect">
            <a:avLst/>
          </a:prstGeom>
        </p:spPr>
        <p:txBody>
          <a:bodyPr>
            <a:normAutofit/>
          </a:bodyPr>
          <a:lstStyle>
            <a:lvl1pPr>
              <a:defRPr sz="1600"/>
            </a:lvl1pPr>
          </a:lstStyle>
          <a:p>
            <a:endParaRPr lang="id-ID" dirty="0"/>
          </a:p>
        </p:txBody>
      </p:sp>
      <p:sp>
        <p:nvSpPr>
          <p:cNvPr id="49" name="Picture Placeholder 2"/>
          <p:cNvSpPr>
            <a:spLocks noGrp="1"/>
          </p:cNvSpPr>
          <p:nvPr>
            <p:ph type="pic" sz="quarter" idx="19"/>
          </p:nvPr>
        </p:nvSpPr>
        <p:spPr>
          <a:xfrm>
            <a:off x="3890510" y="4303322"/>
            <a:ext cx="1692000" cy="1692000"/>
          </a:xfrm>
          <a:prstGeom prst="rect">
            <a:avLst/>
          </a:prstGeom>
        </p:spPr>
        <p:txBody>
          <a:bodyPr>
            <a:normAutofit/>
          </a:bodyPr>
          <a:lstStyle>
            <a:lvl1pPr>
              <a:defRPr sz="1600"/>
            </a:lvl1pPr>
          </a:lstStyle>
          <a:p>
            <a:endParaRPr lang="id-ID" dirty="0"/>
          </a:p>
        </p:txBody>
      </p:sp>
      <p:sp>
        <p:nvSpPr>
          <p:cNvPr id="50" name="Picture Placeholder 2"/>
          <p:cNvSpPr>
            <a:spLocks noGrp="1"/>
          </p:cNvSpPr>
          <p:nvPr>
            <p:ph type="pic" sz="quarter" idx="20"/>
          </p:nvPr>
        </p:nvSpPr>
        <p:spPr>
          <a:xfrm>
            <a:off x="6631035" y="4303322"/>
            <a:ext cx="1692000" cy="1692000"/>
          </a:xfrm>
          <a:prstGeom prst="rect">
            <a:avLst/>
          </a:prstGeom>
        </p:spPr>
        <p:txBody>
          <a:bodyPr>
            <a:normAutofit/>
          </a:bodyPr>
          <a:lstStyle>
            <a:lvl1pPr>
              <a:defRPr sz="1600"/>
            </a:lvl1pPr>
          </a:lstStyle>
          <a:p>
            <a:endParaRPr lang="id-ID" dirty="0"/>
          </a:p>
        </p:txBody>
      </p:sp>
      <p:sp>
        <p:nvSpPr>
          <p:cNvPr id="51" name="Picture Placeholder 2"/>
          <p:cNvSpPr>
            <a:spLocks noGrp="1"/>
          </p:cNvSpPr>
          <p:nvPr>
            <p:ph type="pic" sz="quarter" idx="21"/>
          </p:nvPr>
        </p:nvSpPr>
        <p:spPr>
          <a:xfrm>
            <a:off x="9216377" y="4303322"/>
            <a:ext cx="1692000" cy="1692000"/>
          </a:xfrm>
          <a:prstGeom prst="rect">
            <a:avLst/>
          </a:prstGeom>
        </p:spPr>
        <p:txBody>
          <a:bodyPr>
            <a:normAutofit/>
          </a:bodyPr>
          <a:lstStyle>
            <a:lvl1pPr>
              <a:defRPr sz="1600"/>
            </a:lvl1pPr>
          </a:lstStyle>
          <a:p>
            <a:endParaRPr lang="id-ID" dirty="0"/>
          </a:p>
        </p:txBody>
      </p:sp>
      <p:grpSp>
        <p:nvGrpSpPr>
          <p:cNvPr id="57" name="Group 56"/>
          <p:cNvGrpSpPr/>
          <p:nvPr userDrawn="1"/>
        </p:nvGrpSpPr>
        <p:grpSpPr>
          <a:xfrm flipH="1">
            <a:off x="11637433" y="6409324"/>
            <a:ext cx="224082" cy="221156"/>
            <a:chOff x="4328868" y="5502988"/>
            <a:chExt cx="500307" cy="493774"/>
          </a:xfrm>
        </p:grpSpPr>
        <p:sp>
          <p:nvSpPr>
            <p:cNvPr id="58" name="Freeform 5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59" name="Freeform 5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60" name="Group 59"/>
          <p:cNvGrpSpPr/>
          <p:nvPr userDrawn="1"/>
        </p:nvGrpSpPr>
        <p:grpSpPr>
          <a:xfrm>
            <a:off x="338952" y="6409324"/>
            <a:ext cx="224082" cy="221156"/>
            <a:chOff x="4328868" y="5502988"/>
            <a:chExt cx="500307" cy="493774"/>
          </a:xfrm>
        </p:grpSpPr>
        <p:sp>
          <p:nvSpPr>
            <p:cNvPr id="61" name="Freeform 60">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62" name="Freeform 61">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900015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eet The Team 4 Picture">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15" name="Picture Placeholder 2"/>
          <p:cNvSpPr>
            <a:spLocks noGrp="1"/>
          </p:cNvSpPr>
          <p:nvPr>
            <p:ph type="pic" sz="quarter" idx="14"/>
          </p:nvPr>
        </p:nvSpPr>
        <p:spPr>
          <a:xfrm>
            <a:off x="1036136" y="4231428"/>
            <a:ext cx="1800000" cy="1800000"/>
          </a:xfrm>
          <a:prstGeom prst="ellipse">
            <a:avLst/>
          </a:prstGeom>
        </p:spPr>
        <p:txBody>
          <a:bodyPr>
            <a:normAutofit/>
          </a:bodyPr>
          <a:lstStyle>
            <a:lvl1pPr>
              <a:defRPr sz="1600"/>
            </a:lvl1pPr>
          </a:lstStyle>
          <a:p>
            <a:endParaRPr lang="id-ID"/>
          </a:p>
        </p:txBody>
      </p:sp>
      <p:sp>
        <p:nvSpPr>
          <p:cNvPr id="16" name="Picture Placeholder 2"/>
          <p:cNvSpPr>
            <a:spLocks noGrp="1"/>
          </p:cNvSpPr>
          <p:nvPr>
            <p:ph type="pic" sz="quarter" idx="15"/>
          </p:nvPr>
        </p:nvSpPr>
        <p:spPr>
          <a:xfrm>
            <a:off x="6493605" y="1980598"/>
            <a:ext cx="1800000" cy="1800000"/>
          </a:xfrm>
          <a:prstGeom prst="ellipse">
            <a:avLst/>
          </a:prstGeom>
        </p:spPr>
        <p:txBody>
          <a:bodyPr>
            <a:normAutofit/>
          </a:bodyPr>
          <a:lstStyle>
            <a:lvl1pPr>
              <a:defRPr sz="1600"/>
            </a:lvl1pPr>
          </a:lstStyle>
          <a:p>
            <a:endParaRPr lang="id-ID"/>
          </a:p>
        </p:txBody>
      </p:sp>
      <p:sp>
        <p:nvSpPr>
          <p:cNvPr id="28" name="Picture Placeholder 2"/>
          <p:cNvSpPr>
            <a:spLocks noGrp="1"/>
          </p:cNvSpPr>
          <p:nvPr>
            <p:ph type="pic" sz="quarter" idx="16"/>
          </p:nvPr>
        </p:nvSpPr>
        <p:spPr>
          <a:xfrm>
            <a:off x="6493605" y="4276269"/>
            <a:ext cx="1800000" cy="1800000"/>
          </a:xfrm>
          <a:prstGeom prst="ellipse">
            <a:avLst/>
          </a:prstGeom>
        </p:spPr>
        <p:txBody>
          <a:bodyPr>
            <a:normAutofit/>
          </a:bodyPr>
          <a:lstStyle>
            <a:lvl1pPr>
              <a:defRPr sz="1600"/>
            </a:lvl1pPr>
          </a:lstStyle>
          <a:p>
            <a:endParaRPr lang="id-ID"/>
          </a:p>
        </p:txBody>
      </p:sp>
      <p:sp>
        <p:nvSpPr>
          <p:cNvPr id="29" name="Picture Placeholder 2"/>
          <p:cNvSpPr>
            <a:spLocks noGrp="1"/>
          </p:cNvSpPr>
          <p:nvPr>
            <p:ph type="pic" sz="quarter" idx="17"/>
          </p:nvPr>
        </p:nvSpPr>
        <p:spPr>
          <a:xfrm>
            <a:off x="1036136" y="1980598"/>
            <a:ext cx="1800000" cy="1800000"/>
          </a:xfrm>
          <a:prstGeom prst="ellipse">
            <a:avLst/>
          </a:prstGeom>
        </p:spPr>
        <p:txBody>
          <a:bodyPr>
            <a:normAutofit/>
          </a:bodyPr>
          <a:lstStyle>
            <a:lvl1pPr>
              <a:defRPr sz="1600"/>
            </a:lvl1pPr>
          </a:lstStyle>
          <a:p>
            <a:endParaRPr lang="id-ID"/>
          </a:p>
        </p:txBody>
      </p:sp>
      <p:sp>
        <p:nvSpPr>
          <p:cNvPr id="30"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4" name="Group 33"/>
          <p:cNvGrpSpPr/>
          <p:nvPr userDrawn="1"/>
        </p:nvGrpSpPr>
        <p:grpSpPr>
          <a:xfrm>
            <a:off x="338952" y="6409324"/>
            <a:ext cx="224082" cy="221156"/>
            <a:chOff x="4328868" y="5502988"/>
            <a:chExt cx="500307" cy="493774"/>
          </a:xfrm>
        </p:grpSpPr>
        <p:sp>
          <p:nvSpPr>
            <p:cNvPr id="35" name="Freeform 34">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36" name="Freeform 35">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37" name="Group 36"/>
          <p:cNvGrpSpPr/>
          <p:nvPr userDrawn="1"/>
        </p:nvGrpSpPr>
        <p:grpSpPr>
          <a:xfrm flipH="1">
            <a:off x="11637433" y="6409324"/>
            <a:ext cx="224082" cy="221156"/>
            <a:chOff x="4328868" y="5502988"/>
            <a:chExt cx="500307" cy="493774"/>
          </a:xfrm>
        </p:grpSpPr>
        <p:sp>
          <p:nvSpPr>
            <p:cNvPr id="38" name="Freeform 37">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39" name="Freeform 38">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879809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eet The Team 4 Picture Square">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0" name="Picture Placeholder 9"/>
          <p:cNvSpPr>
            <a:spLocks noGrp="1"/>
          </p:cNvSpPr>
          <p:nvPr>
            <p:ph type="pic" sz="quarter" idx="12"/>
          </p:nvPr>
        </p:nvSpPr>
        <p:spPr>
          <a:xfrm>
            <a:off x="942975" y="1938338"/>
            <a:ext cx="1800225" cy="1800225"/>
          </a:xfrm>
          <a:prstGeom prst="rect">
            <a:avLst/>
          </a:prstGeom>
        </p:spPr>
        <p:txBody>
          <a:bodyPr/>
          <a:lstStyle>
            <a:lvl1pPr>
              <a:defRPr sz="1600"/>
            </a:lvl1pPr>
          </a:lstStyle>
          <a:p>
            <a:endParaRPr lang="id-ID"/>
          </a:p>
        </p:txBody>
      </p:sp>
      <p:sp>
        <p:nvSpPr>
          <p:cNvPr id="31" name="Picture Placeholder 9"/>
          <p:cNvSpPr>
            <a:spLocks noGrp="1"/>
          </p:cNvSpPr>
          <p:nvPr>
            <p:ph type="pic" sz="quarter" idx="14"/>
          </p:nvPr>
        </p:nvSpPr>
        <p:spPr>
          <a:xfrm>
            <a:off x="942975" y="4138613"/>
            <a:ext cx="1800225" cy="1800225"/>
          </a:xfrm>
          <a:prstGeom prst="rect">
            <a:avLst/>
          </a:prstGeom>
        </p:spPr>
        <p:txBody>
          <a:bodyPr/>
          <a:lstStyle>
            <a:lvl1pPr>
              <a:defRPr sz="1600"/>
            </a:lvl1pPr>
          </a:lstStyle>
          <a:p>
            <a:endParaRPr lang="id-ID"/>
          </a:p>
        </p:txBody>
      </p:sp>
      <p:sp>
        <p:nvSpPr>
          <p:cNvPr id="32" name="Picture Placeholder 9"/>
          <p:cNvSpPr>
            <a:spLocks noGrp="1"/>
          </p:cNvSpPr>
          <p:nvPr>
            <p:ph type="pic" sz="quarter" idx="15"/>
          </p:nvPr>
        </p:nvSpPr>
        <p:spPr>
          <a:xfrm>
            <a:off x="6429375" y="1938338"/>
            <a:ext cx="1800225" cy="1800225"/>
          </a:xfrm>
          <a:prstGeom prst="rect">
            <a:avLst/>
          </a:prstGeom>
        </p:spPr>
        <p:txBody>
          <a:bodyPr/>
          <a:lstStyle>
            <a:lvl1pPr>
              <a:defRPr sz="1600"/>
            </a:lvl1pPr>
          </a:lstStyle>
          <a:p>
            <a:endParaRPr lang="id-ID"/>
          </a:p>
        </p:txBody>
      </p:sp>
      <p:sp>
        <p:nvSpPr>
          <p:cNvPr id="33" name="Picture Placeholder 9"/>
          <p:cNvSpPr>
            <a:spLocks noGrp="1"/>
          </p:cNvSpPr>
          <p:nvPr>
            <p:ph type="pic" sz="quarter" idx="16"/>
          </p:nvPr>
        </p:nvSpPr>
        <p:spPr>
          <a:xfrm>
            <a:off x="6429375" y="4138613"/>
            <a:ext cx="1800225" cy="1800225"/>
          </a:xfrm>
          <a:prstGeom prst="rect">
            <a:avLst/>
          </a:prstGeom>
        </p:spPr>
        <p:txBody>
          <a:bodyPr/>
          <a:lstStyle>
            <a:lvl1pPr>
              <a:defRPr sz="1600"/>
            </a:lvl1pPr>
          </a:lstStyle>
          <a:p>
            <a:endParaRPr lang="id-ID"/>
          </a:p>
        </p:txBody>
      </p:sp>
      <p:grpSp>
        <p:nvGrpSpPr>
          <p:cNvPr id="16" name="Group 15"/>
          <p:cNvGrpSpPr/>
          <p:nvPr userDrawn="1"/>
        </p:nvGrpSpPr>
        <p:grpSpPr>
          <a:xfrm>
            <a:off x="338952" y="6409324"/>
            <a:ext cx="224082" cy="221156"/>
            <a:chOff x="4328868" y="5502988"/>
            <a:chExt cx="500307" cy="493774"/>
          </a:xfrm>
        </p:grpSpPr>
        <p:sp>
          <p:nvSpPr>
            <p:cNvPr id="17" name="Freeform 16">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8" name="Freeform 17">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2944444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eet The Team 4 Picture V2">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0" name="Picture Placeholder 2"/>
          <p:cNvSpPr>
            <a:spLocks noGrp="1"/>
          </p:cNvSpPr>
          <p:nvPr>
            <p:ph type="pic" sz="quarter" idx="14"/>
          </p:nvPr>
        </p:nvSpPr>
        <p:spPr>
          <a:xfrm>
            <a:off x="3911347" y="2012946"/>
            <a:ext cx="1620000" cy="1620000"/>
          </a:xfrm>
          <a:prstGeom prst="ellipse">
            <a:avLst/>
          </a:prstGeom>
        </p:spPr>
        <p:txBody>
          <a:bodyPr>
            <a:normAutofit/>
          </a:bodyPr>
          <a:lstStyle>
            <a:lvl1pPr>
              <a:defRPr sz="1600"/>
            </a:lvl1pPr>
          </a:lstStyle>
          <a:p>
            <a:endParaRPr lang="id-ID"/>
          </a:p>
        </p:txBody>
      </p:sp>
      <p:sp>
        <p:nvSpPr>
          <p:cNvPr id="31" name="Picture Placeholder 2"/>
          <p:cNvSpPr>
            <a:spLocks noGrp="1"/>
          </p:cNvSpPr>
          <p:nvPr>
            <p:ph type="pic" sz="quarter" idx="15"/>
          </p:nvPr>
        </p:nvSpPr>
        <p:spPr>
          <a:xfrm>
            <a:off x="6641030" y="2012946"/>
            <a:ext cx="1620000" cy="1620000"/>
          </a:xfrm>
          <a:prstGeom prst="ellipse">
            <a:avLst/>
          </a:prstGeom>
        </p:spPr>
        <p:txBody>
          <a:bodyPr>
            <a:normAutofit/>
          </a:bodyPr>
          <a:lstStyle>
            <a:lvl1pPr>
              <a:defRPr sz="1600"/>
            </a:lvl1pPr>
          </a:lstStyle>
          <a:p>
            <a:endParaRPr lang="id-ID"/>
          </a:p>
        </p:txBody>
      </p:sp>
      <p:sp>
        <p:nvSpPr>
          <p:cNvPr id="32" name="Picture Placeholder 2"/>
          <p:cNvSpPr>
            <a:spLocks noGrp="1"/>
          </p:cNvSpPr>
          <p:nvPr>
            <p:ph type="pic" sz="quarter" idx="16"/>
          </p:nvPr>
        </p:nvSpPr>
        <p:spPr>
          <a:xfrm>
            <a:off x="9349431" y="2012946"/>
            <a:ext cx="1620000" cy="1620000"/>
          </a:xfrm>
          <a:prstGeom prst="ellipse">
            <a:avLst/>
          </a:prstGeom>
        </p:spPr>
        <p:txBody>
          <a:bodyPr>
            <a:normAutofit/>
          </a:bodyPr>
          <a:lstStyle>
            <a:lvl1pPr>
              <a:defRPr sz="1600"/>
            </a:lvl1pPr>
          </a:lstStyle>
          <a:p>
            <a:endParaRPr lang="id-ID"/>
          </a:p>
        </p:txBody>
      </p:sp>
      <p:sp>
        <p:nvSpPr>
          <p:cNvPr id="33" name="Picture Placeholder 2"/>
          <p:cNvSpPr>
            <a:spLocks noGrp="1"/>
          </p:cNvSpPr>
          <p:nvPr>
            <p:ph type="pic" sz="quarter" idx="17"/>
          </p:nvPr>
        </p:nvSpPr>
        <p:spPr>
          <a:xfrm>
            <a:off x="1282176" y="2012946"/>
            <a:ext cx="1620000" cy="1620000"/>
          </a:xfrm>
          <a:prstGeom prst="ellipse">
            <a:avLst/>
          </a:prstGeom>
        </p:spPr>
        <p:txBody>
          <a:bodyPr>
            <a:normAutofit/>
          </a:bodyPr>
          <a:lstStyle>
            <a:lvl1pPr>
              <a:defRPr sz="1600"/>
            </a:lvl1pPr>
          </a:lstStyle>
          <a:p>
            <a:endParaRPr lang="id-ID"/>
          </a:p>
        </p:txBody>
      </p:sp>
    </p:spTree>
    <p:extLst>
      <p:ext uri="{BB962C8B-B14F-4D97-AF65-F5344CB8AC3E}">
        <p14:creationId xmlns:p14="http://schemas.microsoft.com/office/powerpoint/2010/main" val="2117612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ofile Page">
    <p:spTree>
      <p:nvGrpSpPr>
        <p:cNvPr id="1" name=""/>
        <p:cNvGrpSpPr/>
        <p:nvPr/>
      </p:nvGrpSpPr>
      <p:grpSpPr>
        <a:xfrm>
          <a:off x="0" y="0"/>
          <a:ext cx="0" cy="0"/>
          <a:chOff x="0" y="0"/>
          <a:chExt cx="0" cy="0"/>
        </a:xfrm>
      </p:grpSpPr>
      <p:sp>
        <p:nvSpPr>
          <p:cNvPr id="25" name="Freeform 34"/>
          <p:cNvSpPr>
            <a:spLocks/>
          </p:cNvSpPr>
          <p:nvPr userDrawn="1"/>
        </p:nvSpPr>
        <p:spPr bwMode="auto">
          <a:xfrm>
            <a:off x="11723287" y="1019827"/>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0759519" y="40067"/>
            <a:ext cx="412318" cy="242761"/>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3" name="Picture Placeholder 2"/>
          <p:cNvSpPr>
            <a:spLocks noGrp="1"/>
          </p:cNvSpPr>
          <p:nvPr>
            <p:ph type="pic" sz="quarter" idx="17"/>
          </p:nvPr>
        </p:nvSpPr>
        <p:spPr>
          <a:xfrm>
            <a:off x="626686" y="2012946"/>
            <a:ext cx="3105186" cy="3105186"/>
          </a:xfrm>
          <a:prstGeom prst="ellipse">
            <a:avLst/>
          </a:prstGeom>
        </p:spPr>
        <p:txBody>
          <a:bodyPr>
            <a:normAutofit/>
          </a:bodyPr>
          <a:lstStyle>
            <a:lvl1pPr>
              <a:defRPr sz="1600"/>
            </a:lvl1pPr>
          </a:lstStyle>
          <a:p>
            <a:endParaRPr lang="id-ID"/>
          </a:p>
        </p:txBody>
      </p:sp>
    </p:spTree>
    <p:extLst>
      <p:ext uri="{BB962C8B-B14F-4D97-AF65-F5344CB8AC3E}">
        <p14:creationId xmlns:p14="http://schemas.microsoft.com/office/powerpoint/2010/main" val="3797408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ofile Page 2">
    <p:spTree>
      <p:nvGrpSpPr>
        <p:cNvPr id="1" name=""/>
        <p:cNvGrpSpPr/>
        <p:nvPr/>
      </p:nvGrpSpPr>
      <p:grpSpPr>
        <a:xfrm>
          <a:off x="0" y="0"/>
          <a:ext cx="0" cy="0"/>
          <a:chOff x="0" y="0"/>
          <a:chExt cx="0" cy="0"/>
        </a:xfrm>
      </p:grpSpPr>
      <p:sp>
        <p:nvSpPr>
          <p:cNvPr id="25" name="Freeform 34"/>
          <p:cNvSpPr>
            <a:spLocks/>
          </p:cNvSpPr>
          <p:nvPr userDrawn="1"/>
        </p:nvSpPr>
        <p:spPr bwMode="auto">
          <a:xfrm>
            <a:off x="11723287" y="1019827"/>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0759519" y="40067"/>
            <a:ext cx="412318" cy="242761"/>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3" name="Picture Placeholder 2"/>
          <p:cNvSpPr>
            <a:spLocks noGrp="1"/>
          </p:cNvSpPr>
          <p:nvPr>
            <p:ph type="pic" sz="quarter" idx="17"/>
          </p:nvPr>
        </p:nvSpPr>
        <p:spPr>
          <a:xfrm>
            <a:off x="855286" y="2012946"/>
            <a:ext cx="1987554" cy="1987554"/>
          </a:xfrm>
          <a:prstGeom prst="ellipse">
            <a:avLst/>
          </a:prstGeom>
        </p:spPr>
        <p:txBody>
          <a:bodyPr>
            <a:normAutofit/>
          </a:bodyPr>
          <a:lstStyle>
            <a:lvl1pPr>
              <a:defRPr sz="1600"/>
            </a:lvl1pPr>
          </a:lstStyle>
          <a:p>
            <a:endParaRPr lang="id-ID"/>
          </a:p>
        </p:txBody>
      </p:sp>
    </p:spTree>
    <p:extLst>
      <p:ext uri="{BB962C8B-B14F-4D97-AF65-F5344CB8AC3E}">
        <p14:creationId xmlns:p14="http://schemas.microsoft.com/office/powerpoint/2010/main" val="1353282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rofile Page 3">
    <p:spTree>
      <p:nvGrpSpPr>
        <p:cNvPr id="1" name=""/>
        <p:cNvGrpSpPr/>
        <p:nvPr/>
      </p:nvGrpSpPr>
      <p:grpSpPr>
        <a:xfrm>
          <a:off x="0" y="0"/>
          <a:ext cx="0" cy="0"/>
          <a:chOff x="0" y="0"/>
          <a:chExt cx="0" cy="0"/>
        </a:xfrm>
      </p:grpSpPr>
      <p:sp>
        <p:nvSpPr>
          <p:cNvPr id="25" name="Freeform 34"/>
          <p:cNvSpPr>
            <a:spLocks/>
          </p:cNvSpPr>
          <p:nvPr userDrawn="1"/>
        </p:nvSpPr>
        <p:spPr bwMode="auto">
          <a:xfrm>
            <a:off x="11723287" y="1019827"/>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0759519" y="40067"/>
            <a:ext cx="412318" cy="242761"/>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16" name="Picture Placeholder 3"/>
          <p:cNvSpPr>
            <a:spLocks noGrp="1"/>
          </p:cNvSpPr>
          <p:nvPr>
            <p:ph type="pic" sz="quarter" idx="10"/>
          </p:nvPr>
        </p:nvSpPr>
        <p:spPr>
          <a:xfrm>
            <a:off x="864050" y="2113494"/>
            <a:ext cx="1825459" cy="1825460"/>
          </a:xfrm>
          <a:prstGeom prst="rect">
            <a:avLst/>
          </a:prstGeom>
        </p:spPr>
        <p:txBody>
          <a:bodyPr>
            <a:normAutofit/>
          </a:bodyPr>
          <a:lstStyle>
            <a:lvl1pPr>
              <a:defRPr sz="1600">
                <a:solidFill>
                  <a:schemeClr val="tx2"/>
                </a:solidFill>
              </a:defRPr>
            </a:lvl1pPr>
          </a:lstStyle>
          <a:p>
            <a:endParaRPr lang="id-ID" dirty="0"/>
          </a:p>
        </p:txBody>
      </p:sp>
    </p:spTree>
    <p:extLst>
      <p:ext uri="{BB962C8B-B14F-4D97-AF65-F5344CB8AC3E}">
        <p14:creationId xmlns:p14="http://schemas.microsoft.com/office/powerpoint/2010/main" val="2011280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ofile Page 4">
    <p:spTree>
      <p:nvGrpSpPr>
        <p:cNvPr id="1" name=""/>
        <p:cNvGrpSpPr/>
        <p:nvPr/>
      </p:nvGrpSpPr>
      <p:grpSpPr>
        <a:xfrm>
          <a:off x="0" y="0"/>
          <a:ext cx="0" cy="0"/>
          <a:chOff x="0" y="0"/>
          <a:chExt cx="0" cy="0"/>
        </a:xfrm>
      </p:grpSpPr>
      <p:sp>
        <p:nvSpPr>
          <p:cNvPr id="25" name="Freeform 34"/>
          <p:cNvSpPr>
            <a:spLocks/>
          </p:cNvSpPr>
          <p:nvPr userDrawn="1"/>
        </p:nvSpPr>
        <p:spPr bwMode="auto">
          <a:xfrm>
            <a:off x="11723287" y="1019827"/>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0759519" y="40067"/>
            <a:ext cx="412318" cy="242761"/>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28" name="Picture Placeholder 3"/>
          <p:cNvSpPr>
            <a:spLocks noGrp="1"/>
          </p:cNvSpPr>
          <p:nvPr>
            <p:ph type="pic" sz="quarter" idx="10"/>
          </p:nvPr>
        </p:nvSpPr>
        <p:spPr>
          <a:xfrm>
            <a:off x="924674" y="2000480"/>
            <a:ext cx="2280863" cy="3475648"/>
          </a:xfrm>
          <a:prstGeom prst="rect">
            <a:avLst/>
          </a:prstGeom>
        </p:spPr>
        <p:txBody>
          <a:bodyPr>
            <a:normAutofit/>
          </a:bodyPr>
          <a:lstStyle>
            <a:lvl1pPr>
              <a:defRPr sz="1600">
                <a:solidFill>
                  <a:schemeClr val="tx2"/>
                </a:solidFill>
              </a:defRPr>
            </a:lvl1pPr>
          </a:lstStyle>
          <a:p>
            <a:endParaRPr lang="id-ID" dirty="0"/>
          </a:p>
        </p:txBody>
      </p:sp>
    </p:spTree>
    <p:extLst>
      <p:ext uri="{BB962C8B-B14F-4D97-AF65-F5344CB8AC3E}">
        <p14:creationId xmlns:p14="http://schemas.microsoft.com/office/powerpoint/2010/main" val="217328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ofile Page 5 Minmap">
    <p:spTree>
      <p:nvGrpSpPr>
        <p:cNvPr id="1" name=""/>
        <p:cNvGrpSpPr/>
        <p:nvPr/>
      </p:nvGrpSpPr>
      <p:grpSpPr>
        <a:xfrm>
          <a:off x="0" y="0"/>
          <a:ext cx="0" cy="0"/>
          <a:chOff x="0" y="0"/>
          <a:chExt cx="0" cy="0"/>
        </a:xfrm>
      </p:grpSpPr>
      <p:sp>
        <p:nvSpPr>
          <p:cNvPr id="25" name="Freeform 34"/>
          <p:cNvSpPr>
            <a:spLocks/>
          </p:cNvSpPr>
          <p:nvPr userDrawn="1"/>
        </p:nvSpPr>
        <p:spPr bwMode="auto">
          <a:xfrm>
            <a:off x="11723287" y="1019827"/>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0759519" y="40067"/>
            <a:ext cx="412318" cy="242761"/>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3" name="Picture Placeholder 2"/>
          <p:cNvSpPr>
            <a:spLocks noGrp="1"/>
          </p:cNvSpPr>
          <p:nvPr>
            <p:ph type="pic" sz="quarter" idx="17"/>
          </p:nvPr>
        </p:nvSpPr>
        <p:spPr>
          <a:xfrm>
            <a:off x="5024058" y="2841620"/>
            <a:ext cx="2168529" cy="2168529"/>
          </a:xfrm>
          <a:prstGeom prst="ellipse">
            <a:avLst/>
          </a:prstGeom>
        </p:spPr>
        <p:txBody>
          <a:bodyPr>
            <a:normAutofit/>
          </a:bodyPr>
          <a:lstStyle>
            <a:lvl1pPr>
              <a:defRPr sz="1600"/>
            </a:lvl1pPr>
          </a:lstStyle>
          <a:p>
            <a:endParaRPr lang="id-ID"/>
          </a:p>
        </p:txBody>
      </p:sp>
      <p:sp>
        <p:nvSpPr>
          <p:cNvPr id="16"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1" name="Group 30"/>
          <p:cNvGrpSpPr/>
          <p:nvPr userDrawn="1"/>
        </p:nvGrpSpPr>
        <p:grpSpPr>
          <a:xfrm>
            <a:off x="338952" y="6409324"/>
            <a:ext cx="224082" cy="221156"/>
            <a:chOff x="4328868" y="5502988"/>
            <a:chExt cx="500307" cy="493774"/>
          </a:xfrm>
        </p:grpSpPr>
        <p:sp>
          <p:nvSpPr>
            <p:cNvPr id="32" name="Freeform 31">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34" name="Freeform 33">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35" name="Group 34"/>
          <p:cNvGrpSpPr/>
          <p:nvPr userDrawn="1"/>
        </p:nvGrpSpPr>
        <p:grpSpPr>
          <a:xfrm flipH="1">
            <a:off x="11637433" y="6409324"/>
            <a:ext cx="224082" cy="221156"/>
            <a:chOff x="4328868" y="5502988"/>
            <a:chExt cx="500307" cy="493774"/>
          </a:xfrm>
        </p:grpSpPr>
        <p:sp>
          <p:nvSpPr>
            <p:cNvPr id="36" name="Freeform 35">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37" name="Freeform 36">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0169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ient List">
    <p:spTree>
      <p:nvGrpSpPr>
        <p:cNvPr id="1" name=""/>
        <p:cNvGrpSpPr/>
        <p:nvPr/>
      </p:nvGrpSpPr>
      <p:grpSpPr>
        <a:xfrm>
          <a:off x="0" y="0"/>
          <a:ext cx="0" cy="0"/>
          <a:chOff x="0" y="0"/>
          <a:chExt cx="0" cy="0"/>
        </a:xfrm>
      </p:grpSpPr>
      <p:sp>
        <p:nvSpPr>
          <p:cNvPr id="16"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8"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9"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31" name="Group 30"/>
          <p:cNvGrpSpPr/>
          <p:nvPr userDrawn="1"/>
        </p:nvGrpSpPr>
        <p:grpSpPr>
          <a:xfrm>
            <a:off x="338952" y="6409324"/>
            <a:ext cx="224082" cy="221156"/>
            <a:chOff x="4328868" y="5502988"/>
            <a:chExt cx="500307" cy="493774"/>
          </a:xfrm>
        </p:grpSpPr>
        <p:sp>
          <p:nvSpPr>
            <p:cNvPr id="32" name="Freeform 31">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34" name="Freeform 33">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35" name="Group 34"/>
          <p:cNvGrpSpPr/>
          <p:nvPr userDrawn="1"/>
        </p:nvGrpSpPr>
        <p:grpSpPr>
          <a:xfrm flipH="1">
            <a:off x="11637433" y="6409324"/>
            <a:ext cx="224082" cy="221156"/>
            <a:chOff x="4328868" y="5502988"/>
            <a:chExt cx="500307" cy="493774"/>
          </a:xfrm>
        </p:grpSpPr>
        <p:sp>
          <p:nvSpPr>
            <p:cNvPr id="36" name="Freeform 35">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37" name="Freeform 36">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0" name="Picture Placeholder 21"/>
          <p:cNvSpPr>
            <a:spLocks noGrp="1"/>
          </p:cNvSpPr>
          <p:nvPr>
            <p:ph type="pic" sz="quarter" idx="13"/>
          </p:nvPr>
        </p:nvSpPr>
        <p:spPr>
          <a:xfrm>
            <a:off x="0" y="1216025"/>
            <a:ext cx="1220400" cy="1220400"/>
          </a:xfrm>
          <a:prstGeom prst="rect">
            <a:avLst/>
          </a:prstGeom>
        </p:spPr>
        <p:txBody>
          <a:bodyPr/>
          <a:lstStyle>
            <a:lvl1pPr>
              <a:defRPr sz="1400"/>
            </a:lvl1pPr>
          </a:lstStyle>
          <a:p>
            <a:endParaRPr lang="id-ID"/>
          </a:p>
        </p:txBody>
      </p:sp>
      <p:sp>
        <p:nvSpPr>
          <p:cNvPr id="21" name="Picture Placeholder 21"/>
          <p:cNvSpPr>
            <a:spLocks noGrp="1"/>
          </p:cNvSpPr>
          <p:nvPr>
            <p:ph type="pic" sz="quarter" idx="14"/>
          </p:nvPr>
        </p:nvSpPr>
        <p:spPr>
          <a:xfrm>
            <a:off x="1216025" y="1216025"/>
            <a:ext cx="1220400" cy="1220400"/>
          </a:xfrm>
          <a:prstGeom prst="rect">
            <a:avLst/>
          </a:prstGeom>
        </p:spPr>
        <p:txBody>
          <a:bodyPr/>
          <a:lstStyle>
            <a:lvl1pPr>
              <a:defRPr sz="1400"/>
            </a:lvl1pPr>
          </a:lstStyle>
          <a:p>
            <a:endParaRPr lang="id-ID"/>
          </a:p>
        </p:txBody>
      </p:sp>
      <p:sp>
        <p:nvSpPr>
          <p:cNvPr id="22" name="Picture Placeholder 21"/>
          <p:cNvSpPr>
            <a:spLocks noGrp="1"/>
          </p:cNvSpPr>
          <p:nvPr>
            <p:ph type="pic" sz="quarter" idx="15"/>
          </p:nvPr>
        </p:nvSpPr>
        <p:spPr>
          <a:xfrm>
            <a:off x="2439988" y="1216025"/>
            <a:ext cx="1220400" cy="1220400"/>
          </a:xfrm>
          <a:prstGeom prst="rect">
            <a:avLst/>
          </a:prstGeom>
        </p:spPr>
        <p:txBody>
          <a:bodyPr/>
          <a:lstStyle>
            <a:lvl1pPr>
              <a:defRPr sz="1400"/>
            </a:lvl1pPr>
          </a:lstStyle>
          <a:p>
            <a:endParaRPr lang="id-ID"/>
          </a:p>
        </p:txBody>
      </p:sp>
      <p:sp>
        <p:nvSpPr>
          <p:cNvPr id="38" name="Picture Placeholder 21"/>
          <p:cNvSpPr>
            <a:spLocks noGrp="1"/>
          </p:cNvSpPr>
          <p:nvPr>
            <p:ph type="pic" sz="quarter" idx="16"/>
          </p:nvPr>
        </p:nvSpPr>
        <p:spPr>
          <a:xfrm>
            <a:off x="3654425" y="1216025"/>
            <a:ext cx="1220400" cy="1220400"/>
          </a:xfrm>
          <a:prstGeom prst="rect">
            <a:avLst/>
          </a:prstGeom>
        </p:spPr>
        <p:txBody>
          <a:bodyPr/>
          <a:lstStyle>
            <a:lvl1pPr>
              <a:defRPr sz="1400"/>
            </a:lvl1pPr>
          </a:lstStyle>
          <a:p>
            <a:endParaRPr lang="id-ID"/>
          </a:p>
        </p:txBody>
      </p:sp>
      <p:sp>
        <p:nvSpPr>
          <p:cNvPr id="39" name="Picture Placeholder 21"/>
          <p:cNvSpPr>
            <a:spLocks noGrp="1"/>
          </p:cNvSpPr>
          <p:nvPr>
            <p:ph type="pic" sz="quarter" idx="17"/>
          </p:nvPr>
        </p:nvSpPr>
        <p:spPr>
          <a:xfrm>
            <a:off x="4879975" y="1216025"/>
            <a:ext cx="1220400" cy="1220400"/>
          </a:xfrm>
          <a:prstGeom prst="rect">
            <a:avLst/>
          </a:prstGeom>
        </p:spPr>
        <p:txBody>
          <a:bodyPr/>
          <a:lstStyle>
            <a:lvl1pPr>
              <a:defRPr sz="1400"/>
            </a:lvl1pPr>
          </a:lstStyle>
          <a:p>
            <a:endParaRPr lang="id-ID"/>
          </a:p>
        </p:txBody>
      </p:sp>
      <p:sp>
        <p:nvSpPr>
          <p:cNvPr id="40" name="Picture Placeholder 21"/>
          <p:cNvSpPr>
            <a:spLocks noGrp="1"/>
          </p:cNvSpPr>
          <p:nvPr>
            <p:ph type="pic" sz="quarter" idx="18"/>
          </p:nvPr>
        </p:nvSpPr>
        <p:spPr>
          <a:xfrm>
            <a:off x="6094413" y="1216025"/>
            <a:ext cx="1220400" cy="1220400"/>
          </a:xfrm>
          <a:prstGeom prst="rect">
            <a:avLst/>
          </a:prstGeom>
        </p:spPr>
        <p:txBody>
          <a:bodyPr/>
          <a:lstStyle>
            <a:lvl1pPr>
              <a:defRPr sz="1400"/>
            </a:lvl1pPr>
          </a:lstStyle>
          <a:p>
            <a:endParaRPr lang="id-ID"/>
          </a:p>
        </p:txBody>
      </p:sp>
      <p:sp>
        <p:nvSpPr>
          <p:cNvPr id="41" name="Picture Placeholder 21"/>
          <p:cNvSpPr>
            <a:spLocks noGrp="1"/>
          </p:cNvSpPr>
          <p:nvPr>
            <p:ph type="pic" sz="quarter" idx="19"/>
          </p:nvPr>
        </p:nvSpPr>
        <p:spPr>
          <a:xfrm>
            <a:off x="7318375" y="1216025"/>
            <a:ext cx="1220400" cy="1220400"/>
          </a:xfrm>
          <a:prstGeom prst="rect">
            <a:avLst/>
          </a:prstGeom>
        </p:spPr>
        <p:txBody>
          <a:bodyPr/>
          <a:lstStyle>
            <a:lvl1pPr>
              <a:defRPr sz="1400"/>
            </a:lvl1pPr>
          </a:lstStyle>
          <a:p>
            <a:endParaRPr lang="id-ID"/>
          </a:p>
        </p:txBody>
      </p:sp>
      <p:sp>
        <p:nvSpPr>
          <p:cNvPr id="42" name="Picture Placeholder 21"/>
          <p:cNvSpPr>
            <a:spLocks noGrp="1"/>
          </p:cNvSpPr>
          <p:nvPr>
            <p:ph type="pic" sz="quarter" idx="20"/>
          </p:nvPr>
        </p:nvSpPr>
        <p:spPr>
          <a:xfrm>
            <a:off x="8532813" y="1216025"/>
            <a:ext cx="1220400" cy="1220400"/>
          </a:xfrm>
          <a:prstGeom prst="rect">
            <a:avLst/>
          </a:prstGeom>
        </p:spPr>
        <p:txBody>
          <a:bodyPr/>
          <a:lstStyle>
            <a:lvl1pPr>
              <a:defRPr sz="1400"/>
            </a:lvl1pPr>
          </a:lstStyle>
          <a:p>
            <a:endParaRPr lang="id-ID"/>
          </a:p>
        </p:txBody>
      </p:sp>
      <p:sp>
        <p:nvSpPr>
          <p:cNvPr id="43" name="Picture Placeholder 21"/>
          <p:cNvSpPr>
            <a:spLocks noGrp="1"/>
          </p:cNvSpPr>
          <p:nvPr>
            <p:ph type="pic" sz="quarter" idx="21"/>
          </p:nvPr>
        </p:nvSpPr>
        <p:spPr>
          <a:xfrm>
            <a:off x="9756775" y="1216025"/>
            <a:ext cx="1220400" cy="1220400"/>
          </a:xfrm>
          <a:prstGeom prst="rect">
            <a:avLst/>
          </a:prstGeom>
        </p:spPr>
        <p:txBody>
          <a:bodyPr/>
          <a:lstStyle>
            <a:lvl1pPr>
              <a:defRPr sz="1400"/>
            </a:lvl1pPr>
          </a:lstStyle>
          <a:p>
            <a:endParaRPr lang="id-ID"/>
          </a:p>
        </p:txBody>
      </p:sp>
      <p:sp>
        <p:nvSpPr>
          <p:cNvPr id="44" name="Picture Placeholder 21"/>
          <p:cNvSpPr>
            <a:spLocks noGrp="1"/>
          </p:cNvSpPr>
          <p:nvPr>
            <p:ph type="pic" sz="quarter" idx="22"/>
          </p:nvPr>
        </p:nvSpPr>
        <p:spPr>
          <a:xfrm>
            <a:off x="10971213" y="1216025"/>
            <a:ext cx="1220400" cy="1220400"/>
          </a:xfrm>
          <a:prstGeom prst="rect">
            <a:avLst/>
          </a:prstGeom>
        </p:spPr>
        <p:txBody>
          <a:bodyPr/>
          <a:lstStyle>
            <a:lvl1pPr>
              <a:defRPr sz="1400"/>
            </a:lvl1pPr>
          </a:lstStyle>
          <a:p>
            <a:endParaRPr lang="id-ID"/>
          </a:p>
        </p:txBody>
      </p:sp>
      <p:sp>
        <p:nvSpPr>
          <p:cNvPr id="45" name="Picture Placeholder 21"/>
          <p:cNvSpPr>
            <a:spLocks noGrp="1"/>
          </p:cNvSpPr>
          <p:nvPr>
            <p:ph type="pic" sz="quarter" idx="23"/>
          </p:nvPr>
        </p:nvSpPr>
        <p:spPr>
          <a:xfrm>
            <a:off x="0" y="0"/>
            <a:ext cx="1220400" cy="1220400"/>
          </a:xfrm>
          <a:prstGeom prst="rect">
            <a:avLst/>
          </a:prstGeom>
        </p:spPr>
        <p:txBody>
          <a:bodyPr/>
          <a:lstStyle>
            <a:lvl1pPr>
              <a:defRPr sz="1400"/>
            </a:lvl1pPr>
          </a:lstStyle>
          <a:p>
            <a:endParaRPr lang="id-ID"/>
          </a:p>
        </p:txBody>
      </p:sp>
      <p:sp>
        <p:nvSpPr>
          <p:cNvPr id="46" name="Picture Placeholder 21"/>
          <p:cNvSpPr>
            <a:spLocks noGrp="1"/>
          </p:cNvSpPr>
          <p:nvPr>
            <p:ph type="pic" sz="quarter" idx="24"/>
          </p:nvPr>
        </p:nvSpPr>
        <p:spPr>
          <a:xfrm>
            <a:off x="1216025" y="0"/>
            <a:ext cx="1220400" cy="1220400"/>
          </a:xfrm>
          <a:prstGeom prst="rect">
            <a:avLst/>
          </a:prstGeom>
        </p:spPr>
        <p:txBody>
          <a:bodyPr/>
          <a:lstStyle>
            <a:lvl1pPr>
              <a:defRPr sz="1400"/>
            </a:lvl1pPr>
          </a:lstStyle>
          <a:p>
            <a:endParaRPr lang="id-ID"/>
          </a:p>
        </p:txBody>
      </p:sp>
      <p:sp>
        <p:nvSpPr>
          <p:cNvPr id="47" name="Picture Placeholder 21"/>
          <p:cNvSpPr>
            <a:spLocks noGrp="1"/>
          </p:cNvSpPr>
          <p:nvPr>
            <p:ph type="pic" sz="quarter" idx="25"/>
          </p:nvPr>
        </p:nvSpPr>
        <p:spPr>
          <a:xfrm>
            <a:off x="2439988" y="0"/>
            <a:ext cx="1220400" cy="1220400"/>
          </a:xfrm>
          <a:prstGeom prst="rect">
            <a:avLst/>
          </a:prstGeom>
        </p:spPr>
        <p:txBody>
          <a:bodyPr/>
          <a:lstStyle>
            <a:lvl1pPr>
              <a:defRPr sz="1400"/>
            </a:lvl1pPr>
          </a:lstStyle>
          <a:p>
            <a:endParaRPr lang="id-ID"/>
          </a:p>
        </p:txBody>
      </p:sp>
      <p:sp>
        <p:nvSpPr>
          <p:cNvPr id="48" name="Picture Placeholder 21"/>
          <p:cNvSpPr>
            <a:spLocks noGrp="1"/>
          </p:cNvSpPr>
          <p:nvPr>
            <p:ph type="pic" sz="quarter" idx="26"/>
          </p:nvPr>
        </p:nvSpPr>
        <p:spPr>
          <a:xfrm>
            <a:off x="3654425" y="0"/>
            <a:ext cx="1220400" cy="1220400"/>
          </a:xfrm>
          <a:prstGeom prst="rect">
            <a:avLst/>
          </a:prstGeom>
        </p:spPr>
        <p:txBody>
          <a:bodyPr/>
          <a:lstStyle>
            <a:lvl1pPr>
              <a:defRPr sz="1400"/>
            </a:lvl1pPr>
          </a:lstStyle>
          <a:p>
            <a:endParaRPr lang="id-ID"/>
          </a:p>
        </p:txBody>
      </p:sp>
      <p:sp>
        <p:nvSpPr>
          <p:cNvPr id="49" name="Picture Placeholder 21"/>
          <p:cNvSpPr>
            <a:spLocks noGrp="1"/>
          </p:cNvSpPr>
          <p:nvPr>
            <p:ph type="pic" sz="quarter" idx="27"/>
          </p:nvPr>
        </p:nvSpPr>
        <p:spPr>
          <a:xfrm>
            <a:off x="4879975" y="0"/>
            <a:ext cx="1220400" cy="1220400"/>
          </a:xfrm>
          <a:prstGeom prst="rect">
            <a:avLst/>
          </a:prstGeom>
        </p:spPr>
        <p:txBody>
          <a:bodyPr/>
          <a:lstStyle>
            <a:lvl1pPr>
              <a:defRPr sz="1400"/>
            </a:lvl1pPr>
          </a:lstStyle>
          <a:p>
            <a:endParaRPr lang="id-ID"/>
          </a:p>
        </p:txBody>
      </p:sp>
      <p:sp>
        <p:nvSpPr>
          <p:cNvPr id="50" name="Picture Placeholder 21"/>
          <p:cNvSpPr>
            <a:spLocks noGrp="1"/>
          </p:cNvSpPr>
          <p:nvPr>
            <p:ph type="pic" sz="quarter" idx="28"/>
          </p:nvPr>
        </p:nvSpPr>
        <p:spPr>
          <a:xfrm>
            <a:off x="6094413" y="0"/>
            <a:ext cx="1220400" cy="1220400"/>
          </a:xfrm>
          <a:prstGeom prst="rect">
            <a:avLst/>
          </a:prstGeom>
        </p:spPr>
        <p:txBody>
          <a:bodyPr/>
          <a:lstStyle>
            <a:lvl1pPr>
              <a:defRPr sz="1400"/>
            </a:lvl1pPr>
          </a:lstStyle>
          <a:p>
            <a:endParaRPr lang="id-ID"/>
          </a:p>
        </p:txBody>
      </p:sp>
      <p:sp>
        <p:nvSpPr>
          <p:cNvPr id="51" name="Picture Placeholder 21"/>
          <p:cNvSpPr>
            <a:spLocks noGrp="1"/>
          </p:cNvSpPr>
          <p:nvPr>
            <p:ph type="pic" sz="quarter" idx="29"/>
          </p:nvPr>
        </p:nvSpPr>
        <p:spPr>
          <a:xfrm>
            <a:off x="7318375" y="0"/>
            <a:ext cx="1220400" cy="1220400"/>
          </a:xfrm>
          <a:prstGeom prst="rect">
            <a:avLst/>
          </a:prstGeom>
        </p:spPr>
        <p:txBody>
          <a:bodyPr/>
          <a:lstStyle>
            <a:lvl1pPr>
              <a:defRPr sz="1400"/>
            </a:lvl1pPr>
          </a:lstStyle>
          <a:p>
            <a:endParaRPr lang="id-ID"/>
          </a:p>
        </p:txBody>
      </p:sp>
      <p:sp>
        <p:nvSpPr>
          <p:cNvPr id="52" name="Picture Placeholder 21"/>
          <p:cNvSpPr>
            <a:spLocks noGrp="1"/>
          </p:cNvSpPr>
          <p:nvPr>
            <p:ph type="pic" sz="quarter" idx="30"/>
          </p:nvPr>
        </p:nvSpPr>
        <p:spPr>
          <a:xfrm>
            <a:off x="8532813" y="0"/>
            <a:ext cx="1220400" cy="1220400"/>
          </a:xfrm>
          <a:prstGeom prst="rect">
            <a:avLst/>
          </a:prstGeom>
        </p:spPr>
        <p:txBody>
          <a:bodyPr/>
          <a:lstStyle>
            <a:lvl1pPr>
              <a:defRPr sz="1400"/>
            </a:lvl1pPr>
          </a:lstStyle>
          <a:p>
            <a:endParaRPr lang="id-ID"/>
          </a:p>
        </p:txBody>
      </p:sp>
      <p:sp>
        <p:nvSpPr>
          <p:cNvPr id="53" name="Picture Placeholder 21"/>
          <p:cNvSpPr>
            <a:spLocks noGrp="1"/>
          </p:cNvSpPr>
          <p:nvPr>
            <p:ph type="pic" sz="quarter" idx="31"/>
          </p:nvPr>
        </p:nvSpPr>
        <p:spPr>
          <a:xfrm>
            <a:off x="9756775" y="0"/>
            <a:ext cx="1220400" cy="1220400"/>
          </a:xfrm>
          <a:prstGeom prst="rect">
            <a:avLst/>
          </a:prstGeom>
        </p:spPr>
        <p:txBody>
          <a:bodyPr/>
          <a:lstStyle>
            <a:lvl1pPr>
              <a:defRPr sz="1400"/>
            </a:lvl1pPr>
          </a:lstStyle>
          <a:p>
            <a:endParaRPr lang="id-ID"/>
          </a:p>
        </p:txBody>
      </p:sp>
      <p:sp>
        <p:nvSpPr>
          <p:cNvPr id="54" name="Picture Placeholder 21"/>
          <p:cNvSpPr>
            <a:spLocks noGrp="1"/>
          </p:cNvSpPr>
          <p:nvPr>
            <p:ph type="pic" sz="quarter" idx="32"/>
          </p:nvPr>
        </p:nvSpPr>
        <p:spPr>
          <a:xfrm>
            <a:off x="10971213" y="0"/>
            <a:ext cx="1220400" cy="1220400"/>
          </a:xfrm>
          <a:prstGeom prst="rect">
            <a:avLst/>
          </a:prstGeom>
        </p:spPr>
        <p:txBody>
          <a:bodyPr/>
          <a:lstStyle>
            <a:lvl1pPr>
              <a:defRPr sz="1400"/>
            </a:lvl1pPr>
          </a:lstStyle>
          <a:p>
            <a:endParaRPr lang="id-ID"/>
          </a:p>
        </p:txBody>
      </p:sp>
      <p:sp>
        <p:nvSpPr>
          <p:cNvPr id="55" name="Picture Placeholder 21"/>
          <p:cNvSpPr>
            <a:spLocks noGrp="1"/>
          </p:cNvSpPr>
          <p:nvPr>
            <p:ph type="pic" sz="quarter" idx="33"/>
          </p:nvPr>
        </p:nvSpPr>
        <p:spPr>
          <a:xfrm>
            <a:off x="387" y="2438400"/>
            <a:ext cx="1220400" cy="1220400"/>
          </a:xfrm>
          <a:prstGeom prst="rect">
            <a:avLst/>
          </a:prstGeom>
        </p:spPr>
        <p:txBody>
          <a:bodyPr/>
          <a:lstStyle>
            <a:lvl1pPr>
              <a:defRPr sz="1400"/>
            </a:lvl1pPr>
          </a:lstStyle>
          <a:p>
            <a:endParaRPr lang="id-ID"/>
          </a:p>
        </p:txBody>
      </p:sp>
      <p:sp>
        <p:nvSpPr>
          <p:cNvPr id="56" name="Picture Placeholder 21"/>
          <p:cNvSpPr>
            <a:spLocks noGrp="1"/>
          </p:cNvSpPr>
          <p:nvPr>
            <p:ph type="pic" sz="quarter" idx="34"/>
          </p:nvPr>
        </p:nvSpPr>
        <p:spPr>
          <a:xfrm>
            <a:off x="1216412" y="2438400"/>
            <a:ext cx="1220400" cy="1220400"/>
          </a:xfrm>
          <a:prstGeom prst="rect">
            <a:avLst/>
          </a:prstGeom>
        </p:spPr>
        <p:txBody>
          <a:bodyPr/>
          <a:lstStyle>
            <a:lvl1pPr>
              <a:defRPr sz="1400"/>
            </a:lvl1pPr>
          </a:lstStyle>
          <a:p>
            <a:endParaRPr lang="id-ID"/>
          </a:p>
        </p:txBody>
      </p:sp>
      <p:sp>
        <p:nvSpPr>
          <p:cNvPr id="57" name="Picture Placeholder 21"/>
          <p:cNvSpPr>
            <a:spLocks noGrp="1"/>
          </p:cNvSpPr>
          <p:nvPr>
            <p:ph type="pic" sz="quarter" idx="35"/>
          </p:nvPr>
        </p:nvSpPr>
        <p:spPr>
          <a:xfrm>
            <a:off x="2440375" y="2438400"/>
            <a:ext cx="1220400" cy="1220400"/>
          </a:xfrm>
          <a:prstGeom prst="rect">
            <a:avLst/>
          </a:prstGeom>
        </p:spPr>
        <p:txBody>
          <a:bodyPr/>
          <a:lstStyle>
            <a:lvl1pPr>
              <a:defRPr sz="1400"/>
            </a:lvl1pPr>
          </a:lstStyle>
          <a:p>
            <a:endParaRPr lang="id-ID"/>
          </a:p>
        </p:txBody>
      </p:sp>
      <p:sp>
        <p:nvSpPr>
          <p:cNvPr id="58" name="Picture Placeholder 21"/>
          <p:cNvSpPr>
            <a:spLocks noGrp="1"/>
          </p:cNvSpPr>
          <p:nvPr>
            <p:ph type="pic" sz="quarter" idx="36"/>
          </p:nvPr>
        </p:nvSpPr>
        <p:spPr>
          <a:xfrm>
            <a:off x="3654812" y="2438400"/>
            <a:ext cx="1220400" cy="1220400"/>
          </a:xfrm>
          <a:prstGeom prst="rect">
            <a:avLst/>
          </a:prstGeom>
        </p:spPr>
        <p:txBody>
          <a:bodyPr/>
          <a:lstStyle>
            <a:lvl1pPr>
              <a:defRPr sz="1400"/>
            </a:lvl1pPr>
          </a:lstStyle>
          <a:p>
            <a:endParaRPr lang="id-ID"/>
          </a:p>
        </p:txBody>
      </p:sp>
      <p:sp>
        <p:nvSpPr>
          <p:cNvPr id="59" name="Picture Placeholder 21"/>
          <p:cNvSpPr>
            <a:spLocks noGrp="1"/>
          </p:cNvSpPr>
          <p:nvPr>
            <p:ph type="pic" sz="quarter" idx="37"/>
          </p:nvPr>
        </p:nvSpPr>
        <p:spPr>
          <a:xfrm>
            <a:off x="4880362" y="2438400"/>
            <a:ext cx="1220400" cy="1220400"/>
          </a:xfrm>
          <a:prstGeom prst="rect">
            <a:avLst/>
          </a:prstGeom>
        </p:spPr>
        <p:txBody>
          <a:bodyPr/>
          <a:lstStyle>
            <a:lvl1pPr>
              <a:defRPr sz="1400"/>
            </a:lvl1pPr>
          </a:lstStyle>
          <a:p>
            <a:endParaRPr lang="id-ID"/>
          </a:p>
        </p:txBody>
      </p:sp>
      <p:sp>
        <p:nvSpPr>
          <p:cNvPr id="60" name="Picture Placeholder 21"/>
          <p:cNvSpPr>
            <a:spLocks noGrp="1"/>
          </p:cNvSpPr>
          <p:nvPr>
            <p:ph type="pic" sz="quarter" idx="38"/>
          </p:nvPr>
        </p:nvSpPr>
        <p:spPr>
          <a:xfrm>
            <a:off x="6094800" y="2438400"/>
            <a:ext cx="1220400" cy="1220400"/>
          </a:xfrm>
          <a:prstGeom prst="rect">
            <a:avLst/>
          </a:prstGeom>
        </p:spPr>
        <p:txBody>
          <a:bodyPr/>
          <a:lstStyle>
            <a:lvl1pPr>
              <a:defRPr sz="1400"/>
            </a:lvl1pPr>
          </a:lstStyle>
          <a:p>
            <a:endParaRPr lang="id-ID"/>
          </a:p>
        </p:txBody>
      </p:sp>
      <p:sp>
        <p:nvSpPr>
          <p:cNvPr id="61" name="Picture Placeholder 21"/>
          <p:cNvSpPr>
            <a:spLocks noGrp="1"/>
          </p:cNvSpPr>
          <p:nvPr>
            <p:ph type="pic" sz="quarter" idx="39"/>
          </p:nvPr>
        </p:nvSpPr>
        <p:spPr>
          <a:xfrm>
            <a:off x="7318762" y="2438400"/>
            <a:ext cx="1220400" cy="1220400"/>
          </a:xfrm>
          <a:prstGeom prst="rect">
            <a:avLst/>
          </a:prstGeom>
        </p:spPr>
        <p:txBody>
          <a:bodyPr/>
          <a:lstStyle>
            <a:lvl1pPr>
              <a:defRPr sz="1400"/>
            </a:lvl1pPr>
          </a:lstStyle>
          <a:p>
            <a:endParaRPr lang="id-ID"/>
          </a:p>
        </p:txBody>
      </p:sp>
      <p:sp>
        <p:nvSpPr>
          <p:cNvPr id="62" name="Picture Placeholder 21"/>
          <p:cNvSpPr>
            <a:spLocks noGrp="1"/>
          </p:cNvSpPr>
          <p:nvPr>
            <p:ph type="pic" sz="quarter" idx="40"/>
          </p:nvPr>
        </p:nvSpPr>
        <p:spPr>
          <a:xfrm>
            <a:off x="8533200" y="2438400"/>
            <a:ext cx="1220400" cy="1220400"/>
          </a:xfrm>
          <a:prstGeom prst="rect">
            <a:avLst/>
          </a:prstGeom>
        </p:spPr>
        <p:txBody>
          <a:bodyPr/>
          <a:lstStyle>
            <a:lvl1pPr>
              <a:defRPr sz="1400"/>
            </a:lvl1pPr>
          </a:lstStyle>
          <a:p>
            <a:endParaRPr lang="id-ID"/>
          </a:p>
        </p:txBody>
      </p:sp>
      <p:sp>
        <p:nvSpPr>
          <p:cNvPr id="63" name="Picture Placeholder 21"/>
          <p:cNvSpPr>
            <a:spLocks noGrp="1"/>
          </p:cNvSpPr>
          <p:nvPr>
            <p:ph type="pic" sz="quarter" idx="41"/>
          </p:nvPr>
        </p:nvSpPr>
        <p:spPr>
          <a:xfrm>
            <a:off x="9757162" y="2438400"/>
            <a:ext cx="1220400" cy="1220400"/>
          </a:xfrm>
          <a:prstGeom prst="rect">
            <a:avLst/>
          </a:prstGeom>
        </p:spPr>
        <p:txBody>
          <a:bodyPr/>
          <a:lstStyle>
            <a:lvl1pPr>
              <a:defRPr sz="1400"/>
            </a:lvl1pPr>
          </a:lstStyle>
          <a:p>
            <a:endParaRPr lang="id-ID"/>
          </a:p>
        </p:txBody>
      </p:sp>
      <p:sp>
        <p:nvSpPr>
          <p:cNvPr id="64" name="Picture Placeholder 21"/>
          <p:cNvSpPr>
            <a:spLocks noGrp="1"/>
          </p:cNvSpPr>
          <p:nvPr>
            <p:ph type="pic" sz="quarter" idx="42"/>
          </p:nvPr>
        </p:nvSpPr>
        <p:spPr>
          <a:xfrm>
            <a:off x="10971600" y="2438400"/>
            <a:ext cx="1220400" cy="1220400"/>
          </a:xfrm>
          <a:prstGeom prst="rect">
            <a:avLst/>
          </a:prstGeom>
        </p:spPr>
        <p:txBody>
          <a:bodyPr/>
          <a:lstStyle>
            <a:lvl1pPr>
              <a:defRPr sz="1400"/>
            </a:lvl1pPr>
          </a:lstStyle>
          <a:p>
            <a:endParaRPr lang="id-ID"/>
          </a:p>
        </p:txBody>
      </p:sp>
    </p:spTree>
    <p:extLst>
      <p:ext uri="{BB962C8B-B14F-4D97-AF65-F5344CB8AC3E}">
        <p14:creationId xmlns:p14="http://schemas.microsoft.com/office/powerpoint/2010/main" val="1319373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nodePh="1">
                                  <p:stCondLst>
                                    <p:cond delay="0"/>
                                  </p:stCondLst>
                                  <p:endCondLst>
                                    <p:cond evt="begin" delay="0">
                                      <p:tn val="5"/>
                                    </p:cond>
                                  </p:end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par>
                                <p:cTn id="10" presetID="53" presetClass="entr" presetSubtype="16" fill="hold" grpId="0" nodeType="withEffect" nodePh="1">
                                  <p:stCondLst>
                                    <p:cond delay="0"/>
                                  </p:stCondLst>
                                  <p:endCondLst>
                                    <p:cond evt="begin" delay="0">
                                      <p:tn val="10"/>
                                    </p:cond>
                                  </p:endCondLst>
                                  <p:childTnLst>
                                    <p:set>
                                      <p:cBhvr>
                                        <p:cTn id="11" dur="1" fill="hold">
                                          <p:stCondLst>
                                            <p:cond delay="0"/>
                                          </p:stCondLst>
                                        </p:cTn>
                                        <p:tgtEl>
                                          <p:spTgt spid="21"/>
                                        </p:tgtEl>
                                        <p:attrNameLst>
                                          <p:attrName>style.visibility</p:attrName>
                                        </p:attrNameLst>
                                      </p:cBhvr>
                                      <p:to>
                                        <p:strVal val="visible"/>
                                      </p:to>
                                    </p:set>
                                    <p:anim calcmode="lin" valueType="num">
                                      <p:cBhvr>
                                        <p:cTn id="12" dur="500" fill="hold"/>
                                        <p:tgtEl>
                                          <p:spTgt spid="21"/>
                                        </p:tgtEl>
                                        <p:attrNameLst>
                                          <p:attrName>ppt_w</p:attrName>
                                        </p:attrNameLst>
                                      </p:cBhvr>
                                      <p:tavLst>
                                        <p:tav tm="0">
                                          <p:val>
                                            <p:fltVal val="0"/>
                                          </p:val>
                                        </p:tav>
                                        <p:tav tm="100000">
                                          <p:val>
                                            <p:strVal val="#ppt_w"/>
                                          </p:val>
                                        </p:tav>
                                      </p:tavLst>
                                    </p:anim>
                                    <p:anim calcmode="lin" valueType="num">
                                      <p:cBhvr>
                                        <p:cTn id="13" dur="500" fill="hold"/>
                                        <p:tgtEl>
                                          <p:spTgt spid="21"/>
                                        </p:tgtEl>
                                        <p:attrNameLst>
                                          <p:attrName>ppt_h</p:attrName>
                                        </p:attrNameLst>
                                      </p:cBhvr>
                                      <p:tavLst>
                                        <p:tav tm="0">
                                          <p:val>
                                            <p:fltVal val="0"/>
                                          </p:val>
                                        </p:tav>
                                        <p:tav tm="100000">
                                          <p:val>
                                            <p:strVal val="#ppt_h"/>
                                          </p:val>
                                        </p:tav>
                                      </p:tavLst>
                                    </p:anim>
                                    <p:animEffect transition="in" filter="fade">
                                      <p:cBhvr>
                                        <p:cTn id="14" dur="500"/>
                                        <p:tgtEl>
                                          <p:spTgt spid="21"/>
                                        </p:tgtEl>
                                      </p:cBhvr>
                                    </p:animEffect>
                                  </p:childTnLst>
                                </p:cTn>
                              </p:par>
                              <p:par>
                                <p:cTn id="15" presetID="53" presetClass="entr" presetSubtype="16" fill="hold" grpId="0" nodeType="withEffect" nodePh="1">
                                  <p:stCondLst>
                                    <p:cond delay="0"/>
                                  </p:stCondLst>
                                  <p:endCondLst>
                                    <p:cond evt="begin" delay="0">
                                      <p:tn val="15"/>
                                    </p:cond>
                                  </p:endCondLst>
                                  <p:childTnLst>
                                    <p:set>
                                      <p:cBhvr>
                                        <p:cTn id="16" dur="1" fill="hold">
                                          <p:stCondLst>
                                            <p:cond delay="0"/>
                                          </p:stCondLst>
                                        </p:cTn>
                                        <p:tgtEl>
                                          <p:spTgt spid="22"/>
                                        </p:tgtEl>
                                        <p:attrNameLst>
                                          <p:attrName>style.visibility</p:attrName>
                                        </p:attrNameLst>
                                      </p:cBhvr>
                                      <p:to>
                                        <p:strVal val="visible"/>
                                      </p:to>
                                    </p:set>
                                    <p:anim calcmode="lin" valueType="num">
                                      <p:cBhvr>
                                        <p:cTn id="17" dur="500" fill="hold"/>
                                        <p:tgtEl>
                                          <p:spTgt spid="22"/>
                                        </p:tgtEl>
                                        <p:attrNameLst>
                                          <p:attrName>ppt_w</p:attrName>
                                        </p:attrNameLst>
                                      </p:cBhvr>
                                      <p:tavLst>
                                        <p:tav tm="0">
                                          <p:val>
                                            <p:fltVal val="0"/>
                                          </p:val>
                                        </p:tav>
                                        <p:tav tm="100000">
                                          <p:val>
                                            <p:strVal val="#ppt_w"/>
                                          </p:val>
                                        </p:tav>
                                      </p:tavLst>
                                    </p:anim>
                                    <p:anim calcmode="lin" valueType="num">
                                      <p:cBhvr>
                                        <p:cTn id="18" dur="500" fill="hold"/>
                                        <p:tgtEl>
                                          <p:spTgt spid="22"/>
                                        </p:tgtEl>
                                        <p:attrNameLst>
                                          <p:attrName>ppt_h</p:attrName>
                                        </p:attrNameLst>
                                      </p:cBhvr>
                                      <p:tavLst>
                                        <p:tav tm="0">
                                          <p:val>
                                            <p:fltVal val="0"/>
                                          </p:val>
                                        </p:tav>
                                        <p:tav tm="100000">
                                          <p:val>
                                            <p:strVal val="#ppt_h"/>
                                          </p:val>
                                        </p:tav>
                                      </p:tavLst>
                                    </p:anim>
                                    <p:animEffect transition="in" filter="fade">
                                      <p:cBhvr>
                                        <p:cTn id="19" dur="500"/>
                                        <p:tgtEl>
                                          <p:spTgt spid="22"/>
                                        </p:tgtEl>
                                      </p:cBhvr>
                                    </p:animEffect>
                                  </p:childTnLst>
                                </p:cTn>
                              </p:par>
                              <p:par>
                                <p:cTn id="20" presetID="53" presetClass="entr" presetSubtype="16" fill="hold" grpId="0" nodeType="withEffect" nodePh="1">
                                  <p:stCondLst>
                                    <p:cond delay="250"/>
                                  </p:stCondLst>
                                  <p:endCondLst>
                                    <p:cond evt="begin" delay="0">
                                      <p:tn val="20"/>
                                    </p:cond>
                                  </p:endCondLst>
                                  <p:childTnLst>
                                    <p:set>
                                      <p:cBhvr>
                                        <p:cTn id="21" dur="1" fill="hold">
                                          <p:stCondLst>
                                            <p:cond delay="0"/>
                                          </p:stCondLst>
                                        </p:cTn>
                                        <p:tgtEl>
                                          <p:spTgt spid="38"/>
                                        </p:tgtEl>
                                        <p:attrNameLst>
                                          <p:attrName>style.visibility</p:attrName>
                                        </p:attrNameLst>
                                      </p:cBhvr>
                                      <p:to>
                                        <p:strVal val="visible"/>
                                      </p:to>
                                    </p:set>
                                    <p:anim calcmode="lin" valueType="num">
                                      <p:cBhvr>
                                        <p:cTn id="22" dur="500" fill="hold"/>
                                        <p:tgtEl>
                                          <p:spTgt spid="38"/>
                                        </p:tgtEl>
                                        <p:attrNameLst>
                                          <p:attrName>ppt_w</p:attrName>
                                        </p:attrNameLst>
                                      </p:cBhvr>
                                      <p:tavLst>
                                        <p:tav tm="0">
                                          <p:val>
                                            <p:fltVal val="0"/>
                                          </p:val>
                                        </p:tav>
                                        <p:tav tm="100000">
                                          <p:val>
                                            <p:strVal val="#ppt_w"/>
                                          </p:val>
                                        </p:tav>
                                      </p:tavLst>
                                    </p:anim>
                                    <p:anim calcmode="lin" valueType="num">
                                      <p:cBhvr>
                                        <p:cTn id="23" dur="500" fill="hold"/>
                                        <p:tgtEl>
                                          <p:spTgt spid="38"/>
                                        </p:tgtEl>
                                        <p:attrNameLst>
                                          <p:attrName>ppt_h</p:attrName>
                                        </p:attrNameLst>
                                      </p:cBhvr>
                                      <p:tavLst>
                                        <p:tav tm="0">
                                          <p:val>
                                            <p:fltVal val="0"/>
                                          </p:val>
                                        </p:tav>
                                        <p:tav tm="100000">
                                          <p:val>
                                            <p:strVal val="#ppt_h"/>
                                          </p:val>
                                        </p:tav>
                                      </p:tavLst>
                                    </p:anim>
                                    <p:animEffect transition="in" filter="fade">
                                      <p:cBhvr>
                                        <p:cTn id="24" dur="500"/>
                                        <p:tgtEl>
                                          <p:spTgt spid="38"/>
                                        </p:tgtEl>
                                      </p:cBhvr>
                                    </p:animEffect>
                                  </p:childTnLst>
                                </p:cTn>
                              </p:par>
                              <p:par>
                                <p:cTn id="25" presetID="53" presetClass="entr" presetSubtype="16" fill="hold" grpId="0" nodeType="withEffect" nodePh="1">
                                  <p:stCondLst>
                                    <p:cond delay="250"/>
                                  </p:stCondLst>
                                  <p:endCondLst>
                                    <p:cond evt="begin" delay="0">
                                      <p:tn val="25"/>
                                    </p:cond>
                                  </p:endCondLst>
                                  <p:childTnLst>
                                    <p:set>
                                      <p:cBhvr>
                                        <p:cTn id="26" dur="1" fill="hold">
                                          <p:stCondLst>
                                            <p:cond delay="0"/>
                                          </p:stCondLst>
                                        </p:cTn>
                                        <p:tgtEl>
                                          <p:spTgt spid="39"/>
                                        </p:tgtEl>
                                        <p:attrNameLst>
                                          <p:attrName>style.visibility</p:attrName>
                                        </p:attrNameLst>
                                      </p:cBhvr>
                                      <p:to>
                                        <p:strVal val="visible"/>
                                      </p:to>
                                    </p:set>
                                    <p:anim calcmode="lin" valueType="num">
                                      <p:cBhvr>
                                        <p:cTn id="27" dur="500" fill="hold"/>
                                        <p:tgtEl>
                                          <p:spTgt spid="39"/>
                                        </p:tgtEl>
                                        <p:attrNameLst>
                                          <p:attrName>ppt_w</p:attrName>
                                        </p:attrNameLst>
                                      </p:cBhvr>
                                      <p:tavLst>
                                        <p:tav tm="0">
                                          <p:val>
                                            <p:fltVal val="0"/>
                                          </p:val>
                                        </p:tav>
                                        <p:tav tm="100000">
                                          <p:val>
                                            <p:strVal val="#ppt_w"/>
                                          </p:val>
                                        </p:tav>
                                      </p:tavLst>
                                    </p:anim>
                                    <p:anim calcmode="lin" valueType="num">
                                      <p:cBhvr>
                                        <p:cTn id="28" dur="500" fill="hold"/>
                                        <p:tgtEl>
                                          <p:spTgt spid="39"/>
                                        </p:tgtEl>
                                        <p:attrNameLst>
                                          <p:attrName>ppt_h</p:attrName>
                                        </p:attrNameLst>
                                      </p:cBhvr>
                                      <p:tavLst>
                                        <p:tav tm="0">
                                          <p:val>
                                            <p:fltVal val="0"/>
                                          </p:val>
                                        </p:tav>
                                        <p:tav tm="100000">
                                          <p:val>
                                            <p:strVal val="#ppt_h"/>
                                          </p:val>
                                        </p:tav>
                                      </p:tavLst>
                                    </p:anim>
                                    <p:animEffect transition="in" filter="fade">
                                      <p:cBhvr>
                                        <p:cTn id="29" dur="500"/>
                                        <p:tgtEl>
                                          <p:spTgt spid="39"/>
                                        </p:tgtEl>
                                      </p:cBhvr>
                                    </p:animEffect>
                                  </p:childTnLst>
                                </p:cTn>
                              </p:par>
                              <p:par>
                                <p:cTn id="30" presetID="53" presetClass="entr" presetSubtype="16" fill="hold" grpId="0" nodeType="withEffect" nodePh="1">
                                  <p:stCondLst>
                                    <p:cond delay="250"/>
                                  </p:stCondLst>
                                  <p:endCondLst>
                                    <p:cond evt="begin" delay="0">
                                      <p:tn val="30"/>
                                    </p:cond>
                                  </p:endCondLst>
                                  <p:childTnLst>
                                    <p:set>
                                      <p:cBhvr>
                                        <p:cTn id="31" dur="1" fill="hold">
                                          <p:stCondLst>
                                            <p:cond delay="0"/>
                                          </p:stCondLst>
                                        </p:cTn>
                                        <p:tgtEl>
                                          <p:spTgt spid="40"/>
                                        </p:tgtEl>
                                        <p:attrNameLst>
                                          <p:attrName>style.visibility</p:attrName>
                                        </p:attrNameLst>
                                      </p:cBhvr>
                                      <p:to>
                                        <p:strVal val="visible"/>
                                      </p:to>
                                    </p:set>
                                    <p:anim calcmode="lin" valueType="num">
                                      <p:cBhvr>
                                        <p:cTn id="32" dur="500" fill="hold"/>
                                        <p:tgtEl>
                                          <p:spTgt spid="40"/>
                                        </p:tgtEl>
                                        <p:attrNameLst>
                                          <p:attrName>ppt_w</p:attrName>
                                        </p:attrNameLst>
                                      </p:cBhvr>
                                      <p:tavLst>
                                        <p:tav tm="0">
                                          <p:val>
                                            <p:fltVal val="0"/>
                                          </p:val>
                                        </p:tav>
                                        <p:tav tm="100000">
                                          <p:val>
                                            <p:strVal val="#ppt_w"/>
                                          </p:val>
                                        </p:tav>
                                      </p:tavLst>
                                    </p:anim>
                                    <p:anim calcmode="lin" valueType="num">
                                      <p:cBhvr>
                                        <p:cTn id="33" dur="500" fill="hold"/>
                                        <p:tgtEl>
                                          <p:spTgt spid="40"/>
                                        </p:tgtEl>
                                        <p:attrNameLst>
                                          <p:attrName>ppt_h</p:attrName>
                                        </p:attrNameLst>
                                      </p:cBhvr>
                                      <p:tavLst>
                                        <p:tav tm="0">
                                          <p:val>
                                            <p:fltVal val="0"/>
                                          </p:val>
                                        </p:tav>
                                        <p:tav tm="100000">
                                          <p:val>
                                            <p:strVal val="#ppt_h"/>
                                          </p:val>
                                        </p:tav>
                                      </p:tavLst>
                                    </p:anim>
                                    <p:animEffect transition="in" filter="fade">
                                      <p:cBhvr>
                                        <p:cTn id="34" dur="500"/>
                                        <p:tgtEl>
                                          <p:spTgt spid="40"/>
                                        </p:tgtEl>
                                      </p:cBhvr>
                                    </p:animEffect>
                                  </p:childTnLst>
                                </p:cTn>
                              </p:par>
                              <p:par>
                                <p:cTn id="35" presetID="53" presetClass="entr" presetSubtype="16" fill="hold" grpId="0" nodeType="withEffect" nodePh="1">
                                  <p:stCondLst>
                                    <p:cond delay="250"/>
                                  </p:stCondLst>
                                  <p:endCondLst>
                                    <p:cond evt="begin" delay="0">
                                      <p:tn val="35"/>
                                    </p:cond>
                                  </p:endCondLst>
                                  <p:childTnLst>
                                    <p:set>
                                      <p:cBhvr>
                                        <p:cTn id="36" dur="1" fill="hold">
                                          <p:stCondLst>
                                            <p:cond delay="0"/>
                                          </p:stCondLst>
                                        </p:cTn>
                                        <p:tgtEl>
                                          <p:spTgt spid="41"/>
                                        </p:tgtEl>
                                        <p:attrNameLst>
                                          <p:attrName>style.visibility</p:attrName>
                                        </p:attrNameLst>
                                      </p:cBhvr>
                                      <p:to>
                                        <p:strVal val="visible"/>
                                      </p:to>
                                    </p:set>
                                    <p:anim calcmode="lin" valueType="num">
                                      <p:cBhvr>
                                        <p:cTn id="37" dur="500" fill="hold"/>
                                        <p:tgtEl>
                                          <p:spTgt spid="41"/>
                                        </p:tgtEl>
                                        <p:attrNameLst>
                                          <p:attrName>ppt_w</p:attrName>
                                        </p:attrNameLst>
                                      </p:cBhvr>
                                      <p:tavLst>
                                        <p:tav tm="0">
                                          <p:val>
                                            <p:fltVal val="0"/>
                                          </p:val>
                                        </p:tav>
                                        <p:tav tm="100000">
                                          <p:val>
                                            <p:strVal val="#ppt_w"/>
                                          </p:val>
                                        </p:tav>
                                      </p:tavLst>
                                    </p:anim>
                                    <p:anim calcmode="lin" valueType="num">
                                      <p:cBhvr>
                                        <p:cTn id="38" dur="500" fill="hold"/>
                                        <p:tgtEl>
                                          <p:spTgt spid="41"/>
                                        </p:tgtEl>
                                        <p:attrNameLst>
                                          <p:attrName>ppt_h</p:attrName>
                                        </p:attrNameLst>
                                      </p:cBhvr>
                                      <p:tavLst>
                                        <p:tav tm="0">
                                          <p:val>
                                            <p:fltVal val="0"/>
                                          </p:val>
                                        </p:tav>
                                        <p:tav tm="100000">
                                          <p:val>
                                            <p:strVal val="#ppt_h"/>
                                          </p:val>
                                        </p:tav>
                                      </p:tavLst>
                                    </p:anim>
                                    <p:animEffect transition="in" filter="fade">
                                      <p:cBhvr>
                                        <p:cTn id="39" dur="500"/>
                                        <p:tgtEl>
                                          <p:spTgt spid="41"/>
                                        </p:tgtEl>
                                      </p:cBhvr>
                                    </p:animEffect>
                                  </p:childTnLst>
                                </p:cTn>
                              </p:par>
                              <p:par>
                                <p:cTn id="40" presetID="53" presetClass="entr" presetSubtype="16" fill="hold" grpId="0" nodeType="withEffect" nodePh="1">
                                  <p:stCondLst>
                                    <p:cond delay="500"/>
                                  </p:stCondLst>
                                  <p:endCondLst>
                                    <p:cond evt="begin" delay="0">
                                      <p:tn val="40"/>
                                    </p:cond>
                                  </p:endCondLst>
                                  <p:childTnLst>
                                    <p:set>
                                      <p:cBhvr>
                                        <p:cTn id="41" dur="1" fill="hold">
                                          <p:stCondLst>
                                            <p:cond delay="0"/>
                                          </p:stCondLst>
                                        </p:cTn>
                                        <p:tgtEl>
                                          <p:spTgt spid="42"/>
                                        </p:tgtEl>
                                        <p:attrNameLst>
                                          <p:attrName>style.visibility</p:attrName>
                                        </p:attrNameLst>
                                      </p:cBhvr>
                                      <p:to>
                                        <p:strVal val="visible"/>
                                      </p:to>
                                    </p:set>
                                    <p:anim calcmode="lin" valueType="num">
                                      <p:cBhvr>
                                        <p:cTn id="42" dur="500" fill="hold"/>
                                        <p:tgtEl>
                                          <p:spTgt spid="42"/>
                                        </p:tgtEl>
                                        <p:attrNameLst>
                                          <p:attrName>ppt_w</p:attrName>
                                        </p:attrNameLst>
                                      </p:cBhvr>
                                      <p:tavLst>
                                        <p:tav tm="0">
                                          <p:val>
                                            <p:fltVal val="0"/>
                                          </p:val>
                                        </p:tav>
                                        <p:tav tm="100000">
                                          <p:val>
                                            <p:strVal val="#ppt_w"/>
                                          </p:val>
                                        </p:tav>
                                      </p:tavLst>
                                    </p:anim>
                                    <p:anim calcmode="lin" valueType="num">
                                      <p:cBhvr>
                                        <p:cTn id="43" dur="500" fill="hold"/>
                                        <p:tgtEl>
                                          <p:spTgt spid="42"/>
                                        </p:tgtEl>
                                        <p:attrNameLst>
                                          <p:attrName>ppt_h</p:attrName>
                                        </p:attrNameLst>
                                      </p:cBhvr>
                                      <p:tavLst>
                                        <p:tav tm="0">
                                          <p:val>
                                            <p:fltVal val="0"/>
                                          </p:val>
                                        </p:tav>
                                        <p:tav tm="100000">
                                          <p:val>
                                            <p:strVal val="#ppt_h"/>
                                          </p:val>
                                        </p:tav>
                                      </p:tavLst>
                                    </p:anim>
                                    <p:animEffect transition="in" filter="fade">
                                      <p:cBhvr>
                                        <p:cTn id="44" dur="500"/>
                                        <p:tgtEl>
                                          <p:spTgt spid="42"/>
                                        </p:tgtEl>
                                      </p:cBhvr>
                                    </p:animEffect>
                                  </p:childTnLst>
                                </p:cTn>
                              </p:par>
                              <p:par>
                                <p:cTn id="45" presetID="53" presetClass="entr" presetSubtype="16" fill="hold" grpId="0" nodeType="withEffect" nodePh="1">
                                  <p:stCondLst>
                                    <p:cond delay="500"/>
                                  </p:stCondLst>
                                  <p:endCondLst>
                                    <p:cond evt="begin" delay="0">
                                      <p:tn val="45"/>
                                    </p:cond>
                                  </p:endCondLst>
                                  <p:childTnLst>
                                    <p:set>
                                      <p:cBhvr>
                                        <p:cTn id="46" dur="1" fill="hold">
                                          <p:stCondLst>
                                            <p:cond delay="0"/>
                                          </p:stCondLst>
                                        </p:cTn>
                                        <p:tgtEl>
                                          <p:spTgt spid="43"/>
                                        </p:tgtEl>
                                        <p:attrNameLst>
                                          <p:attrName>style.visibility</p:attrName>
                                        </p:attrNameLst>
                                      </p:cBhvr>
                                      <p:to>
                                        <p:strVal val="visible"/>
                                      </p:to>
                                    </p:set>
                                    <p:anim calcmode="lin" valueType="num">
                                      <p:cBhvr>
                                        <p:cTn id="47" dur="500" fill="hold"/>
                                        <p:tgtEl>
                                          <p:spTgt spid="43"/>
                                        </p:tgtEl>
                                        <p:attrNameLst>
                                          <p:attrName>ppt_w</p:attrName>
                                        </p:attrNameLst>
                                      </p:cBhvr>
                                      <p:tavLst>
                                        <p:tav tm="0">
                                          <p:val>
                                            <p:fltVal val="0"/>
                                          </p:val>
                                        </p:tav>
                                        <p:tav tm="100000">
                                          <p:val>
                                            <p:strVal val="#ppt_w"/>
                                          </p:val>
                                        </p:tav>
                                      </p:tavLst>
                                    </p:anim>
                                    <p:anim calcmode="lin" valueType="num">
                                      <p:cBhvr>
                                        <p:cTn id="48" dur="500" fill="hold"/>
                                        <p:tgtEl>
                                          <p:spTgt spid="43"/>
                                        </p:tgtEl>
                                        <p:attrNameLst>
                                          <p:attrName>ppt_h</p:attrName>
                                        </p:attrNameLst>
                                      </p:cBhvr>
                                      <p:tavLst>
                                        <p:tav tm="0">
                                          <p:val>
                                            <p:fltVal val="0"/>
                                          </p:val>
                                        </p:tav>
                                        <p:tav tm="100000">
                                          <p:val>
                                            <p:strVal val="#ppt_h"/>
                                          </p:val>
                                        </p:tav>
                                      </p:tavLst>
                                    </p:anim>
                                    <p:animEffect transition="in" filter="fade">
                                      <p:cBhvr>
                                        <p:cTn id="49" dur="500"/>
                                        <p:tgtEl>
                                          <p:spTgt spid="43"/>
                                        </p:tgtEl>
                                      </p:cBhvr>
                                    </p:animEffect>
                                  </p:childTnLst>
                                </p:cTn>
                              </p:par>
                              <p:par>
                                <p:cTn id="50" presetID="53" presetClass="entr" presetSubtype="16" fill="hold" grpId="0" nodeType="withEffect" nodePh="1">
                                  <p:stCondLst>
                                    <p:cond delay="500"/>
                                  </p:stCondLst>
                                  <p:endCondLst>
                                    <p:cond evt="begin" delay="0">
                                      <p:tn val="50"/>
                                    </p:cond>
                                  </p:endCondLst>
                                  <p:childTnLst>
                                    <p:set>
                                      <p:cBhvr>
                                        <p:cTn id="51" dur="1" fill="hold">
                                          <p:stCondLst>
                                            <p:cond delay="0"/>
                                          </p:stCondLst>
                                        </p:cTn>
                                        <p:tgtEl>
                                          <p:spTgt spid="44"/>
                                        </p:tgtEl>
                                        <p:attrNameLst>
                                          <p:attrName>style.visibility</p:attrName>
                                        </p:attrNameLst>
                                      </p:cBhvr>
                                      <p:to>
                                        <p:strVal val="visible"/>
                                      </p:to>
                                    </p:set>
                                    <p:anim calcmode="lin" valueType="num">
                                      <p:cBhvr>
                                        <p:cTn id="52" dur="500" fill="hold"/>
                                        <p:tgtEl>
                                          <p:spTgt spid="44"/>
                                        </p:tgtEl>
                                        <p:attrNameLst>
                                          <p:attrName>ppt_w</p:attrName>
                                        </p:attrNameLst>
                                      </p:cBhvr>
                                      <p:tavLst>
                                        <p:tav tm="0">
                                          <p:val>
                                            <p:fltVal val="0"/>
                                          </p:val>
                                        </p:tav>
                                        <p:tav tm="100000">
                                          <p:val>
                                            <p:strVal val="#ppt_w"/>
                                          </p:val>
                                        </p:tav>
                                      </p:tavLst>
                                    </p:anim>
                                    <p:anim calcmode="lin" valueType="num">
                                      <p:cBhvr>
                                        <p:cTn id="53" dur="500" fill="hold"/>
                                        <p:tgtEl>
                                          <p:spTgt spid="44"/>
                                        </p:tgtEl>
                                        <p:attrNameLst>
                                          <p:attrName>ppt_h</p:attrName>
                                        </p:attrNameLst>
                                      </p:cBhvr>
                                      <p:tavLst>
                                        <p:tav tm="0">
                                          <p:val>
                                            <p:fltVal val="0"/>
                                          </p:val>
                                        </p:tav>
                                        <p:tav tm="100000">
                                          <p:val>
                                            <p:strVal val="#ppt_h"/>
                                          </p:val>
                                        </p:tav>
                                      </p:tavLst>
                                    </p:anim>
                                    <p:animEffect transition="in" filter="fade">
                                      <p:cBhvr>
                                        <p:cTn id="54" dur="500"/>
                                        <p:tgtEl>
                                          <p:spTgt spid="44"/>
                                        </p:tgtEl>
                                      </p:cBhvr>
                                    </p:animEffect>
                                  </p:childTnLst>
                                </p:cTn>
                              </p:par>
                              <p:par>
                                <p:cTn id="55" presetID="53" presetClass="entr" presetSubtype="16" fill="hold" grpId="0" nodeType="withEffect" nodePh="1">
                                  <p:stCondLst>
                                    <p:cond delay="750"/>
                                  </p:stCondLst>
                                  <p:endCondLst>
                                    <p:cond evt="begin" delay="0">
                                      <p:tn val="55"/>
                                    </p:cond>
                                  </p:endCondLst>
                                  <p:childTnLst>
                                    <p:set>
                                      <p:cBhvr>
                                        <p:cTn id="56" dur="1" fill="hold">
                                          <p:stCondLst>
                                            <p:cond delay="0"/>
                                          </p:stCondLst>
                                        </p:cTn>
                                        <p:tgtEl>
                                          <p:spTgt spid="45"/>
                                        </p:tgtEl>
                                        <p:attrNameLst>
                                          <p:attrName>style.visibility</p:attrName>
                                        </p:attrNameLst>
                                      </p:cBhvr>
                                      <p:to>
                                        <p:strVal val="visible"/>
                                      </p:to>
                                    </p:set>
                                    <p:anim calcmode="lin" valueType="num">
                                      <p:cBhvr>
                                        <p:cTn id="57" dur="500" fill="hold"/>
                                        <p:tgtEl>
                                          <p:spTgt spid="45"/>
                                        </p:tgtEl>
                                        <p:attrNameLst>
                                          <p:attrName>ppt_w</p:attrName>
                                        </p:attrNameLst>
                                      </p:cBhvr>
                                      <p:tavLst>
                                        <p:tav tm="0">
                                          <p:val>
                                            <p:fltVal val="0"/>
                                          </p:val>
                                        </p:tav>
                                        <p:tav tm="100000">
                                          <p:val>
                                            <p:strVal val="#ppt_w"/>
                                          </p:val>
                                        </p:tav>
                                      </p:tavLst>
                                    </p:anim>
                                    <p:anim calcmode="lin" valueType="num">
                                      <p:cBhvr>
                                        <p:cTn id="58" dur="500" fill="hold"/>
                                        <p:tgtEl>
                                          <p:spTgt spid="45"/>
                                        </p:tgtEl>
                                        <p:attrNameLst>
                                          <p:attrName>ppt_h</p:attrName>
                                        </p:attrNameLst>
                                      </p:cBhvr>
                                      <p:tavLst>
                                        <p:tav tm="0">
                                          <p:val>
                                            <p:fltVal val="0"/>
                                          </p:val>
                                        </p:tav>
                                        <p:tav tm="100000">
                                          <p:val>
                                            <p:strVal val="#ppt_h"/>
                                          </p:val>
                                        </p:tav>
                                      </p:tavLst>
                                    </p:anim>
                                    <p:animEffect transition="in" filter="fade">
                                      <p:cBhvr>
                                        <p:cTn id="59" dur="500"/>
                                        <p:tgtEl>
                                          <p:spTgt spid="45"/>
                                        </p:tgtEl>
                                      </p:cBhvr>
                                    </p:animEffect>
                                  </p:childTnLst>
                                </p:cTn>
                              </p:par>
                              <p:par>
                                <p:cTn id="60" presetID="53" presetClass="entr" presetSubtype="16" fill="hold" grpId="0" nodeType="withEffect" nodePh="1">
                                  <p:stCondLst>
                                    <p:cond delay="750"/>
                                  </p:stCondLst>
                                  <p:endCondLst>
                                    <p:cond evt="begin" delay="0">
                                      <p:tn val="60"/>
                                    </p:cond>
                                  </p:endCondLst>
                                  <p:childTnLst>
                                    <p:set>
                                      <p:cBhvr>
                                        <p:cTn id="61" dur="1" fill="hold">
                                          <p:stCondLst>
                                            <p:cond delay="0"/>
                                          </p:stCondLst>
                                        </p:cTn>
                                        <p:tgtEl>
                                          <p:spTgt spid="46"/>
                                        </p:tgtEl>
                                        <p:attrNameLst>
                                          <p:attrName>style.visibility</p:attrName>
                                        </p:attrNameLst>
                                      </p:cBhvr>
                                      <p:to>
                                        <p:strVal val="visible"/>
                                      </p:to>
                                    </p:set>
                                    <p:anim calcmode="lin" valueType="num">
                                      <p:cBhvr>
                                        <p:cTn id="62" dur="500" fill="hold"/>
                                        <p:tgtEl>
                                          <p:spTgt spid="46"/>
                                        </p:tgtEl>
                                        <p:attrNameLst>
                                          <p:attrName>ppt_w</p:attrName>
                                        </p:attrNameLst>
                                      </p:cBhvr>
                                      <p:tavLst>
                                        <p:tav tm="0">
                                          <p:val>
                                            <p:fltVal val="0"/>
                                          </p:val>
                                        </p:tav>
                                        <p:tav tm="100000">
                                          <p:val>
                                            <p:strVal val="#ppt_w"/>
                                          </p:val>
                                        </p:tav>
                                      </p:tavLst>
                                    </p:anim>
                                    <p:anim calcmode="lin" valueType="num">
                                      <p:cBhvr>
                                        <p:cTn id="63" dur="500" fill="hold"/>
                                        <p:tgtEl>
                                          <p:spTgt spid="46"/>
                                        </p:tgtEl>
                                        <p:attrNameLst>
                                          <p:attrName>ppt_h</p:attrName>
                                        </p:attrNameLst>
                                      </p:cBhvr>
                                      <p:tavLst>
                                        <p:tav tm="0">
                                          <p:val>
                                            <p:fltVal val="0"/>
                                          </p:val>
                                        </p:tav>
                                        <p:tav tm="100000">
                                          <p:val>
                                            <p:strVal val="#ppt_h"/>
                                          </p:val>
                                        </p:tav>
                                      </p:tavLst>
                                    </p:anim>
                                    <p:animEffect transition="in" filter="fade">
                                      <p:cBhvr>
                                        <p:cTn id="64" dur="500"/>
                                        <p:tgtEl>
                                          <p:spTgt spid="46"/>
                                        </p:tgtEl>
                                      </p:cBhvr>
                                    </p:animEffect>
                                  </p:childTnLst>
                                </p:cTn>
                              </p:par>
                              <p:par>
                                <p:cTn id="65" presetID="53" presetClass="entr" presetSubtype="16" fill="hold" grpId="0" nodeType="withEffect" nodePh="1">
                                  <p:stCondLst>
                                    <p:cond delay="750"/>
                                  </p:stCondLst>
                                  <p:endCondLst>
                                    <p:cond evt="begin" delay="0">
                                      <p:tn val="65"/>
                                    </p:cond>
                                  </p:endCondLst>
                                  <p:childTnLst>
                                    <p:set>
                                      <p:cBhvr>
                                        <p:cTn id="66" dur="1" fill="hold">
                                          <p:stCondLst>
                                            <p:cond delay="0"/>
                                          </p:stCondLst>
                                        </p:cTn>
                                        <p:tgtEl>
                                          <p:spTgt spid="47"/>
                                        </p:tgtEl>
                                        <p:attrNameLst>
                                          <p:attrName>style.visibility</p:attrName>
                                        </p:attrNameLst>
                                      </p:cBhvr>
                                      <p:to>
                                        <p:strVal val="visible"/>
                                      </p:to>
                                    </p:set>
                                    <p:anim calcmode="lin" valueType="num">
                                      <p:cBhvr>
                                        <p:cTn id="67" dur="500" fill="hold"/>
                                        <p:tgtEl>
                                          <p:spTgt spid="47"/>
                                        </p:tgtEl>
                                        <p:attrNameLst>
                                          <p:attrName>ppt_w</p:attrName>
                                        </p:attrNameLst>
                                      </p:cBhvr>
                                      <p:tavLst>
                                        <p:tav tm="0">
                                          <p:val>
                                            <p:fltVal val="0"/>
                                          </p:val>
                                        </p:tav>
                                        <p:tav tm="100000">
                                          <p:val>
                                            <p:strVal val="#ppt_w"/>
                                          </p:val>
                                        </p:tav>
                                      </p:tavLst>
                                    </p:anim>
                                    <p:anim calcmode="lin" valueType="num">
                                      <p:cBhvr>
                                        <p:cTn id="68" dur="500" fill="hold"/>
                                        <p:tgtEl>
                                          <p:spTgt spid="47"/>
                                        </p:tgtEl>
                                        <p:attrNameLst>
                                          <p:attrName>ppt_h</p:attrName>
                                        </p:attrNameLst>
                                      </p:cBhvr>
                                      <p:tavLst>
                                        <p:tav tm="0">
                                          <p:val>
                                            <p:fltVal val="0"/>
                                          </p:val>
                                        </p:tav>
                                        <p:tav tm="100000">
                                          <p:val>
                                            <p:strVal val="#ppt_h"/>
                                          </p:val>
                                        </p:tav>
                                      </p:tavLst>
                                    </p:anim>
                                    <p:animEffect transition="in" filter="fade">
                                      <p:cBhvr>
                                        <p:cTn id="69" dur="500"/>
                                        <p:tgtEl>
                                          <p:spTgt spid="47"/>
                                        </p:tgtEl>
                                      </p:cBhvr>
                                    </p:animEffect>
                                  </p:childTnLst>
                                </p:cTn>
                              </p:par>
                              <p:par>
                                <p:cTn id="70" presetID="53" presetClass="entr" presetSubtype="16" fill="hold" grpId="0" nodeType="withEffect" nodePh="1">
                                  <p:stCondLst>
                                    <p:cond delay="750"/>
                                  </p:stCondLst>
                                  <p:endCondLst>
                                    <p:cond evt="begin" delay="0">
                                      <p:tn val="70"/>
                                    </p:cond>
                                  </p:endCondLst>
                                  <p:childTnLst>
                                    <p:set>
                                      <p:cBhvr>
                                        <p:cTn id="71" dur="1" fill="hold">
                                          <p:stCondLst>
                                            <p:cond delay="0"/>
                                          </p:stCondLst>
                                        </p:cTn>
                                        <p:tgtEl>
                                          <p:spTgt spid="48"/>
                                        </p:tgtEl>
                                        <p:attrNameLst>
                                          <p:attrName>style.visibility</p:attrName>
                                        </p:attrNameLst>
                                      </p:cBhvr>
                                      <p:to>
                                        <p:strVal val="visible"/>
                                      </p:to>
                                    </p:set>
                                    <p:anim calcmode="lin" valueType="num">
                                      <p:cBhvr>
                                        <p:cTn id="72" dur="500" fill="hold"/>
                                        <p:tgtEl>
                                          <p:spTgt spid="48"/>
                                        </p:tgtEl>
                                        <p:attrNameLst>
                                          <p:attrName>ppt_w</p:attrName>
                                        </p:attrNameLst>
                                      </p:cBhvr>
                                      <p:tavLst>
                                        <p:tav tm="0">
                                          <p:val>
                                            <p:fltVal val="0"/>
                                          </p:val>
                                        </p:tav>
                                        <p:tav tm="100000">
                                          <p:val>
                                            <p:strVal val="#ppt_w"/>
                                          </p:val>
                                        </p:tav>
                                      </p:tavLst>
                                    </p:anim>
                                    <p:anim calcmode="lin" valueType="num">
                                      <p:cBhvr>
                                        <p:cTn id="73" dur="500" fill="hold"/>
                                        <p:tgtEl>
                                          <p:spTgt spid="48"/>
                                        </p:tgtEl>
                                        <p:attrNameLst>
                                          <p:attrName>ppt_h</p:attrName>
                                        </p:attrNameLst>
                                      </p:cBhvr>
                                      <p:tavLst>
                                        <p:tav tm="0">
                                          <p:val>
                                            <p:fltVal val="0"/>
                                          </p:val>
                                        </p:tav>
                                        <p:tav tm="100000">
                                          <p:val>
                                            <p:strVal val="#ppt_h"/>
                                          </p:val>
                                        </p:tav>
                                      </p:tavLst>
                                    </p:anim>
                                    <p:animEffect transition="in" filter="fade">
                                      <p:cBhvr>
                                        <p:cTn id="74" dur="500"/>
                                        <p:tgtEl>
                                          <p:spTgt spid="48"/>
                                        </p:tgtEl>
                                      </p:cBhvr>
                                    </p:animEffect>
                                  </p:childTnLst>
                                </p:cTn>
                              </p:par>
                              <p:par>
                                <p:cTn id="75" presetID="53" presetClass="entr" presetSubtype="16" fill="hold" grpId="0" nodeType="withEffect" nodePh="1">
                                  <p:stCondLst>
                                    <p:cond delay="750"/>
                                  </p:stCondLst>
                                  <p:endCondLst>
                                    <p:cond evt="begin" delay="0">
                                      <p:tn val="75"/>
                                    </p:cond>
                                  </p:endCondLst>
                                  <p:childTnLst>
                                    <p:set>
                                      <p:cBhvr>
                                        <p:cTn id="76" dur="1" fill="hold">
                                          <p:stCondLst>
                                            <p:cond delay="0"/>
                                          </p:stCondLst>
                                        </p:cTn>
                                        <p:tgtEl>
                                          <p:spTgt spid="49"/>
                                        </p:tgtEl>
                                        <p:attrNameLst>
                                          <p:attrName>style.visibility</p:attrName>
                                        </p:attrNameLst>
                                      </p:cBhvr>
                                      <p:to>
                                        <p:strVal val="visible"/>
                                      </p:to>
                                    </p:set>
                                    <p:anim calcmode="lin" valueType="num">
                                      <p:cBhvr>
                                        <p:cTn id="77" dur="500" fill="hold"/>
                                        <p:tgtEl>
                                          <p:spTgt spid="49"/>
                                        </p:tgtEl>
                                        <p:attrNameLst>
                                          <p:attrName>ppt_w</p:attrName>
                                        </p:attrNameLst>
                                      </p:cBhvr>
                                      <p:tavLst>
                                        <p:tav tm="0">
                                          <p:val>
                                            <p:fltVal val="0"/>
                                          </p:val>
                                        </p:tav>
                                        <p:tav tm="100000">
                                          <p:val>
                                            <p:strVal val="#ppt_w"/>
                                          </p:val>
                                        </p:tav>
                                      </p:tavLst>
                                    </p:anim>
                                    <p:anim calcmode="lin" valueType="num">
                                      <p:cBhvr>
                                        <p:cTn id="78" dur="500" fill="hold"/>
                                        <p:tgtEl>
                                          <p:spTgt spid="49"/>
                                        </p:tgtEl>
                                        <p:attrNameLst>
                                          <p:attrName>ppt_h</p:attrName>
                                        </p:attrNameLst>
                                      </p:cBhvr>
                                      <p:tavLst>
                                        <p:tav tm="0">
                                          <p:val>
                                            <p:fltVal val="0"/>
                                          </p:val>
                                        </p:tav>
                                        <p:tav tm="100000">
                                          <p:val>
                                            <p:strVal val="#ppt_h"/>
                                          </p:val>
                                        </p:tav>
                                      </p:tavLst>
                                    </p:anim>
                                    <p:animEffect transition="in" filter="fade">
                                      <p:cBhvr>
                                        <p:cTn id="79" dur="500"/>
                                        <p:tgtEl>
                                          <p:spTgt spid="49"/>
                                        </p:tgtEl>
                                      </p:cBhvr>
                                    </p:animEffect>
                                  </p:childTnLst>
                                </p:cTn>
                              </p:par>
                              <p:par>
                                <p:cTn id="80" presetID="53" presetClass="entr" presetSubtype="16" fill="hold" grpId="0" nodeType="withEffect" nodePh="1">
                                  <p:stCondLst>
                                    <p:cond delay="500"/>
                                  </p:stCondLst>
                                  <p:endCondLst>
                                    <p:cond evt="begin" delay="0">
                                      <p:tn val="80"/>
                                    </p:cond>
                                  </p:endCondLst>
                                  <p:childTnLst>
                                    <p:set>
                                      <p:cBhvr>
                                        <p:cTn id="81" dur="1" fill="hold">
                                          <p:stCondLst>
                                            <p:cond delay="0"/>
                                          </p:stCondLst>
                                        </p:cTn>
                                        <p:tgtEl>
                                          <p:spTgt spid="50"/>
                                        </p:tgtEl>
                                        <p:attrNameLst>
                                          <p:attrName>style.visibility</p:attrName>
                                        </p:attrNameLst>
                                      </p:cBhvr>
                                      <p:to>
                                        <p:strVal val="visible"/>
                                      </p:to>
                                    </p:set>
                                    <p:anim calcmode="lin" valueType="num">
                                      <p:cBhvr>
                                        <p:cTn id="82" dur="500" fill="hold"/>
                                        <p:tgtEl>
                                          <p:spTgt spid="50"/>
                                        </p:tgtEl>
                                        <p:attrNameLst>
                                          <p:attrName>ppt_w</p:attrName>
                                        </p:attrNameLst>
                                      </p:cBhvr>
                                      <p:tavLst>
                                        <p:tav tm="0">
                                          <p:val>
                                            <p:fltVal val="0"/>
                                          </p:val>
                                        </p:tav>
                                        <p:tav tm="100000">
                                          <p:val>
                                            <p:strVal val="#ppt_w"/>
                                          </p:val>
                                        </p:tav>
                                      </p:tavLst>
                                    </p:anim>
                                    <p:anim calcmode="lin" valueType="num">
                                      <p:cBhvr>
                                        <p:cTn id="83" dur="500" fill="hold"/>
                                        <p:tgtEl>
                                          <p:spTgt spid="50"/>
                                        </p:tgtEl>
                                        <p:attrNameLst>
                                          <p:attrName>ppt_h</p:attrName>
                                        </p:attrNameLst>
                                      </p:cBhvr>
                                      <p:tavLst>
                                        <p:tav tm="0">
                                          <p:val>
                                            <p:fltVal val="0"/>
                                          </p:val>
                                        </p:tav>
                                        <p:tav tm="100000">
                                          <p:val>
                                            <p:strVal val="#ppt_h"/>
                                          </p:val>
                                        </p:tav>
                                      </p:tavLst>
                                    </p:anim>
                                    <p:animEffect transition="in" filter="fade">
                                      <p:cBhvr>
                                        <p:cTn id="84" dur="500"/>
                                        <p:tgtEl>
                                          <p:spTgt spid="50"/>
                                        </p:tgtEl>
                                      </p:cBhvr>
                                    </p:animEffect>
                                  </p:childTnLst>
                                </p:cTn>
                              </p:par>
                              <p:par>
                                <p:cTn id="85" presetID="53" presetClass="entr" presetSubtype="16" fill="hold" grpId="0" nodeType="withEffect" nodePh="1">
                                  <p:stCondLst>
                                    <p:cond delay="500"/>
                                  </p:stCondLst>
                                  <p:endCondLst>
                                    <p:cond evt="begin" delay="0">
                                      <p:tn val="85"/>
                                    </p:cond>
                                  </p:endCondLst>
                                  <p:childTnLst>
                                    <p:set>
                                      <p:cBhvr>
                                        <p:cTn id="86" dur="1" fill="hold">
                                          <p:stCondLst>
                                            <p:cond delay="0"/>
                                          </p:stCondLst>
                                        </p:cTn>
                                        <p:tgtEl>
                                          <p:spTgt spid="51"/>
                                        </p:tgtEl>
                                        <p:attrNameLst>
                                          <p:attrName>style.visibility</p:attrName>
                                        </p:attrNameLst>
                                      </p:cBhvr>
                                      <p:to>
                                        <p:strVal val="visible"/>
                                      </p:to>
                                    </p:set>
                                    <p:anim calcmode="lin" valueType="num">
                                      <p:cBhvr>
                                        <p:cTn id="87" dur="500" fill="hold"/>
                                        <p:tgtEl>
                                          <p:spTgt spid="51"/>
                                        </p:tgtEl>
                                        <p:attrNameLst>
                                          <p:attrName>ppt_w</p:attrName>
                                        </p:attrNameLst>
                                      </p:cBhvr>
                                      <p:tavLst>
                                        <p:tav tm="0">
                                          <p:val>
                                            <p:fltVal val="0"/>
                                          </p:val>
                                        </p:tav>
                                        <p:tav tm="100000">
                                          <p:val>
                                            <p:strVal val="#ppt_w"/>
                                          </p:val>
                                        </p:tav>
                                      </p:tavLst>
                                    </p:anim>
                                    <p:anim calcmode="lin" valueType="num">
                                      <p:cBhvr>
                                        <p:cTn id="88" dur="500" fill="hold"/>
                                        <p:tgtEl>
                                          <p:spTgt spid="51"/>
                                        </p:tgtEl>
                                        <p:attrNameLst>
                                          <p:attrName>ppt_h</p:attrName>
                                        </p:attrNameLst>
                                      </p:cBhvr>
                                      <p:tavLst>
                                        <p:tav tm="0">
                                          <p:val>
                                            <p:fltVal val="0"/>
                                          </p:val>
                                        </p:tav>
                                        <p:tav tm="100000">
                                          <p:val>
                                            <p:strVal val="#ppt_h"/>
                                          </p:val>
                                        </p:tav>
                                      </p:tavLst>
                                    </p:anim>
                                    <p:animEffect transition="in" filter="fade">
                                      <p:cBhvr>
                                        <p:cTn id="89" dur="500"/>
                                        <p:tgtEl>
                                          <p:spTgt spid="51"/>
                                        </p:tgtEl>
                                      </p:cBhvr>
                                    </p:animEffect>
                                  </p:childTnLst>
                                </p:cTn>
                              </p:par>
                              <p:par>
                                <p:cTn id="90" presetID="53" presetClass="entr" presetSubtype="16" fill="hold" grpId="0" nodeType="withEffect" nodePh="1">
                                  <p:stCondLst>
                                    <p:cond delay="250"/>
                                  </p:stCondLst>
                                  <p:endCondLst>
                                    <p:cond evt="begin" delay="0">
                                      <p:tn val="90"/>
                                    </p:cond>
                                  </p:endCondLst>
                                  <p:childTnLst>
                                    <p:set>
                                      <p:cBhvr>
                                        <p:cTn id="91" dur="1" fill="hold">
                                          <p:stCondLst>
                                            <p:cond delay="0"/>
                                          </p:stCondLst>
                                        </p:cTn>
                                        <p:tgtEl>
                                          <p:spTgt spid="52"/>
                                        </p:tgtEl>
                                        <p:attrNameLst>
                                          <p:attrName>style.visibility</p:attrName>
                                        </p:attrNameLst>
                                      </p:cBhvr>
                                      <p:to>
                                        <p:strVal val="visible"/>
                                      </p:to>
                                    </p:set>
                                    <p:anim calcmode="lin" valueType="num">
                                      <p:cBhvr>
                                        <p:cTn id="92" dur="500" fill="hold"/>
                                        <p:tgtEl>
                                          <p:spTgt spid="52"/>
                                        </p:tgtEl>
                                        <p:attrNameLst>
                                          <p:attrName>ppt_w</p:attrName>
                                        </p:attrNameLst>
                                      </p:cBhvr>
                                      <p:tavLst>
                                        <p:tav tm="0">
                                          <p:val>
                                            <p:fltVal val="0"/>
                                          </p:val>
                                        </p:tav>
                                        <p:tav tm="100000">
                                          <p:val>
                                            <p:strVal val="#ppt_w"/>
                                          </p:val>
                                        </p:tav>
                                      </p:tavLst>
                                    </p:anim>
                                    <p:anim calcmode="lin" valueType="num">
                                      <p:cBhvr>
                                        <p:cTn id="93" dur="500" fill="hold"/>
                                        <p:tgtEl>
                                          <p:spTgt spid="52"/>
                                        </p:tgtEl>
                                        <p:attrNameLst>
                                          <p:attrName>ppt_h</p:attrName>
                                        </p:attrNameLst>
                                      </p:cBhvr>
                                      <p:tavLst>
                                        <p:tav tm="0">
                                          <p:val>
                                            <p:fltVal val="0"/>
                                          </p:val>
                                        </p:tav>
                                        <p:tav tm="100000">
                                          <p:val>
                                            <p:strVal val="#ppt_h"/>
                                          </p:val>
                                        </p:tav>
                                      </p:tavLst>
                                    </p:anim>
                                    <p:animEffect transition="in" filter="fade">
                                      <p:cBhvr>
                                        <p:cTn id="94" dur="500"/>
                                        <p:tgtEl>
                                          <p:spTgt spid="52"/>
                                        </p:tgtEl>
                                      </p:cBhvr>
                                    </p:animEffect>
                                  </p:childTnLst>
                                </p:cTn>
                              </p:par>
                              <p:par>
                                <p:cTn id="95" presetID="53" presetClass="entr" presetSubtype="16" fill="hold" grpId="0" nodeType="withEffect" nodePh="1">
                                  <p:stCondLst>
                                    <p:cond delay="250"/>
                                  </p:stCondLst>
                                  <p:endCondLst>
                                    <p:cond evt="begin" delay="0">
                                      <p:tn val="95"/>
                                    </p:cond>
                                  </p:endCondLst>
                                  <p:childTnLst>
                                    <p:set>
                                      <p:cBhvr>
                                        <p:cTn id="96" dur="1" fill="hold">
                                          <p:stCondLst>
                                            <p:cond delay="0"/>
                                          </p:stCondLst>
                                        </p:cTn>
                                        <p:tgtEl>
                                          <p:spTgt spid="53"/>
                                        </p:tgtEl>
                                        <p:attrNameLst>
                                          <p:attrName>style.visibility</p:attrName>
                                        </p:attrNameLst>
                                      </p:cBhvr>
                                      <p:to>
                                        <p:strVal val="visible"/>
                                      </p:to>
                                    </p:set>
                                    <p:anim calcmode="lin" valueType="num">
                                      <p:cBhvr>
                                        <p:cTn id="97" dur="500" fill="hold"/>
                                        <p:tgtEl>
                                          <p:spTgt spid="53"/>
                                        </p:tgtEl>
                                        <p:attrNameLst>
                                          <p:attrName>ppt_w</p:attrName>
                                        </p:attrNameLst>
                                      </p:cBhvr>
                                      <p:tavLst>
                                        <p:tav tm="0">
                                          <p:val>
                                            <p:fltVal val="0"/>
                                          </p:val>
                                        </p:tav>
                                        <p:tav tm="100000">
                                          <p:val>
                                            <p:strVal val="#ppt_w"/>
                                          </p:val>
                                        </p:tav>
                                      </p:tavLst>
                                    </p:anim>
                                    <p:anim calcmode="lin" valueType="num">
                                      <p:cBhvr>
                                        <p:cTn id="98" dur="500" fill="hold"/>
                                        <p:tgtEl>
                                          <p:spTgt spid="53"/>
                                        </p:tgtEl>
                                        <p:attrNameLst>
                                          <p:attrName>ppt_h</p:attrName>
                                        </p:attrNameLst>
                                      </p:cBhvr>
                                      <p:tavLst>
                                        <p:tav tm="0">
                                          <p:val>
                                            <p:fltVal val="0"/>
                                          </p:val>
                                        </p:tav>
                                        <p:tav tm="100000">
                                          <p:val>
                                            <p:strVal val="#ppt_h"/>
                                          </p:val>
                                        </p:tav>
                                      </p:tavLst>
                                    </p:anim>
                                    <p:animEffect transition="in" filter="fade">
                                      <p:cBhvr>
                                        <p:cTn id="99" dur="500"/>
                                        <p:tgtEl>
                                          <p:spTgt spid="53"/>
                                        </p:tgtEl>
                                      </p:cBhvr>
                                    </p:animEffect>
                                  </p:childTnLst>
                                </p:cTn>
                              </p:par>
                              <p:par>
                                <p:cTn id="100" presetID="53" presetClass="entr" presetSubtype="16" fill="hold" grpId="0" nodeType="withEffect" nodePh="1">
                                  <p:stCondLst>
                                    <p:cond delay="250"/>
                                  </p:stCondLst>
                                  <p:endCondLst>
                                    <p:cond evt="begin" delay="0">
                                      <p:tn val="100"/>
                                    </p:cond>
                                  </p:endCondLst>
                                  <p:childTnLst>
                                    <p:set>
                                      <p:cBhvr>
                                        <p:cTn id="101" dur="1" fill="hold">
                                          <p:stCondLst>
                                            <p:cond delay="0"/>
                                          </p:stCondLst>
                                        </p:cTn>
                                        <p:tgtEl>
                                          <p:spTgt spid="54"/>
                                        </p:tgtEl>
                                        <p:attrNameLst>
                                          <p:attrName>style.visibility</p:attrName>
                                        </p:attrNameLst>
                                      </p:cBhvr>
                                      <p:to>
                                        <p:strVal val="visible"/>
                                      </p:to>
                                    </p:set>
                                    <p:anim calcmode="lin" valueType="num">
                                      <p:cBhvr>
                                        <p:cTn id="102" dur="500" fill="hold"/>
                                        <p:tgtEl>
                                          <p:spTgt spid="54"/>
                                        </p:tgtEl>
                                        <p:attrNameLst>
                                          <p:attrName>ppt_w</p:attrName>
                                        </p:attrNameLst>
                                      </p:cBhvr>
                                      <p:tavLst>
                                        <p:tav tm="0">
                                          <p:val>
                                            <p:fltVal val="0"/>
                                          </p:val>
                                        </p:tav>
                                        <p:tav tm="100000">
                                          <p:val>
                                            <p:strVal val="#ppt_w"/>
                                          </p:val>
                                        </p:tav>
                                      </p:tavLst>
                                    </p:anim>
                                    <p:anim calcmode="lin" valueType="num">
                                      <p:cBhvr>
                                        <p:cTn id="103" dur="500" fill="hold"/>
                                        <p:tgtEl>
                                          <p:spTgt spid="54"/>
                                        </p:tgtEl>
                                        <p:attrNameLst>
                                          <p:attrName>ppt_h</p:attrName>
                                        </p:attrNameLst>
                                      </p:cBhvr>
                                      <p:tavLst>
                                        <p:tav tm="0">
                                          <p:val>
                                            <p:fltVal val="0"/>
                                          </p:val>
                                        </p:tav>
                                        <p:tav tm="100000">
                                          <p:val>
                                            <p:strVal val="#ppt_h"/>
                                          </p:val>
                                        </p:tav>
                                      </p:tavLst>
                                    </p:anim>
                                    <p:animEffect transition="in" filter="fade">
                                      <p:cBhvr>
                                        <p:cTn id="104" dur="500"/>
                                        <p:tgtEl>
                                          <p:spTgt spid="54"/>
                                        </p:tgtEl>
                                      </p:cBhvr>
                                    </p:animEffect>
                                  </p:childTnLst>
                                </p:cTn>
                              </p:par>
                              <p:par>
                                <p:cTn id="105" presetID="53" presetClass="entr" presetSubtype="16" fill="hold" grpId="0" nodeType="withEffect" nodePh="1">
                                  <p:stCondLst>
                                    <p:cond delay="250"/>
                                  </p:stCondLst>
                                  <p:endCondLst>
                                    <p:cond evt="begin" delay="0">
                                      <p:tn val="105"/>
                                    </p:cond>
                                  </p:endCondLst>
                                  <p:childTnLst>
                                    <p:set>
                                      <p:cBhvr>
                                        <p:cTn id="106" dur="1" fill="hold">
                                          <p:stCondLst>
                                            <p:cond delay="0"/>
                                          </p:stCondLst>
                                        </p:cTn>
                                        <p:tgtEl>
                                          <p:spTgt spid="55"/>
                                        </p:tgtEl>
                                        <p:attrNameLst>
                                          <p:attrName>style.visibility</p:attrName>
                                        </p:attrNameLst>
                                      </p:cBhvr>
                                      <p:to>
                                        <p:strVal val="visible"/>
                                      </p:to>
                                    </p:set>
                                    <p:anim calcmode="lin" valueType="num">
                                      <p:cBhvr>
                                        <p:cTn id="107" dur="500" fill="hold"/>
                                        <p:tgtEl>
                                          <p:spTgt spid="55"/>
                                        </p:tgtEl>
                                        <p:attrNameLst>
                                          <p:attrName>ppt_w</p:attrName>
                                        </p:attrNameLst>
                                      </p:cBhvr>
                                      <p:tavLst>
                                        <p:tav tm="0">
                                          <p:val>
                                            <p:fltVal val="0"/>
                                          </p:val>
                                        </p:tav>
                                        <p:tav tm="100000">
                                          <p:val>
                                            <p:strVal val="#ppt_w"/>
                                          </p:val>
                                        </p:tav>
                                      </p:tavLst>
                                    </p:anim>
                                    <p:anim calcmode="lin" valueType="num">
                                      <p:cBhvr>
                                        <p:cTn id="108" dur="500" fill="hold"/>
                                        <p:tgtEl>
                                          <p:spTgt spid="55"/>
                                        </p:tgtEl>
                                        <p:attrNameLst>
                                          <p:attrName>ppt_h</p:attrName>
                                        </p:attrNameLst>
                                      </p:cBhvr>
                                      <p:tavLst>
                                        <p:tav tm="0">
                                          <p:val>
                                            <p:fltVal val="0"/>
                                          </p:val>
                                        </p:tav>
                                        <p:tav tm="100000">
                                          <p:val>
                                            <p:strVal val="#ppt_h"/>
                                          </p:val>
                                        </p:tav>
                                      </p:tavLst>
                                    </p:anim>
                                    <p:animEffect transition="in" filter="fade">
                                      <p:cBhvr>
                                        <p:cTn id="109" dur="500"/>
                                        <p:tgtEl>
                                          <p:spTgt spid="55"/>
                                        </p:tgtEl>
                                      </p:cBhvr>
                                    </p:animEffect>
                                  </p:childTnLst>
                                </p:cTn>
                              </p:par>
                              <p:par>
                                <p:cTn id="110" presetID="53" presetClass="entr" presetSubtype="16" fill="hold" grpId="0" nodeType="withEffect" nodePh="1">
                                  <p:stCondLst>
                                    <p:cond delay="0"/>
                                  </p:stCondLst>
                                  <p:endCondLst>
                                    <p:cond evt="begin" delay="0">
                                      <p:tn val="110"/>
                                    </p:cond>
                                  </p:endCondLst>
                                  <p:childTnLst>
                                    <p:set>
                                      <p:cBhvr>
                                        <p:cTn id="111" dur="1" fill="hold">
                                          <p:stCondLst>
                                            <p:cond delay="0"/>
                                          </p:stCondLst>
                                        </p:cTn>
                                        <p:tgtEl>
                                          <p:spTgt spid="56"/>
                                        </p:tgtEl>
                                        <p:attrNameLst>
                                          <p:attrName>style.visibility</p:attrName>
                                        </p:attrNameLst>
                                      </p:cBhvr>
                                      <p:to>
                                        <p:strVal val="visible"/>
                                      </p:to>
                                    </p:set>
                                    <p:anim calcmode="lin" valueType="num">
                                      <p:cBhvr>
                                        <p:cTn id="112" dur="500" fill="hold"/>
                                        <p:tgtEl>
                                          <p:spTgt spid="56"/>
                                        </p:tgtEl>
                                        <p:attrNameLst>
                                          <p:attrName>ppt_w</p:attrName>
                                        </p:attrNameLst>
                                      </p:cBhvr>
                                      <p:tavLst>
                                        <p:tav tm="0">
                                          <p:val>
                                            <p:fltVal val="0"/>
                                          </p:val>
                                        </p:tav>
                                        <p:tav tm="100000">
                                          <p:val>
                                            <p:strVal val="#ppt_w"/>
                                          </p:val>
                                        </p:tav>
                                      </p:tavLst>
                                    </p:anim>
                                    <p:anim calcmode="lin" valueType="num">
                                      <p:cBhvr>
                                        <p:cTn id="113" dur="500" fill="hold"/>
                                        <p:tgtEl>
                                          <p:spTgt spid="56"/>
                                        </p:tgtEl>
                                        <p:attrNameLst>
                                          <p:attrName>ppt_h</p:attrName>
                                        </p:attrNameLst>
                                      </p:cBhvr>
                                      <p:tavLst>
                                        <p:tav tm="0">
                                          <p:val>
                                            <p:fltVal val="0"/>
                                          </p:val>
                                        </p:tav>
                                        <p:tav tm="100000">
                                          <p:val>
                                            <p:strVal val="#ppt_h"/>
                                          </p:val>
                                        </p:tav>
                                      </p:tavLst>
                                    </p:anim>
                                    <p:animEffect transition="in" filter="fade">
                                      <p:cBhvr>
                                        <p:cTn id="114" dur="500"/>
                                        <p:tgtEl>
                                          <p:spTgt spid="56"/>
                                        </p:tgtEl>
                                      </p:cBhvr>
                                    </p:animEffect>
                                  </p:childTnLst>
                                </p:cTn>
                              </p:par>
                              <p:par>
                                <p:cTn id="115" presetID="53" presetClass="entr" presetSubtype="16" fill="hold" grpId="0" nodeType="withEffect" nodePh="1">
                                  <p:stCondLst>
                                    <p:cond delay="500"/>
                                  </p:stCondLst>
                                  <p:endCondLst>
                                    <p:cond evt="begin" delay="0">
                                      <p:tn val="115"/>
                                    </p:cond>
                                  </p:endCondLst>
                                  <p:childTnLst>
                                    <p:set>
                                      <p:cBhvr>
                                        <p:cTn id="116" dur="1" fill="hold">
                                          <p:stCondLst>
                                            <p:cond delay="0"/>
                                          </p:stCondLst>
                                        </p:cTn>
                                        <p:tgtEl>
                                          <p:spTgt spid="57"/>
                                        </p:tgtEl>
                                        <p:attrNameLst>
                                          <p:attrName>style.visibility</p:attrName>
                                        </p:attrNameLst>
                                      </p:cBhvr>
                                      <p:to>
                                        <p:strVal val="visible"/>
                                      </p:to>
                                    </p:set>
                                    <p:anim calcmode="lin" valueType="num">
                                      <p:cBhvr>
                                        <p:cTn id="117" dur="500" fill="hold"/>
                                        <p:tgtEl>
                                          <p:spTgt spid="57"/>
                                        </p:tgtEl>
                                        <p:attrNameLst>
                                          <p:attrName>ppt_w</p:attrName>
                                        </p:attrNameLst>
                                      </p:cBhvr>
                                      <p:tavLst>
                                        <p:tav tm="0">
                                          <p:val>
                                            <p:fltVal val="0"/>
                                          </p:val>
                                        </p:tav>
                                        <p:tav tm="100000">
                                          <p:val>
                                            <p:strVal val="#ppt_w"/>
                                          </p:val>
                                        </p:tav>
                                      </p:tavLst>
                                    </p:anim>
                                    <p:anim calcmode="lin" valueType="num">
                                      <p:cBhvr>
                                        <p:cTn id="118" dur="500" fill="hold"/>
                                        <p:tgtEl>
                                          <p:spTgt spid="57"/>
                                        </p:tgtEl>
                                        <p:attrNameLst>
                                          <p:attrName>ppt_h</p:attrName>
                                        </p:attrNameLst>
                                      </p:cBhvr>
                                      <p:tavLst>
                                        <p:tav tm="0">
                                          <p:val>
                                            <p:fltVal val="0"/>
                                          </p:val>
                                        </p:tav>
                                        <p:tav tm="100000">
                                          <p:val>
                                            <p:strVal val="#ppt_h"/>
                                          </p:val>
                                        </p:tav>
                                      </p:tavLst>
                                    </p:anim>
                                    <p:animEffect transition="in" filter="fade">
                                      <p:cBhvr>
                                        <p:cTn id="119" dur="500"/>
                                        <p:tgtEl>
                                          <p:spTgt spid="57"/>
                                        </p:tgtEl>
                                      </p:cBhvr>
                                    </p:animEffect>
                                  </p:childTnLst>
                                </p:cTn>
                              </p:par>
                              <p:par>
                                <p:cTn id="120" presetID="53" presetClass="entr" presetSubtype="16" fill="hold" grpId="0" nodeType="withEffect" nodePh="1">
                                  <p:stCondLst>
                                    <p:cond delay="500"/>
                                  </p:stCondLst>
                                  <p:endCondLst>
                                    <p:cond evt="begin" delay="0">
                                      <p:tn val="120"/>
                                    </p:cond>
                                  </p:endCondLst>
                                  <p:childTnLst>
                                    <p:set>
                                      <p:cBhvr>
                                        <p:cTn id="121" dur="1" fill="hold">
                                          <p:stCondLst>
                                            <p:cond delay="0"/>
                                          </p:stCondLst>
                                        </p:cTn>
                                        <p:tgtEl>
                                          <p:spTgt spid="58"/>
                                        </p:tgtEl>
                                        <p:attrNameLst>
                                          <p:attrName>style.visibility</p:attrName>
                                        </p:attrNameLst>
                                      </p:cBhvr>
                                      <p:to>
                                        <p:strVal val="visible"/>
                                      </p:to>
                                    </p:set>
                                    <p:anim calcmode="lin" valueType="num">
                                      <p:cBhvr>
                                        <p:cTn id="122" dur="500" fill="hold"/>
                                        <p:tgtEl>
                                          <p:spTgt spid="58"/>
                                        </p:tgtEl>
                                        <p:attrNameLst>
                                          <p:attrName>ppt_w</p:attrName>
                                        </p:attrNameLst>
                                      </p:cBhvr>
                                      <p:tavLst>
                                        <p:tav tm="0">
                                          <p:val>
                                            <p:fltVal val="0"/>
                                          </p:val>
                                        </p:tav>
                                        <p:tav tm="100000">
                                          <p:val>
                                            <p:strVal val="#ppt_w"/>
                                          </p:val>
                                        </p:tav>
                                      </p:tavLst>
                                    </p:anim>
                                    <p:anim calcmode="lin" valueType="num">
                                      <p:cBhvr>
                                        <p:cTn id="123" dur="500" fill="hold"/>
                                        <p:tgtEl>
                                          <p:spTgt spid="58"/>
                                        </p:tgtEl>
                                        <p:attrNameLst>
                                          <p:attrName>ppt_h</p:attrName>
                                        </p:attrNameLst>
                                      </p:cBhvr>
                                      <p:tavLst>
                                        <p:tav tm="0">
                                          <p:val>
                                            <p:fltVal val="0"/>
                                          </p:val>
                                        </p:tav>
                                        <p:tav tm="100000">
                                          <p:val>
                                            <p:strVal val="#ppt_h"/>
                                          </p:val>
                                        </p:tav>
                                      </p:tavLst>
                                    </p:anim>
                                    <p:animEffect transition="in" filter="fade">
                                      <p:cBhvr>
                                        <p:cTn id="124" dur="500"/>
                                        <p:tgtEl>
                                          <p:spTgt spid="58"/>
                                        </p:tgtEl>
                                      </p:cBhvr>
                                    </p:animEffect>
                                  </p:childTnLst>
                                </p:cTn>
                              </p:par>
                              <p:par>
                                <p:cTn id="125" presetID="53" presetClass="entr" presetSubtype="16" fill="hold" grpId="0" nodeType="withEffect" nodePh="1">
                                  <p:stCondLst>
                                    <p:cond delay="500"/>
                                  </p:stCondLst>
                                  <p:endCondLst>
                                    <p:cond evt="begin" delay="0">
                                      <p:tn val="125"/>
                                    </p:cond>
                                  </p:endCondLst>
                                  <p:childTnLst>
                                    <p:set>
                                      <p:cBhvr>
                                        <p:cTn id="126" dur="1" fill="hold">
                                          <p:stCondLst>
                                            <p:cond delay="0"/>
                                          </p:stCondLst>
                                        </p:cTn>
                                        <p:tgtEl>
                                          <p:spTgt spid="59"/>
                                        </p:tgtEl>
                                        <p:attrNameLst>
                                          <p:attrName>style.visibility</p:attrName>
                                        </p:attrNameLst>
                                      </p:cBhvr>
                                      <p:to>
                                        <p:strVal val="visible"/>
                                      </p:to>
                                    </p:set>
                                    <p:anim calcmode="lin" valueType="num">
                                      <p:cBhvr>
                                        <p:cTn id="127" dur="500" fill="hold"/>
                                        <p:tgtEl>
                                          <p:spTgt spid="59"/>
                                        </p:tgtEl>
                                        <p:attrNameLst>
                                          <p:attrName>ppt_w</p:attrName>
                                        </p:attrNameLst>
                                      </p:cBhvr>
                                      <p:tavLst>
                                        <p:tav tm="0">
                                          <p:val>
                                            <p:fltVal val="0"/>
                                          </p:val>
                                        </p:tav>
                                        <p:tav tm="100000">
                                          <p:val>
                                            <p:strVal val="#ppt_w"/>
                                          </p:val>
                                        </p:tav>
                                      </p:tavLst>
                                    </p:anim>
                                    <p:anim calcmode="lin" valueType="num">
                                      <p:cBhvr>
                                        <p:cTn id="128" dur="500" fill="hold"/>
                                        <p:tgtEl>
                                          <p:spTgt spid="59"/>
                                        </p:tgtEl>
                                        <p:attrNameLst>
                                          <p:attrName>ppt_h</p:attrName>
                                        </p:attrNameLst>
                                      </p:cBhvr>
                                      <p:tavLst>
                                        <p:tav tm="0">
                                          <p:val>
                                            <p:fltVal val="0"/>
                                          </p:val>
                                        </p:tav>
                                        <p:tav tm="100000">
                                          <p:val>
                                            <p:strVal val="#ppt_h"/>
                                          </p:val>
                                        </p:tav>
                                      </p:tavLst>
                                    </p:anim>
                                    <p:animEffect transition="in" filter="fade">
                                      <p:cBhvr>
                                        <p:cTn id="129" dur="500"/>
                                        <p:tgtEl>
                                          <p:spTgt spid="59"/>
                                        </p:tgtEl>
                                      </p:cBhvr>
                                    </p:animEffect>
                                  </p:childTnLst>
                                </p:cTn>
                              </p:par>
                              <p:par>
                                <p:cTn id="130" presetID="53" presetClass="entr" presetSubtype="16" fill="hold" grpId="0" nodeType="withEffect" nodePh="1">
                                  <p:stCondLst>
                                    <p:cond delay="500"/>
                                  </p:stCondLst>
                                  <p:endCondLst>
                                    <p:cond evt="begin" delay="0">
                                      <p:tn val="130"/>
                                    </p:cond>
                                  </p:endCondLst>
                                  <p:childTnLst>
                                    <p:set>
                                      <p:cBhvr>
                                        <p:cTn id="131" dur="1" fill="hold">
                                          <p:stCondLst>
                                            <p:cond delay="0"/>
                                          </p:stCondLst>
                                        </p:cTn>
                                        <p:tgtEl>
                                          <p:spTgt spid="60"/>
                                        </p:tgtEl>
                                        <p:attrNameLst>
                                          <p:attrName>style.visibility</p:attrName>
                                        </p:attrNameLst>
                                      </p:cBhvr>
                                      <p:to>
                                        <p:strVal val="visible"/>
                                      </p:to>
                                    </p:set>
                                    <p:anim calcmode="lin" valueType="num">
                                      <p:cBhvr>
                                        <p:cTn id="132" dur="500" fill="hold"/>
                                        <p:tgtEl>
                                          <p:spTgt spid="60"/>
                                        </p:tgtEl>
                                        <p:attrNameLst>
                                          <p:attrName>ppt_w</p:attrName>
                                        </p:attrNameLst>
                                      </p:cBhvr>
                                      <p:tavLst>
                                        <p:tav tm="0">
                                          <p:val>
                                            <p:fltVal val="0"/>
                                          </p:val>
                                        </p:tav>
                                        <p:tav tm="100000">
                                          <p:val>
                                            <p:strVal val="#ppt_w"/>
                                          </p:val>
                                        </p:tav>
                                      </p:tavLst>
                                    </p:anim>
                                    <p:anim calcmode="lin" valueType="num">
                                      <p:cBhvr>
                                        <p:cTn id="133" dur="500" fill="hold"/>
                                        <p:tgtEl>
                                          <p:spTgt spid="60"/>
                                        </p:tgtEl>
                                        <p:attrNameLst>
                                          <p:attrName>ppt_h</p:attrName>
                                        </p:attrNameLst>
                                      </p:cBhvr>
                                      <p:tavLst>
                                        <p:tav tm="0">
                                          <p:val>
                                            <p:fltVal val="0"/>
                                          </p:val>
                                        </p:tav>
                                        <p:tav tm="100000">
                                          <p:val>
                                            <p:strVal val="#ppt_h"/>
                                          </p:val>
                                        </p:tav>
                                      </p:tavLst>
                                    </p:anim>
                                    <p:animEffect transition="in" filter="fade">
                                      <p:cBhvr>
                                        <p:cTn id="134" dur="500"/>
                                        <p:tgtEl>
                                          <p:spTgt spid="60"/>
                                        </p:tgtEl>
                                      </p:cBhvr>
                                    </p:animEffect>
                                  </p:childTnLst>
                                </p:cTn>
                              </p:par>
                              <p:par>
                                <p:cTn id="135" presetID="53" presetClass="entr" presetSubtype="16" fill="hold" grpId="0" nodeType="withEffect" nodePh="1">
                                  <p:stCondLst>
                                    <p:cond delay="0"/>
                                  </p:stCondLst>
                                  <p:endCondLst>
                                    <p:cond evt="begin" delay="0">
                                      <p:tn val="135"/>
                                    </p:cond>
                                  </p:endCondLst>
                                  <p:childTnLst>
                                    <p:set>
                                      <p:cBhvr>
                                        <p:cTn id="136" dur="1" fill="hold">
                                          <p:stCondLst>
                                            <p:cond delay="0"/>
                                          </p:stCondLst>
                                        </p:cTn>
                                        <p:tgtEl>
                                          <p:spTgt spid="61"/>
                                        </p:tgtEl>
                                        <p:attrNameLst>
                                          <p:attrName>style.visibility</p:attrName>
                                        </p:attrNameLst>
                                      </p:cBhvr>
                                      <p:to>
                                        <p:strVal val="visible"/>
                                      </p:to>
                                    </p:set>
                                    <p:anim calcmode="lin" valueType="num">
                                      <p:cBhvr>
                                        <p:cTn id="137" dur="500" fill="hold"/>
                                        <p:tgtEl>
                                          <p:spTgt spid="61"/>
                                        </p:tgtEl>
                                        <p:attrNameLst>
                                          <p:attrName>ppt_w</p:attrName>
                                        </p:attrNameLst>
                                      </p:cBhvr>
                                      <p:tavLst>
                                        <p:tav tm="0">
                                          <p:val>
                                            <p:fltVal val="0"/>
                                          </p:val>
                                        </p:tav>
                                        <p:tav tm="100000">
                                          <p:val>
                                            <p:strVal val="#ppt_w"/>
                                          </p:val>
                                        </p:tav>
                                      </p:tavLst>
                                    </p:anim>
                                    <p:anim calcmode="lin" valueType="num">
                                      <p:cBhvr>
                                        <p:cTn id="138" dur="500" fill="hold"/>
                                        <p:tgtEl>
                                          <p:spTgt spid="61"/>
                                        </p:tgtEl>
                                        <p:attrNameLst>
                                          <p:attrName>ppt_h</p:attrName>
                                        </p:attrNameLst>
                                      </p:cBhvr>
                                      <p:tavLst>
                                        <p:tav tm="0">
                                          <p:val>
                                            <p:fltVal val="0"/>
                                          </p:val>
                                        </p:tav>
                                        <p:tav tm="100000">
                                          <p:val>
                                            <p:strVal val="#ppt_h"/>
                                          </p:val>
                                        </p:tav>
                                      </p:tavLst>
                                    </p:anim>
                                    <p:animEffect transition="in" filter="fade">
                                      <p:cBhvr>
                                        <p:cTn id="139" dur="500"/>
                                        <p:tgtEl>
                                          <p:spTgt spid="61"/>
                                        </p:tgtEl>
                                      </p:cBhvr>
                                    </p:animEffect>
                                  </p:childTnLst>
                                </p:cTn>
                              </p:par>
                              <p:par>
                                <p:cTn id="140" presetID="53" presetClass="entr" presetSubtype="16" fill="hold" grpId="0" nodeType="withEffect" nodePh="1">
                                  <p:stCondLst>
                                    <p:cond delay="0"/>
                                  </p:stCondLst>
                                  <p:endCondLst>
                                    <p:cond evt="begin" delay="0">
                                      <p:tn val="140"/>
                                    </p:cond>
                                  </p:endCondLst>
                                  <p:childTnLst>
                                    <p:set>
                                      <p:cBhvr>
                                        <p:cTn id="141" dur="1" fill="hold">
                                          <p:stCondLst>
                                            <p:cond delay="0"/>
                                          </p:stCondLst>
                                        </p:cTn>
                                        <p:tgtEl>
                                          <p:spTgt spid="62"/>
                                        </p:tgtEl>
                                        <p:attrNameLst>
                                          <p:attrName>style.visibility</p:attrName>
                                        </p:attrNameLst>
                                      </p:cBhvr>
                                      <p:to>
                                        <p:strVal val="visible"/>
                                      </p:to>
                                    </p:set>
                                    <p:anim calcmode="lin" valueType="num">
                                      <p:cBhvr>
                                        <p:cTn id="142" dur="500" fill="hold"/>
                                        <p:tgtEl>
                                          <p:spTgt spid="62"/>
                                        </p:tgtEl>
                                        <p:attrNameLst>
                                          <p:attrName>ppt_w</p:attrName>
                                        </p:attrNameLst>
                                      </p:cBhvr>
                                      <p:tavLst>
                                        <p:tav tm="0">
                                          <p:val>
                                            <p:fltVal val="0"/>
                                          </p:val>
                                        </p:tav>
                                        <p:tav tm="100000">
                                          <p:val>
                                            <p:strVal val="#ppt_w"/>
                                          </p:val>
                                        </p:tav>
                                      </p:tavLst>
                                    </p:anim>
                                    <p:anim calcmode="lin" valueType="num">
                                      <p:cBhvr>
                                        <p:cTn id="143" dur="500" fill="hold"/>
                                        <p:tgtEl>
                                          <p:spTgt spid="62"/>
                                        </p:tgtEl>
                                        <p:attrNameLst>
                                          <p:attrName>ppt_h</p:attrName>
                                        </p:attrNameLst>
                                      </p:cBhvr>
                                      <p:tavLst>
                                        <p:tav tm="0">
                                          <p:val>
                                            <p:fltVal val="0"/>
                                          </p:val>
                                        </p:tav>
                                        <p:tav tm="100000">
                                          <p:val>
                                            <p:strVal val="#ppt_h"/>
                                          </p:val>
                                        </p:tav>
                                      </p:tavLst>
                                    </p:anim>
                                    <p:animEffect transition="in" filter="fade">
                                      <p:cBhvr>
                                        <p:cTn id="144" dur="500"/>
                                        <p:tgtEl>
                                          <p:spTgt spid="62"/>
                                        </p:tgtEl>
                                      </p:cBhvr>
                                    </p:animEffect>
                                  </p:childTnLst>
                                </p:cTn>
                              </p:par>
                              <p:par>
                                <p:cTn id="145" presetID="53" presetClass="entr" presetSubtype="16" fill="hold" grpId="0" nodeType="withEffect" nodePh="1">
                                  <p:stCondLst>
                                    <p:cond delay="0"/>
                                  </p:stCondLst>
                                  <p:endCondLst>
                                    <p:cond evt="begin" delay="0">
                                      <p:tn val="145"/>
                                    </p:cond>
                                  </p:endCondLst>
                                  <p:childTnLst>
                                    <p:set>
                                      <p:cBhvr>
                                        <p:cTn id="146" dur="1" fill="hold">
                                          <p:stCondLst>
                                            <p:cond delay="0"/>
                                          </p:stCondLst>
                                        </p:cTn>
                                        <p:tgtEl>
                                          <p:spTgt spid="63"/>
                                        </p:tgtEl>
                                        <p:attrNameLst>
                                          <p:attrName>style.visibility</p:attrName>
                                        </p:attrNameLst>
                                      </p:cBhvr>
                                      <p:to>
                                        <p:strVal val="visible"/>
                                      </p:to>
                                    </p:set>
                                    <p:anim calcmode="lin" valueType="num">
                                      <p:cBhvr>
                                        <p:cTn id="147" dur="500" fill="hold"/>
                                        <p:tgtEl>
                                          <p:spTgt spid="63"/>
                                        </p:tgtEl>
                                        <p:attrNameLst>
                                          <p:attrName>ppt_w</p:attrName>
                                        </p:attrNameLst>
                                      </p:cBhvr>
                                      <p:tavLst>
                                        <p:tav tm="0">
                                          <p:val>
                                            <p:fltVal val="0"/>
                                          </p:val>
                                        </p:tav>
                                        <p:tav tm="100000">
                                          <p:val>
                                            <p:strVal val="#ppt_w"/>
                                          </p:val>
                                        </p:tav>
                                      </p:tavLst>
                                    </p:anim>
                                    <p:anim calcmode="lin" valueType="num">
                                      <p:cBhvr>
                                        <p:cTn id="148" dur="500" fill="hold"/>
                                        <p:tgtEl>
                                          <p:spTgt spid="63"/>
                                        </p:tgtEl>
                                        <p:attrNameLst>
                                          <p:attrName>ppt_h</p:attrName>
                                        </p:attrNameLst>
                                      </p:cBhvr>
                                      <p:tavLst>
                                        <p:tav tm="0">
                                          <p:val>
                                            <p:fltVal val="0"/>
                                          </p:val>
                                        </p:tav>
                                        <p:tav tm="100000">
                                          <p:val>
                                            <p:strVal val="#ppt_h"/>
                                          </p:val>
                                        </p:tav>
                                      </p:tavLst>
                                    </p:anim>
                                    <p:animEffect transition="in" filter="fade">
                                      <p:cBhvr>
                                        <p:cTn id="149" dur="500"/>
                                        <p:tgtEl>
                                          <p:spTgt spid="63"/>
                                        </p:tgtEl>
                                      </p:cBhvr>
                                    </p:animEffect>
                                  </p:childTnLst>
                                </p:cTn>
                              </p:par>
                              <p:par>
                                <p:cTn id="150" presetID="53" presetClass="entr" presetSubtype="16" fill="hold" grpId="0" nodeType="withEffect" nodePh="1">
                                  <p:stCondLst>
                                    <p:cond delay="0"/>
                                  </p:stCondLst>
                                  <p:endCondLst>
                                    <p:cond evt="begin" delay="0">
                                      <p:tn val="150"/>
                                    </p:cond>
                                  </p:endCondLst>
                                  <p:childTnLst>
                                    <p:set>
                                      <p:cBhvr>
                                        <p:cTn id="151" dur="1" fill="hold">
                                          <p:stCondLst>
                                            <p:cond delay="0"/>
                                          </p:stCondLst>
                                        </p:cTn>
                                        <p:tgtEl>
                                          <p:spTgt spid="64"/>
                                        </p:tgtEl>
                                        <p:attrNameLst>
                                          <p:attrName>style.visibility</p:attrName>
                                        </p:attrNameLst>
                                      </p:cBhvr>
                                      <p:to>
                                        <p:strVal val="visible"/>
                                      </p:to>
                                    </p:set>
                                    <p:anim calcmode="lin" valueType="num">
                                      <p:cBhvr>
                                        <p:cTn id="152" dur="500" fill="hold"/>
                                        <p:tgtEl>
                                          <p:spTgt spid="64"/>
                                        </p:tgtEl>
                                        <p:attrNameLst>
                                          <p:attrName>ppt_w</p:attrName>
                                        </p:attrNameLst>
                                      </p:cBhvr>
                                      <p:tavLst>
                                        <p:tav tm="0">
                                          <p:val>
                                            <p:fltVal val="0"/>
                                          </p:val>
                                        </p:tav>
                                        <p:tav tm="100000">
                                          <p:val>
                                            <p:strVal val="#ppt_w"/>
                                          </p:val>
                                        </p:tav>
                                      </p:tavLst>
                                    </p:anim>
                                    <p:anim calcmode="lin" valueType="num">
                                      <p:cBhvr>
                                        <p:cTn id="153" dur="500" fill="hold"/>
                                        <p:tgtEl>
                                          <p:spTgt spid="64"/>
                                        </p:tgtEl>
                                        <p:attrNameLst>
                                          <p:attrName>ppt_h</p:attrName>
                                        </p:attrNameLst>
                                      </p:cBhvr>
                                      <p:tavLst>
                                        <p:tav tm="0">
                                          <p:val>
                                            <p:fltVal val="0"/>
                                          </p:val>
                                        </p:tav>
                                        <p:tav tm="100000">
                                          <p:val>
                                            <p:strVal val="#ppt_h"/>
                                          </p:val>
                                        </p:tav>
                                      </p:tavLst>
                                    </p:anim>
                                    <p:animEffect transition="in" filter="fade">
                                      <p:cBhvr>
                                        <p:cTn id="154"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38" grpId="0"/>
      <p:bldP spid="39" grpId="0"/>
      <p:bldP spid="40" grpId="0"/>
      <p:bldP spid="41" grpId="0"/>
      <p:bldP spid="42" grpId="0"/>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P spid="64"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bg>
      <p:bgPr>
        <a:pattFill prst="smConfetti">
          <a:fgClr>
            <a:schemeClr val="accent2"/>
          </a:fgClr>
          <a:bgClr>
            <a:schemeClr val="accent2">
              <a:lumMod val="60000"/>
              <a:lumOff val="40000"/>
            </a:schemeClr>
          </a:bgClr>
        </a:pattFill>
        <a:effectLst/>
      </p:bgPr>
    </p:bg>
    <p:spTree>
      <p:nvGrpSpPr>
        <p:cNvPr id="1" name=""/>
        <p:cNvGrpSpPr/>
        <p:nvPr/>
      </p:nvGrpSpPr>
      <p:grpSpPr>
        <a:xfrm>
          <a:off x="0" y="0"/>
          <a:ext cx="0" cy="0"/>
          <a:chOff x="0" y="0"/>
          <a:chExt cx="0" cy="0"/>
        </a:xfrm>
      </p:grpSpPr>
      <p:grpSp>
        <p:nvGrpSpPr>
          <p:cNvPr id="3" name="Group 2"/>
          <p:cNvGrpSpPr/>
          <p:nvPr userDrawn="1"/>
        </p:nvGrpSpPr>
        <p:grpSpPr>
          <a:xfrm>
            <a:off x="6349" y="0"/>
            <a:ext cx="12181249" cy="6858000"/>
            <a:chOff x="6350" y="0"/>
            <a:chExt cx="7194550" cy="3600450"/>
          </a:xfrm>
          <a:gradFill flip="none" rotWithShape="1">
            <a:gsLst>
              <a:gs pos="100000">
                <a:schemeClr val="bg1">
                  <a:alpha val="15000"/>
                </a:schemeClr>
              </a:gs>
              <a:gs pos="0">
                <a:schemeClr val="bg1">
                  <a:alpha val="0"/>
                </a:schemeClr>
              </a:gs>
            </a:gsLst>
            <a:path path="circle">
              <a:fillToRect l="50000" t="50000" r="50000" b="50000"/>
            </a:path>
            <a:tileRect/>
          </a:gradFill>
        </p:grpSpPr>
        <p:sp>
          <p:nvSpPr>
            <p:cNvPr id="4"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395272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file Page 5 Minmap 2">
    <p:spTree>
      <p:nvGrpSpPr>
        <p:cNvPr id="1" name=""/>
        <p:cNvGrpSpPr/>
        <p:nvPr/>
      </p:nvGrpSpPr>
      <p:grpSpPr>
        <a:xfrm>
          <a:off x="0" y="0"/>
          <a:ext cx="0" cy="0"/>
          <a:chOff x="0" y="0"/>
          <a:chExt cx="0" cy="0"/>
        </a:xfrm>
      </p:grpSpPr>
      <p:sp>
        <p:nvSpPr>
          <p:cNvPr id="25" name="Freeform 34"/>
          <p:cNvSpPr>
            <a:spLocks/>
          </p:cNvSpPr>
          <p:nvPr userDrawn="1"/>
        </p:nvSpPr>
        <p:spPr bwMode="auto">
          <a:xfrm>
            <a:off x="11723287" y="1019827"/>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10759519" y="40067"/>
            <a:ext cx="412318" cy="242761"/>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76955" y="346212"/>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3" name="Picture Placeholder 2"/>
          <p:cNvSpPr>
            <a:spLocks noGrp="1"/>
          </p:cNvSpPr>
          <p:nvPr>
            <p:ph type="pic" sz="quarter" idx="17"/>
          </p:nvPr>
        </p:nvSpPr>
        <p:spPr>
          <a:xfrm>
            <a:off x="5024058" y="2841620"/>
            <a:ext cx="2168529" cy="2168529"/>
          </a:xfrm>
          <a:prstGeom prst="ellipse">
            <a:avLst/>
          </a:prstGeom>
        </p:spPr>
        <p:txBody>
          <a:bodyPr>
            <a:normAutofit/>
          </a:bodyPr>
          <a:lstStyle>
            <a:lvl1pPr>
              <a:defRPr sz="1600"/>
            </a:lvl1pPr>
          </a:lstStyle>
          <a:p>
            <a:endParaRPr lang="id-ID"/>
          </a:p>
        </p:txBody>
      </p:sp>
      <p:grpSp>
        <p:nvGrpSpPr>
          <p:cNvPr id="20" name="Group 19"/>
          <p:cNvGrpSpPr/>
          <p:nvPr userDrawn="1"/>
        </p:nvGrpSpPr>
        <p:grpSpPr>
          <a:xfrm>
            <a:off x="338952" y="6409324"/>
            <a:ext cx="224082" cy="221156"/>
            <a:chOff x="4328868" y="5502988"/>
            <a:chExt cx="500307" cy="493774"/>
          </a:xfrm>
        </p:grpSpPr>
        <p:sp>
          <p:nvSpPr>
            <p:cNvPr id="21" name="Freeform 20">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38" name="Group 37"/>
          <p:cNvGrpSpPr/>
          <p:nvPr userDrawn="1"/>
        </p:nvGrpSpPr>
        <p:grpSpPr>
          <a:xfrm flipH="1">
            <a:off x="11637433" y="6409324"/>
            <a:ext cx="224082" cy="221156"/>
            <a:chOff x="4328868" y="5502988"/>
            <a:chExt cx="500307" cy="493774"/>
          </a:xfrm>
        </p:grpSpPr>
        <p:sp>
          <p:nvSpPr>
            <p:cNvPr id="39" name="Freeform 38">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40" name="Freeform 39">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41" name="Freeform 34"/>
          <p:cNvSpPr>
            <a:spLocks/>
          </p:cNvSpPr>
          <p:nvPr userDrawn="1"/>
        </p:nvSpPr>
        <p:spPr bwMode="auto">
          <a:xfrm>
            <a:off x="-113703" y="1037827"/>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Tree>
    <p:extLst>
      <p:ext uri="{BB962C8B-B14F-4D97-AF65-F5344CB8AC3E}">
        <p14:creationId xmlns:p14="http://schemas.microsoft.com/office/powerpoint/2010/main" val="3296881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eet The Team 4 Picture V3">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28" name="Picture Placeholder 2"/>
          <p:cNvSpPr>
            <a:spLocks noGrp="1"/>
          </p:cNvSpPr>
          <p:nvPr>
            <p:ph type="pic" sz="quarter" idx="14"/>
          </p:nvPr>
        </p:nvSpPr>
        <p:spPr>
          <a:xfrm>
            <a:off x="3911347" y="2112430"/>
            <a:ext cx="1620000" cy="1620000"/>
          </a:xfrm>
          <a:prstGeom prst="rect">
            <a:avLst/>
          </a:prstGeom>
        </p:spPr>
        <p:txBody>
          <a:bodyPr>
            <a:normAutofit/>
          </a:bodyPr>
          <a:lstStyle>
            <a:lvl1pPr>
              <a:defRPr sz="1400"/>
            </a:lvl1pPr>
          </a:lstStyle>
          <a:p>
            <a:endParaRPr lang="id-ID"/>
          </a:p>
        </p:txBody>
      </p:sp>
      <p:sp>
        <p:nvSpPr>
          <p:cNvPr id="29" name="Picture Placeholder 2"/>
          <p:cNvSpPr>
            <a:spLocks noGrp="1"/>
          </p:cNvSpPr>
          <p:nvPr>
            <p:ph type="pic" sz="quarter" idx="15"/>
          </p:nvPr>
        </p:nvSpPr>
        <p:spPr>
          <a:xfrm>
            <a:off x="6641030" y="2112430"/>
            <a:ext cx="1620000" cy="1620000"/>
          </a:xfrm>
          <a:prstGeom prst="rect">
            <a:avLst/>
          </a:prstGeom>
        </p:spPr>
        <p:txBody>
          <a:bodyPr>
            <a:normAutofit/>
          </a:bodyPr>
          <a:lstStyle>
            <a:lvl1pPr>
              <a:defRPr sz="1400"/>
            </a:lvl1pPr>
          </a:lstStyle>
          <a:p>
            <a:endParaRPr lang="id-ID"/>
          </a:p>
        </p:txBody>
      </p:sp>
      <p:sp>
        <p:nvSpPr>
          <p:cNvPr id="34" name="Picture Placeholder 2"/>
          <p:cNvSpPr>
            <a:spLocks noGrp="1"/>
          </p:cNvSpPr>
          <p:nvPr>
            <p:ph type="pic" sz="quarter" idx="16"/>
          </p:nvPr>
        </p:nvSpPr>
        <p:spPr>
          <a:xfrm>
            <a:off x="9349431" y="2112430"/>
            <a:ext cx="1620000" cy="1620000"/>
          </a:xfrm>
          <a:prstGeom prst="rect">
            <a:avLst/>
          </a:prstGeom>
        </p:spPr>
        <p:txBody>
          <a:bodyPr>
            <a:normAutofit/>
          </a:bodyPr>
          <a:lstStyle>
            <a:lvl1pPr>
              <a:defRPr sz="1400"/>
            </a:lvl1pPr>
          </a:lstStyle>
          <a:p>
            <a:endParaRPr lang="id-ID"/>
          </a:p>
        </p:txBody>
      </p:sp>
      <p:sp>
        <p:nvSpPr>
          <p:cNvPr id="35" name="Picture Placeholder 2"/>
          <p:cNvSpPr>
            <a:spLocks noGrp="1"/>
          </p:cNvSpPr>
          <p:nvPr>
            <p:ph type="pic" sz="quarter" idx="17"/>
          </p:nvPr>
        </p:nvSpPr>
        <p:spPr>
          <a:xfrm>
            <a:off x="1282176" y="2112430"/>
            <a:ext cx="1620000" cy="1620000"/>
          </a:xfrm>
          <a:prstGeom prst="rect">
            <a:avLst/>
          </a:prstGeom>
        </p:spPr>
        <p:txBody>
          <a:bodyPr>
            <a:normAutofit/>
          </a:bodyPr>
          <a:lstStyle>
            <a:lvl1pPr>
              <a:defRPr sz="1400"/>
            </a:lvl1pPr>
          </a:lstStyle>
          <a:p>
            <a:endParaRPr lang="id-ID"/>
          </a:p>
        </p:txBody>
      </p:sp>
    </p:spTree>
    <p:extLst>
      <p:ext uri="{BB962C8B-B14F-4D97-AF65-F5344CB8AC3E}">
        <p14:creationId xmlns:p14="http://schemas.microsoft.com/office/powerpoint/2010/main" val="1713842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eet the Team 3 Picture">
    <p:spTree>
      <p:nvGrpSpPr>
        <p:cNvPr id="1" name=""/>
        <p:cNvGrpSpPr/>
        <p:nvPr/>
      </p:nvGrpSpPr>
      <p:grpSpPr>
        <a:xfrm>
          <a:off x="0" y="0"/>
          <a:ext cx="0" cy="0"/>
          <a:chOff x="0" y="0"/>
          <a:chExt cx="0" cy="0"/>
        </a:xfrm>
      </p:grpSpPr>
      <p:grpSp>
        <p:nvGrpSpPr>
          <p:cNvPr id="3" name="Group 2"/>
          <p:cNvGrpSpPr/>
          <p:nvPr userDrawn="1"/>
        </p:nvGrpSpPr>
        <p:grpSpPr>
          <a:xfrm>
            <a:off x="2104740" y="464135"/>
            <a:ext cx="8902042" cy="1066800"/>
            <a:chOff x="2104740" y="464135"/>
            <a:chExt cx="8902042" cy="1066800"/>
          </a:xfrm>
        </p:grpSpPr>
        <p:sp>
          <p:nvSpPr>
            <p:cNvPr id="43" name="Freeform 28"/>
            <p:cNvSpPr>
              <a:spLocks/>
            </p:cNvSpPr>
            <p:nvPr/>
          </p:nvSpPr>
          <p:spPr bwMode="auto">
            <a:xfrm>
              <a:off x="2104740" y="545097"/>
              <a:ext cx="577850" cy="811213"/>
            </a:xfrm>
            <a:custGeom>
              <a:avLst/>
              <a:gdLst>
                <a:gd name="T0" fmla="*/ 130 w 130"/>
                <a:gd name="T1" fmla="*/ 20 h 181"/>
                <a:gd name="T2" fmla="*/ 3 w 130"/>
                <a:gd name="T3" fmla="*/ 0 h 181"/>
                <a:gd name="T4" fmla="*/ 44 w 130"/>
                <a:gd name="T5" fmla="*/ 90 h 181"/>
                <a:gd name="T6" fmla="*/ 0 w 130"/>
                <a:gd name="T7" fmla="*/ 164 h 181"/>
                <a:gd name="T8" fmla="*/ 123 w 130"/>
                <a:gd name="T9" fmla="*/ 179 h 181"/>
                <a:gd name="T10" fmla="*/ 130 w 130"/>
                <a:gd name="T11" fmla="*/ 20 h 181"/>
              </a:gdLst>
              <a:ahLst/>
              <a:cxnLst>
                <a:cxn ang="0">
                  <a:pos x="T0" y="T1"/>
                </a:cxn>
                <a:cxn ang="0">
                  <a:pos x="T2" y="T3"/>
                </a:cxn>
                <a:cxn ang="0">
                  <a:pos x="T4" y="T5"/>
                </a:cxn>
                <a:cxn ang="0">
                  <a:pos x="T6" y="T7"/>
                </a:cxn>
                <a:cxn ang="0">
                  <a:pos x="T8" y="T9"/>
                </a:cxn>
                <a:cxn ang="0">
                  <a:pos x="T10" y="T11"/>
                </a:cxn>
              </a:cxnLst>
              <a:rect l="0" t="0" r="r" b="b"/>
              <a:pathLst>
                <a:path w="130" h="181">
                  <a:moveTo>
                    <a:pt x="130" y="20"/>
                  </a:moveTo>
                  <a:cubicBezTo>
                    <a:pt x="130" y="20"/>
                    <a:pt x="49" y="16"/>
                    <a:pt x="3" y="0"/>
                  </a:cubicBezTo>
                  <a:cubicBezTo>
                    <a:pt x="3" y="0"/>
                    <a:pt x="37" y="83"/>
                    <a:pt x="44" y="90"/>
                  </a:cubicBezTo>
                  <a:cubicBezTo>
                    <a:pt x="0" y="164"/>
                    <a:pt x="0" y="164"/>
                    <a:pt x="0" y="164"/>
                  </a:cubicBezTo>
                  <a:cubicBezTo>
                    <a:pt x="0" y="164"/>
                    <a:pt x="77" y="181"/>
                    <a:pt x="123" y="179"/>
                  </a:cubicBezTo>
                  <a:lnTo>
                    <a:pt x="130"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29"/>
            <p:cNvSpPr>
              <a:spLocks/>
            </p:cNvSpPr>
            <p:nvPr/>
          </p:nvSpPr>
          <p:spPr bwMode="auto">
            <a:xfrm>
              <a:off x="2473040" y="616535"/>
              <a:ext cx="209550" cy="735013"/>
            </a:xfrm>
            <a:custGeom>
              <a:avLst/>
              <a:gdLst>
                <a:gd name="T0" fmla="*/ 0 w 47"/>
                <a:gd name="T1" fmla="*/ 0 h 164"/>
                <a:gd name="T2" fmla="*/ 47 w 47"/>
                <a:gd name="T3" fmla="*/ 4 h 164"/>
                <a:gd name="T4" fmla="*/ 40 w 47"/>
                <a:gd name="T5" fmla="*/ 163 h 164"/>
                <a:gd name="T6" fmla="*/ 0 w 47"/>
                <a:gd name="T7" fmla="*/ 161 h 164"/>
                <a:gd name="T8" fmla="*/ 0 w 47"/>
                <a:gd name="T9" fmla="*/ 0 h 164"/>
              </a:gdLst>
              <a:ahLst/>
              <a:cxnLst>
                <a:cxn ang="0">
                  <a:pos x="T0" y="T1"/>
                </a:cxn>
                <a:cxn ang="0">
                  <a:pos x="T2" y="T3"/>
                </a:cxn>
                <a:cxn ang="0">
                  <a:pos x="T4" y="T5"/>
                </a:cxn>
                <a:cxn ang="0">
                  <a:pos x="T6" y="T7"/>
                </a:cxn>
                <a:cxn ang="0">
                  <a:pos x="T8" y="T9"/>
                </a:cxn>
              </a:cxnLst>
              <a:rect l="0" t="0" r="r" b="b"/>
              <a:pathLst>
                <a:path w="47" h="164">
                  <a:moveTo>
                    <a:pt x="0" y="0"/>
                  </a:moveTo>
                  <a:cubicBezTo>
                    <a:pt x="26" y="3"/>
                    <a:pt x="47" y="4"/>
                    <a:pt x="47" y="4"/>
                  </a:cubicBezTo>
                  <a:cubicBezTo>
                    <a:pt x="40" y="163"/>
                    <a:pt x="40" y="163"/>
                    <a:pt x="40" y="163"/>
                  </a:cubicBezTo>
                  <a:cubicBezTo>
                    <a:pt x="28" y="164"/>
                    <a:pt x="14" y="163"/>
                    <a:pt x="0" y="161"/>
                  </a:cubicBezTo>
                  <a:lnTo>
                    <a:pt x="0" y="0"/>
                  </a:lnTo>
                  <a:close/>
                </a:path>
              </a:pathLst>
            </a:custGeom>
            <a:solidFill>
              <a:schemeClr val="accent1">
                <a:lumMod val="75000"/>
                <a:alpha val="4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0"/>
            <p:cNvSpPr>
              <a:spLocks/>
            </p:cNvSpPr>
            <p:nvPr/>
          </p:nvSpPr>
          <p:spPr bwMode="auto">
            <a:xfrm>
              <a:off x="2633377" y="562560"/>
              <a:ext cx="6389688" cy="928688"/>
            </a:xfrm>
            <a:custGeom>
              <a:avLst/>
              <a:gdLst>
                <a:gd name="T0" fmla="*/ 1438 w 1438"/>
                <a:gd name="T1" fmla="*/ 0 h 207"/>
                <a:gd name="T2" fmla="*/ 867 w 1438"/>
                <a:gd name="T3" fmla="*/ 6 h 207"/>
                <a:gd name="T4" fmla="*/ 0 w 1438"/>
                <a:gd name="T5" fmla="*/ 0 h 207"/>
                <a:gd name="T6" fmla="*/ 0 w 1438"/>
                <a:gd name="T7" fmla="*/ 191 h 207"/>
                <a:gd name="T8" fmla="*/ 684 w 1438"/>
                <a:gd name="T9" fmla="*/ 191 h 207"/>
                <a:gd name="T10" fmla="*/ 1438 w 1438"/>
                <a:gd name="T11" fmla="*/ 191 h 207"/>
                <a:gd name="T12" fmla="*/ 1438 w 1438"/>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1438" h="207">
                  <a:moveTo>
                    <a:pt x="1438" y="0"/>
                  </a:moveTo>
                  <a:cubicBezTo>
                    <a:pt x="1438" y="0"/>
                    <a:pt x="1008" y="3"/>
                    <a:pt x="867" y="6"/>
                  </a:cubicBezTo>
                  <a:cubicBezTo>
                    <a:pt x="272" y="19"/>
                    <a:pt x="0" y="0"/>
                    <a:pt x="0" y="0"/>
                  </a:cubicBezTo>
                  <a:cubicBezTo>
                    <a:pt x="0" y="191"/>
                    <a:pt x="0" y="191"/>
                    <a:pt x="0" y="191"/>
                  </a:cubicBezTo>
                  <a:cubicBezTo>
                    <a:pt x="0" y="191"/>
                    <a:pt x="227" y="207"/>
                    <a:pt x="684" y="191"/>
                  </a:cubicBezTo>
                  <a:cubicBezTo>
                    <a:pt x="863" y="185"/>
                    <a:pt x="1438" y="191"/>
                    <a:pt x="1438" y="191"/>
                  </a:cubicBezTo>
                  <a:lnTo>
                    <a:pt x="143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31"/>
            <p:cNvSpPr>
              <a:spLocks/>
            </p:cNvSpPr>
            <p:nvPr/>
          </p:nvSpPr>
          <p:spPr bwMode="auto">
            <a:xfrm>
              <a:off x="9013540" y="464135"/>
              <a:ext cx="66675" cy="1066800"/>
            </a:xfrm>
            <a:custGeom>
              <a:avLst/>
              <a:gdLst>
                <a:gd name="T0" fmla="*/ 0 w 15"/>
                <a:gd name="T1" fmla="*/ 229 h 238"/>
                <a:gd name="T2" fmla="*/ 8 w 15"/>
                <a:gd name="T3" fmla="*/ 238 h 238"/>
                <a:gd name="T4" fmla="*/ 8 w 15"/>
                <a:gd name="T5" fmla="*/ 238 h 238"/>
                <a:gd name="T6" fmla="*/ 15 w 15"/>
                <a:gd name="T7" fmla="*/ 229 h 238"/>
                <a:gd name="T8" fmla="*/ 15 w 15"/>
                <a:gd name="T9" fmla="*/ 9 h 238"/>
                <a:gd name="T10" fmla="*/ 8 w 15"/>
                <a:gd name="T11" fmla="*/ 0 h 238"/>
                <a:gd name="T12" fmla="*/ 8 w 15"/>
                <a:gd name="T13" fmla="*/ 0 h 238"/>
                <a:gd name="T14" fmla="*/ 0 w 15"/>
                <a:gd name="T15" fmla="*/ 9 h 238"/>
                <a:gd name="T16" fmla="*/ 0 w 15"/>
                <a:gd name="T17" fmla="*/ 22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38">
                  <a:moveTo>
                    <a:pt x="0" y="229"/>
                  </a:moveTo>
                  <a:cubicBezTo>
                    <a:pt x="0" y="234"/>
                    <a:pt x="4" y="238"/>
                    <a:pt x="8" y="238"/>
                  </a:cubicBezTo>
                  <a:cubicBezTo>
                    <a:pt x="8" y="238"/>
                    <a:pt x="8" y="238"/>
                    <a:pt x="8" y="238"/>
                  </a:cubicBezTo>
                  <a:cubicBezTo>
                    <a:pt x="12" y="238"/>
                    <a:pt x="15" y="234"/>
                    <a:pt x="15" y="229"/>
                  </a:cubicBezTo>
                  <a:cubicBezTo>
                    <a:pt x="15" y="9"/>
                    <a:pt x="15" y="9"/>
                    <a:pt x="15" y="9"/>
                  </a:cubicBezTo>
                  <a:cubicBezTo>
                    <a:pt x="15" y="4"/>
                    <a:pt x="12" y="0"/>
                    <a:pt x="8" y="0"/>
                  </a:cubicBezTo>
                  <a:cubicBezTo>
                    <a:pt x="8" y="0"/>
                    <a:pt x="8" y="0"/>
                    <a:pt x="8" y="0"/>
                  </a:cubicBezTo>
                  <a:cubicBezTo>
                    <a:pt x="4" y="0"/>
                    <a:pt x="0" y="4"/>
                    <a:pt x="0" y="9"/>
                  </a:cubicBezTo>
                  <a:lnTo>
                    <a:pt x="0" y="22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2" name="Group 1"/>
            <p:cNvGrpSpPr/>
            <p:nvPr userDrawn="1"/>
          </p:nvGrpSpPr>
          <p:grpSpPr>
            <a:xfrm>
              <a:off x="9840627" y="814161"/>
              <a:ext cx="1166155" cy="595444"/>
              <a:chOff x="9840627" y="833339"/>
              <a:chExt cx="2020888" cy="1031875"/>
            </a:xfrm>
            <a:solidFill>
              <a:schemeClr val="tx2">
                <a:lumMod val="60000"/>
                <a:lumOff val="40000"/>
              </a:schemeClr>
            </a:solidFill>
          </p:grpSpPr>
          <p:sp>
            <p:nvSpPr>
              <p:cNvPr id="33" name="Freeform 32"/>
              <p:cNvSpPr>
                <a:spLocks/>
              </p:cNvSpPr>
              <p:nvPr/>
            </p:nvSpPr>
            <p:spPr bwMode="auto">
              <a:xfrm>
                <a:off x="11532902" y="1139726"/>
                <a:ext cx="182563" cy="371475"/>
              </a:xfrm>
              <a:custGeom>
                <a:avLst/>
                <a:gdLst>
                  <a:gd name="T0" fmla="*/ 41 w 41"/>
                  <a:gd name="T1" fmla="*/ 15 h 83"/>
                  <a:gd name="T2" fmla="*/ 41 w 41"/>
                  <a:gd name="T3" fmla="*/ 68 h 83"/>
                  <a:gd name="T4" fmla="*/ 26 w 41"/>
                  <a:gd name="T5" fmla="*/ 83 h 83"/>
                  <a:gd name="T6" fmla="*/ 0 w 41"/>
                  <a:gd name="T7" fmla="*/ 83 h 83"/>
                  <a:gd name="T8" fmla="*/ 0 w 41"/>
                  <a:gd name="T9" fmla="*/ 0 h 83"/>
                  <a:gd name="T10" fmla="*/ 26 w 41"/>
                  <a:gd name="T11" fmla="*/ 0 h 83"/>
                  <a:gd name="T12" fmla="*/ 41 w 41"/>
                  <a:gd name="T13" fmla="*/ 15 h 83"/>
                </a:gdLst>
                <a:ahLst/>
                <a:cxnLst>
                  <a:cxn ang="0">
                    <a:pos x="T0" y="T1"/>
                  </a:cxn>
                  <a:cxn ang="0">
                    <a:pos x="T2" y="T3"/>
                  </a:cxn>
                  <a:cxn ang="0">
                    <a:pos x="T4" y="T5"/>
                  </a:cxn>
                  <a:cxn ang="0">
                    <a:pos x="T6" y="T7"/>
                  </a:cxn>
                  <a:cxn ang="0">
                    <a:pos x="T8" y="T9"/>
                  </a:cxn>
                  <a:cxn ang="0">
                    <a:pos x="T10" y="T11"/>
                  </a:cxn>
                  <a:cxn ang="0">
                    <a:pos x="T12" y="T13"/>
                  </a:cxn>
                </a:cxnLst>
                <a:rect l="0" t="0" r="r" b="b"/>
                <a:pathLst>
                  <a:path w="41" h="83">
                    <a:moveTo>
                      <a:pt x="41" y="15"/>
                    </a:moveTo>
                    <a:cubicBezTo>
                      <a:pt x="41" y="68"/>
                      <a:pt x="41" y="68"/>
                      <a:pt x="41" y="68"/>
                    </a:cubicBezTo>
                    <a:cubicBezTo>
                      <a:pt x="41" y="77"/>
                      <a:pt x="34" y="83"/>
                      <a:pt x="26" y="83"/>
                    </a:cubicBezTo>
                    <a:cubicBezTo>
                      <a:pt x="0" y="83"/>
                      <a:pt x="0" y="83"/>
                      <a:pt x="0" y="83"/>
                    </a:cubicBezTo>
                    <a:cubicBezTo>
                      <a:pt x="0" y="0"/>
                      <a:pt x="0" y="0"/>
                      <a:pt x="0" y="0"/>
                    </a:cubicBezTo>
                    <a:cubicBezTo>
                      <a:pt x="26" y="0"/>
                      <a:pt x="26" y="0"/>
                      <a:pt x="26" y="0"/>
                    </a:cubicBezTo>
                    <a:cubicBezTo>
                      <a:pt x="34" y="0"/>
                      <a:pt x="41" y="7"/>
                      <a:pt x="41"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33"/>
              <p:cNvSpPr>
                <a:spLocks/>
              </p:cNvSpPr>
              <p:nvPr/>
            </p:nvSpPr>
            <p:spPr bwMode="auto">
              <a:xfrm>
                <a:off x="11728165" y="1265139"/>
                <a:ext cx="133350" cy="125413"/>
              </a:xfrm>
              <a:custGeom>
                <a:avLst/>
                <a:gdLst>
                  <a:gd name="T0" fmla="*/ 30 w 30"/>
                  <a:gd name="T1" fmla="*/ 14 h 28"/>
                  <a:gd name="T2" fmla="*/ 0 w 30"/>
                  <a:gd name="T3" fmla="*/ 28 h 28"/>
                  <a:gd name="T4" fmla="*/ 0 w 30"/>
                  <a:gd name="T5" fmla="*/ 0 h 28"/>
                  <a:gd name="T6" fmla="*/ 30 w 30"/>
                  <a:gd name="T7" fmla="*/ 14 h 28"/>
                </a:gdLst>
                <a:ahLst/>
                <a:cxnLst>
                  <a:cxn ang="0">
                    <a:pos x="T0" y="T1"/>
                  </a:cxn>
                  <a:cxn ang="0">
                    <a:pos x="T2" y="T3"/>
                  </a:cxn>
                  <a:cxn ang="0">
                    <a:pos x="T4" y="T5"/>
                  </a:cxn>
                  <a:cxn ang="0">
                    <a:pos x="T6" y="T7"/>
                  </a:cxn>
                </a:cxnLst>
                <a:rect l="0" t="0" r="r" b="b"/>
                <a:pathLst>
                  <a:path w="30" h="28">
                    <a:moveTo>
                      <a:pt x="30" y="14"/>
                    </a:moveTo>
                    <a:cubicBezTo>
                      <a:pt x="30" y="22"/>
                      <a:pt x="17" y="28"/>
                      <a:pt x="0" y="28"/>
                    </a:cubicBezTo>
                    <a:cubicBezTo>
                      <a:pt x="0" y="0"/>
                      <a:pt x="0" y="0"/>
                      <a:pt x="0" y="0"/>
                    </a:cubicBezTo>
                    <a:cubicBezTo>
                      <a:pt x="17" y="0"/>
                      <a:pt x="30" y="6"/>
                      <a:pt x="30"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5" name="Oval 34"/>
              <p:cNvSpPr>
                <a:spLocks noChangeArrowheads="1"/>
              </p:cNvSpPr>
              <p:nvPr/>
            </p:nvSpPr>
            <p:spPr bwMode="auto">
              <a:xfrm>
                <a:off x="11750390" y="1036539"/>
                <a:ext cx="39688" cy="219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6" name="Oval 35"/>
              <p:cNvSpPr>
                <a:spLocks noChangeArrowheads="1"/>
              </p:cNvSpPr>
              <p:nvPr/>
            </p:nvSpPr>
            <p:spPr bwMode="auto">
              <a:xfrm>
                <a:off x="11750390" y="1398489"/>
                <a:ext cx="39688" cy="220663"/>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36"/>
              <p:cNvSpPr>
                <a:spLocks/>
              </p:cNvSpPr>
              <p:nvPr/>
            </p:nvSpPr>
            <p:spPr bwMode="auto">
              <a:xfrm>
                <a:off x="9840627" y="857151"/>
                <a:ext cx="177800" cy="469900"/>
              </a:xfrm>
              <a:custGeom>
                <a:avLst/>
                <a:gdLst>
                  <a:gd name="T0" fmla="*/ 1 w 40"/>
                  <a:gd name="T1" fmla="*/ 63 h 105"/>
                  <a:gd name="T2" fmla="*/ 40 w 40"/>
                  <a:gd name="T3" fmla="*/ 0 h 105"/>
                  <a:gd name="T4" fmla="*/ 40 w 40"/>
                  <a:gd name="T5" fmla="*/ 105 h 105"/>
                  <a:gd name="T6" fmla="*/ 1 w 40"/>
                  <a:gd name="T7" fmla="*/ 63 h 105"/>
                </a:gdLst>
                <a:ahLst/>
                <a:cxnLst>
                  <a:cxn ang="0">
                    <a:pos x="T0" y="T1"/>
                  </a:cxn>
                  <a:cxn ang="0">
                    <a:pos x="T2" y="T3"/>
                  </a:cxn>
                  <a:cxn ang="0">
                    <a:pos x="T4" y="T5"/>
                  </a:cxn>
                  <a:cxn ang="0">
                    <a:pos x="T6" y="T7"/>
                  </a:cxn>
                </a:cxnLst>
                <a:rect l="0" t="0" r="r" b="b"/>
                <a:pathLst>
                  <a:path w="40" h="105">
                    <a:moveTo>
                      <a:pt x="1" y="63"/>
                    </a:moveTo>
                    <a:cubicBezTo>
                      <a:pt x="3" y="27"/>
                      <a:pt x="23" y="3"/>
                      <a:pt x="40" y="0"/>
                    </a:cubicBezTo>
                    <a:cubicBezTo>
                      <a:pt x="40" y="105"/>
                      <a:pt x="40" y="105"/>
                      <a:pt x="40" y="105"/>
                    </a:cubicBezTo>
                    <a:cubicBezTo>
                      <a:pt x="40" y="105"/>
                      <a:pt x="0" y="100"/>
                      <a:pt x="1" y="63"/>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37"/>
              <p:cNvSpPr>
                <a:spLocks noEditPoints="1"/>
              </p:cNvSpPr>
              <p:nvPr/>
            </p:nvSpPr>
            <p:spPr bwMode="auto">
              <a:xfrm>
                <a:off x="10004140" y="833339"/>
                <a:ext cx="1538288" cy="1031875"/>
              </a:xfrm>
              <a:custGeom>
                <a:avLst/>
                <a:gdLst>
                  <a:gd name="T0" fmla="*/ 10 w 346"/>
                  <a:gd name="T1" fmla="*/ 141 h 230"/>
                  <a:gd name="T2" fmla="*/ 20 w 346"/>
                  <a:gd name="T3" fmla="*/ 128 h 230"/>
                  <a:gd name="T4" fmla="*/ 127 w 346"/>
                  <a:gd name="T5" fmla="*/ 141 h 230"/>
                  <a:gd name="T6" fmla="*/ 270 w 346"/>
                  <a:gd name="T7" fmla="*/ 149 h 230"/>
                  <a:gd name="T8" fmla="*/ 272 w 346"/>
                  <a:gd name="T9" fmla="*/ 199 h 230"/>
                  <a:gd name="T10" fmla="*/ 288 w 346"/>
                  <a:gd name="T11" fmla="*/ 177 h 230"/>
                  <a:gd name="T12" fmla="*/ 279 w 346"/>
                  <a:gd name="T13" fmla="*/ 202 h 230"/>
                  <a:gd name="T14" fmla="*/ 334 w 346"/>
                  <a:gd name="T15" fmla="*/ 202 h 230"/>
                  <a:gd name="T16" fmla="*/ 311 w 346"/>
                  <a:gd name="T17" fmla="*/ 172 h 230"/>
                  <a:gd name="T18" fmla="*/ 333 w 346"/>
                  <a:gd name="T19" fmla="*/ 177 h 230"/>
                  <a:gd name="T20" fmla="*/ 311 w 346"/>
                  <a:gd name="T21" fmla="*/ 149 h 230"/>
                  <a:gd name="T22" fmla="*/ 340 w 346"/>
                  <a:gd name="T23" fmla="*/ 71 h 230"/>
                  <a:gd name="T24" fmla="*/ 304 w 346"/>
                  <a:gd name="T25" fmla="*/ 40 h 230"/>
                  <a:gd name="T26" fmla="*/ 326 w 346"/>
                  <a:gd name="T27" fmla="*/ 31 h 230"/>
                  <a:gd name="T28" fmla="*/ 228 w 346"/>
                  <a:gd name="T29" fmla="*/ 38 h 230"/>
                  <a:gd name="T30" fmla="*/ 250 w 346"/>
                  <a:gd name="T31" fmla="*/ 40 h 230"/>
                  <a:gd name="T32" fmla="*/ 236 w 346"/>
                  <a:gd name="T33" fmla="*/ 71 h 230"/>
                  <a:gd name="T34" fmla="*/ 214 w 346"/>
                  <a:gd name="T35" fmla="*/ 54 h 230"/>
                  <a:gd name="T36" fmla="*/ 146 w 346"/>
                  <a:gd name="T37" fmla="*/ 72 h 230"/>
                  <a:gd name="T38" fmla="*/ 7 w 346"/>
                  <a:gd name="T39" fmla="*/ 6 h 230"/>
                  <a:gd name="T40" fmla="*/ 15 w 346"/>
                  <a:gd name="T41" fmla="*/ 115 h 230"/>
                  <a:gd name="T42" fmla="*/ 10 w 346"/>
                  <a:gd name="T43" fmla="*/ 121 h 230"/>
                  <a:gd name="T44" fmla="*/ 231 w 346"/>
                  <a:gd name="T45" fmla="*/ 71 h 230"/>
                  <a:gd name="T46" fmla="*/ 216 w 346"/>
                  <a:gd name="T47" fmla="*/ 59 h 230"/>
                  <a:gd name="T48" fmla="*/ 294 w 346"/>
                  <a:gd name="T49" fmla="*/ 71 h 230"/>
                  <a:gd name="T50" fmla="*/ 256 w 346"/>
                  <a:gd name="T51" fmla="*/ 40 h 230"/>
                  <a:gd name="T52" fmla="*/ 294 w 346"/>
                  <a:gd name="T53" fmla="*/ 71 h 230"/>
                  <a:gd name="T54" fmla="*/ 307 w 346"/>
                  <a:gd name="T55" fmla="*/ 185 h 230"/>
                  <a:gd name="T56" fmla="*/ 307 w 346"/>
                  <a:gd name="T57" fmla="*/ 219 h 230"/>
                  <a:gd name="T58" fmla="*/ 292 w 346"/>
                  <a:gd name="T59" fmla="*/ 174 h 230"/>
                  <a:gd name="T60" fmla="*/ 301 w 346"/>
                  <a:gd name="T61" fmla="*/ 171 h 230"/>
                  <a:gd name="T62" fmla="*/ 294 w 346"/>
                  <a:gd name="T63" fmla="*/ 178 h 230"/>
                  <a:gd name="T64" fmla="*/ 276 w 346"/>
                  <a:gd name="T65" fmla="*/ 149 h 230"/>
                  <a:gd name="T66" fmla="*/ 301 w 346"/>
                  <a:gd name="T67" fmla="*/ 166 h 230"/>
                  <a:gd name="T68" fmla="*/ 289 w 346"/>
                  <a:gd name="T69" fmla="*/ 170 h 230"/>
                  <a:gd name="T70" fmla="*/ 15 w 346"/>
                  <a:gd name="T71" fmla="*/ 122 h 230"/>
                  <a:gd name="T72" fmla="*/ 34 w 346"/>
                  <a:gd name="T73" fmla="*/ 121 h 230"/>
                  <a:gd name="T74" fmla="*/ 15 w 346"/>
                  <a:gd name="T75" fmla="*/ 122 h 230"/>
                  <a:gd name="T76" fmla="*/ 10 w 346"/>
                  <a:gd name="T77" fmla="*/ 125 h 230"/>
                  <a:gd name="T78" fmla="*/ 10 w 346"/>
                  <a:gd name="T79" fmla="*/ 13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230">
                    <a:moveTo>
                      <a:pt x="0" y="131"/>
                    </a:moveTo>
                    <a:cubicBezTo>
                      <a:pt x="0" y="136"/>
                      <a:pt x="4" y="141"/>
                      <a:pt x="10" y="141"/>
                    </a:cubicBezTo>
                    <a:cubicBezTo>
                      <a:pt x="15" y="141"/>
                      <a:pt x="20" y="136"/>
                      <a:pt x="20" y="131"/>
                    </a:cubicBezTo>
                    <a:cubicBezTo>
                      <a:pt x="20" y="130"/>
                      <a:pt x="20" y="129"/>
                      <a:pt x="20" y="128"/>
                    </a:cubicBezTo>
                    <a:cubicBezTo>
                      <a:pt x="38" y="122"/>
                      <a:pt x="38" y="122"/>
                      <a:pt x="38" y="122"/>
                    </a:cubicBezTo>
                    <a:cubicBezTo>
                      <a:pt x="67" y="130"/>
                      <a:pt x="108" y="138"/>
                      <a:pt x="127" y="141"/>
                    </a:cubicBezTo>
                    <a:cubicBezTo>
                      <a:pt x="156" y="146"/>
                      <a:pt x="210" y="149"/>
                      <a:pt x="210" y="149"/>
                    </a:cubicBezTo>
                    <a:cubicBezTo>
                      <a:pt x="270" y="149"/>
                      <a:pt x="270" y="149"/>
                      <a:pt x="270" y="149"/>
                    </a:cubicBezTo>
                    <a:cubicBezTo>
                      <a:pt x="285" y="172"/>
                      <a:pt x="285" y="172"/>
                      <a:pt x="285" y="172"/>
                    </a:cubicBezTo>
                    <a:cubicBezTo>
                      <a:pt x="277" y="179"/>
                      <a:pt x="272" y="189"/>
                      <a:pt x="272" y="199"/>
                    </a:cubicBezTo>
                    <a:cubicBezTo>
                      <a:pt x="277" y="198"/>
                      <a:pt x="277" y="198"/>
                      <a:pt x="277" y="198"/>
                    </a:cubicBezTo>
                    <a:cubicBezTo>
                      <a:pt x="277" y="191"/>
                      <a:pt x="281" y="182"/>
                      <a:pt x="288" y="177"/>
                    </a:cubicBezTo>
                    <a:cubicBezTo>
                      <a:pt x="290" y="181"/>
                      <a:pt x="290" y="181"/>
                      <a:pt x="290" y="181"/>
                    </a:cubicBezTo>
                    <a:cubicBezTo>
                      <a:pt x="283" y="186"/>
                      <a:pt x="279" y="193"/>
                      <a:pt x="279" y="202"/>
                    </a:cubicBezTo>
                    <a:cubicBezTo>
                      <a:pt x="279" y="217"/>
                      <a:pt x="292" y="230"/>
                      <a:pt x="307" y="230"/>
                    </a:cubicBezTo>
                    <a:cubicBezTo>
                      <a:pt x="322" y="230"/>
                      <a:pt x="334" y="217"/>
                      <a:pt x="334" y="202"/>
                    </a:cubicBezTo>
                    <a:cubicBezTo>
                      <a:pt x="334" y="189"/>
                      <a:pt x="324" y="177"/>
                      <a:pt x="311" y="175"/>
                    </a:cubicBezTo>
                    <a:cubicBezTo>
                      <a:pt x="311" y="172"/>
                      <a:pt x="311" y="172"/>
                      <a:pt x="311" y="172"/>
                    </a:cubicBezTo>
                    <a:cubicBezTo>
                      <a:pt x="322" y="174"/>
                      <a:pt x="329" y="181"/>
                      <a:pt x="329" y="181"/>
                    </a:cubicBezTo>
                    <a:cubicBezTo>
                      <a:pt x="333" y="177"/>
                      <a:pt x="333" y="177"/>
                      <a:pt x="333" y="177"/>
                    </a:cubicBezTo>
                    <a:cubicBezTo>
                      <a:pt x="332" y="177"/>
                      <a:pt x="324" y="169"/>
                      <a:pt x="311" y="167"/>
                    </a:cubicBezTo>
                    <a:cubicBezTo>
                      <a:pt x="311" y="149"/>
                      <a:pt x="311" y="149"/>
                      <a:pt x="311" y="149"/>
                    </a:cubicBezTo>
                    <a:cubicBezTo>
                      <a:pt x="340" y="149"/>
                      <a:pt x="340" y="149"/>
                      <a:pt x="340" y="149"/>
                    </a:cubicBezTo>
                    <a:cubicBezTo>
                      <a:pt x="340" y="71"/>
                      <a:pt x="340" y="71"/>
                      <a:pt x="340" y="71"/>
                    </a:cubicBezTo>
                    <a:cubicBezTo>
                      <a:pt x="300" y="71"/>
                      <a:pt x="300" y="71"/>
                      <a:pt x="300" y="71"/>
                    </a:cubicBezTo>
                    <a:cubicBezTo>
                      <a:pt x="304" y="40"/>
                      <a:pt x="304" y="40"/>
                      <a:pt x="304" y="40"/>
                    </a:cubicBezTo>
                    <a:cubicBezTo>
                      <a:pt x="318" y="40"/>
                      <a:pt x="318" y="40"/>
                      <a:pt x="318" y="40"/>
                    </a:cubicBezTo>
                    <a:cubicBezTo>
                      <a:pt x="346" y="40"/>
                      <a:pt x="333" y="33"/>
                      <a:pt x="326" y="31"/>
                    </a:cubicBezTo>
                    <a:cubicBezTo>
                      <a:pt x="318" y="29"/>
                      <a:pt x="313" y="28"/>
                      <a:pt x="293" y="27"/>
                    </a:cubicBezTo>
                    <a:cubicBezTo>
                      <a:pt x="273" y="27"/>
                      <a:pt x="232" y="35"/>
                      <a:pt x="228" y="38"/>
                    </a:cubicBezTo>
                    <a:cubicBezTo>
                      <a:pt x="224" y="40"/>
                      <a:pt x="230" y="40"/>
                      <a:pt x="230" y="40"/>
                    </a:cubicBezTo>
                    <a:cubicBezTo>
                      <a:pt x="250" y="40"/>
                      <a:pt x="250" y="40"/>
                      <a:pt x="250" y="40"/>
                    </a:cubicBezTo>
                    <a:cubicBezTo>
                      <a:pt x="246" y="71"/>
                      <a:pt x="246" y="71"/>
                      <a:pt x="246" y="71"/>
                    </a:cubicBezTo>
                    <a:cubicBezTo>
                      <a:pt x="236" y="71"/>
                      <a:pt x="236" y="71"/>
                      <a:pt x="236" y="71"/>
                    </a:cubicBezTo>
                    <a:cubicBezTo>
                      <a:pt x="232" y="66"/>
                      <a:pt x="225" y="58"/>
                      <a:pt x="216" y="55"/>
                    </a:cubicBezTo>
                    <a:cubicBezTo>
                      <a:pt x="214" y="54"/>
                      <a:pt x="214" y="54"/>
                      <a:pt x="214" y="54"/>
                    </a:cubicBezTo>
                    <a:cubicBezTo>
                      <a:pt x="209" y="72"/>
                      <a:pt x="209" y="72"/>
                      <a:pt x="209" y="72"/>
                    </a:cubicBezTo>
                    <a:cubicBezTo>
                      <a:pt x="190" y="93"/>
                      <a:pt x="146" y="72"/>
                      <a:pt x="146" y="72"/>
                    </a:cubicBezTo>
                    <a:cubicBezTo>
                      <a:pt x="68" y="75"/>
                      <a:pt x="68" y="75"/>
                      <a:pt x="68" y="75"/>
                    </a:cubicBezTo>
                    <a:cubicBezTo>
                      <a:pt x="40" y="0"/>
                      <a:pt x="7" y="6"/>
                      <a:pt x="7" y="6"/>
                    </a:cubicBezTo>
                    <a:cubicBezTo>
                      <a:pt x="7" y="112"/>
                      <a:pt x="7" y="112"/>
                      <a:pt x="7" y="112"/>
                    </a:cubicBezTo>
                    <a:cubicBezTo>
                      <a:pt x="9" y="113"/>
                      <a:pt x="12" y="114"/>
                      <a:pt x="15" y="115"/>
                    </a:cubicBezTo>
                    <a:cubicBezTo>
                      <a:pt x="13" y="121"/>
                      <a:pt x="13" y="121"/>
                      <a:pt x="13" y="121"/>
                    </a:cubicBezTo>
                    <a:cubicBezTo>
                      <a:pt x="12" y="121"/>
                      <a:pt x="11" y="121"/>
                      <a:pt x="10" y="121"/>
                    </a:cubicBezTo>
                    <a:cubicBezTo>
                      <a:pt x="4" y="121"/>
                      <a:pt x="0" y="125"/>
                      <a:pt x="0" y="131"/>
                    </a:cubicBezTo>
                    <a:close/>
                    <a:moveTo>
                      <a:pt x="231" y="71"/>
                    </a:moveTo>
                    <a:cubicBezTo>
                      <a:pt x="213" y="71"/>
                      <a:pt x="213" y="71"/>
                      <a:pt x="213" y="71"/>
                    </a:cubicBezTo>
                    <a:cubicBezTo>
                      <a:pt x="216" y="59"/>
                      <a:pt x="216" y="59"/>
                      <a:pt x="216" y="59"/>
                    </a:cubicBezTo>
                    <a:cubicBezTo>
                      <a:pt x="222" y="62"/>
                      <a:pt x="228" y="67"/>
                      <a:pt x="231" y="71"/>
                    </a:cubicBezTo>
                    <a:close/>
                    <a:moveTo>
                      <a:pt x="294" y="71"/>
                    </a:moveTo>
                    <a:cubicBezTo>
                      <a:pt x="252" y="71"/>
                      <a:pt x="252" y="71"/>
                      <a:pt x="252" y="71"/>
                    </a:cubicBezTo>
                    <a:cubicBezTo>
                      <a:pt x="256" y="40"/>
                      <a:pt x="256" y="40"/>
                      <a:pt x="256" y="40"/>
                    </a:cubicBezTo>
                    <a:cubicBezTo>
                      <a:pt x="298" y="40"/>
                      <a:pt x="298" y="40"/>
                      <a:pt x="298" y="40"/>
                    </a:cubicBezTo>
                    <a:lnTo>
                      <a:pt x="294" y="71"/>
                    </a:lnTo>
                    <a:close/>
                    <a:moveTo>
                      <a:pt x="290" y="202"/>
                    </a:moveTo>
                    <a:cubicBezTo>
                      <a:pt x="290" y="193"/>
                      <a:pt x="297" y="185"/>
                      <a:pt x="307" y="185"/>
                    </a:cubicBezTo>
                    <a:cubicBezTo>
                      <a:pt x="316" y="185"/>
                      <a:pt x="324" y="193"/>
                      <a:pt x="324" y="202"/>
                    </a:cubicBezTo>
                    <a:cubicBezTo>
                      <a:pt x="324" y="212"/>
                      <a:pt x="316" y="219"/>
                      <a:pt x="307" y="219"/>
                    </a:cubicBezTo>
                    <a:cubicBezTo>
                      <a:pt x="297" y="219"/>
                      <a:pt x="290" y="212"/>
                      <a:pt x="290" y="202"/>
                    </a:cubicBezTo>
                    <a:close/>
                    <a:moveTo>
                      <a:pt x="292" y="174"/>
                    </a:moveTo>
                    <a:cubicBezTo>
                      <a:pt x="294" y="173"/>
                      <a:pt x="296" y="172"/>
                      <a:pt x="299" y="172"/>
                    </a:cubicBezTo>
                    <a:cubicBezTo>
                      <a:pt x="300" y="172"/>
                      <a:pt x="301" y="171"/>
                      <a:pt x="301" y="171"/>
                    </a:cubicBezTo>
                    <a:cubicBezTo>
                      <a:pt x="301" y="175"/>
                      <a:pt x="301" y="175"/>
                      <a:pt x="301" y="175"/>
                    </a:cubicBezTo>
                    <a:cubicBezTo>
                      <a:pt x="299" y="176"/>
                      <a:pt x="296" y="177"/>
                      <a:pt x="294" y="178"/>
                    </a:cubicBezTo>
                    <a:lnTo>
                      <a:pt x="292" y="174"/>
                    </a:lnTo>
                    <a:close/>
                    <a:moveTo>
                      <a:pt x="276" y="149"/>
                    </a:moveTo>
                    <a:cubicBezTo>
                      <a:pt x="301" y="149"/>
                      <a:pt x="301" y="149"/>
                      <a:pt x="301" y="149"/>
                    </a:cubicBezTo>
                    <a:cubicBezTo>
                      <a:pt x="301" y="166"/>
                      <a:pt x="301" y="166"/>
                      <a:pt x="301" y="166"/>
                    </a:cubicBezTo>
                    <a:cubicBezTo>
                      <a:pt x="300" y="166"/>
                      <a:pt x="299" y="167"/>
                      <a:pt x="298" y="167"/>
                    </a:cubicBezTo>
                    <a:cubicBezTo>
                      <a:pt x="295" y="167"/>
                      <a:pt x="292" y="168"/>
                      <a:pt x="289" y="170"/>
                    </a:cubicBezTo>
                    <a:lnTo>
                      <a:pt x="276" y="149"/>
                    </a:lnTo>
                    <a:close/>
                    <a:moveTo>
                      <a:pt x="15" y="122"/>
                    </a:moveTo>
                    <a:cubicBezTo>
                      <a:pt x="17" y="116"/>
                      <a:pt x="17" y="116"/>
                      <a:pt x="17" y="116"/>
                    </a:cubicBezTo>
                    <a:cubicBezTo>
                      <a:pt x="22" y="118"/>
                      <a:pt x="28" y="119"/>
                      <a:pt x="34" y="121"/>
                    </a:cubicBezTo>
                    <a:cubicBezTo>
                      <a:pt x="19" y="126"/>
                      <a:pt x="19" y="126"/>
                      <a:pt x="19" y="126"/>
                    </a:cubicBezTo>
                    <a:cubicBezTo>
                      <a:pt x="18" y="124"/>
                      <a:pt x="17" y="123"/>
                      <a:pt x="15" y="122"/>
                    </a:cubicBezTo>
                    <a:close/>
                    <a:moveTo>
                      <a:pt x="4" y="131"/>
                    </a:moveTo>
                    <a:cubicBezTo>
                      <a:pt x="4" y="127"/>
                      <a:pt x="7" y="125"/>
                      <a:pt x="10" y="125"/>
                    </a:cubicBezTo>
                    <a:cubicBezTo>
                      <a:pt x="13" y="125"/>
                      <a:pt x="16" y="127"/>
                      <a:pt x="16" y="131"/>
                    </a:cubicBezTo>
                    <a:cubicBezTo>
                      <a:pt x="16" y="134"/>
                      <a:pt x="13" y="137"/>
                      <a:pt x="10" y="137"/>
                    </a:cubicBezTo>
                    <a:cubicBezTo>
                      <a:pt x="7" y="137"/>
                      <a:pt x="4" y="134"/>
                      <a:pt x="4" y="131"/>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9" name="Oval 38"/>
              <p:cNvSpPr>
                <a:spLocks noChangeArrowheads="1"/>
              </p:cNvSpPr>
              <p:nvPr/>
            </p:nvSpPr>
            <p:spPr bwMode="auto">
              <a:xfrm>
                <a:off x="10035890" y="1408014"/>
                <a:ext cx="26988" cy="26988"/>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sp>
            <p:nvSpPr>
              <p:cNvPr id="40" name="Oval 39"/>
              <p:cNvSpPr>
                <a:spLocks noChangeArrowheads="1"/>
              </p:cNvSpPr>
              <p:nvPr/>
            </p:nvSpPr>
            <p:spPr bwMode="auto">
              <a:xfrm>
                <a:off x="11328115" y="1703289"/>
                <a:ext cx="76200" cy="76200"/>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grpSp>
        <p:sp>
          <p:nvSpPr>
            <p:cNvPr id="41" name="Freeform 40"/>
            <p:cNvSpPr>
              <a:spLocks/>
            </p:cNvSpPr>
            <p:nvPr/>
          </p:nvSpPr>
          <p:spPr bwMode="auto">
            <a:xfrm>
              <a:off x="9045290" y="764172"/>
              <a:ext cx="857250" cy="169863"/>
            </a:xfrm>
            <a:custGeom>
              <a:avLst/>
              <a:gdLst>
                <a:gd name="T0" fmla="*/ 537 w 540"/>
                <a:gd name="T1" fmla="*/ 107 h 107"/>
                <a:gd name="T2" fmla="*/ 540 w 540"/>
                <a:gd name="T3" fmla="*/ 85 h 107"/>
                <a:gd name="T4" fmla="*/ 3 w 540"/>
                <a:gd name="T5" fmla="*/ 0 h 107"/>
                <a:gd name="T6" fmla="*/ 0 w 540"/>
                <a:gd name="T7" fmla="*/ 23 h 107"/>
                <a:gd name="T8" fmla="*/ 537 w 540"/>
                <a:gd name="T9" fmla="*/ 107 h 107"/>
              </a:gdLst>
              <a:ahLst/>
              <a:cxnLst>
                <a:cxn ang="0">
                  <a:pos x="T0" y="T1"/>
                </a:cxn>
                <a:cxn ang="0">
                  <a:pos x="T2" y="T3"/>
                </a:cxn>
                <a:cxn ang="0">
                  <a:pos x="T4" y="T5"/>
                </a:cxn>
                <a:cxn ang="0">
                  <a:pos x="T6" y="T7"/>
                </a:cxn>
                <a:cxn ang="0">
                  <a:pos x="T8" y="T9"/>
                </a:cxn>
              </a:cxnLst>
              <a:rect l="0" t="0" r="r" b="b"/>
              <a:pathLst>
                <a:path w="540" h="107">
                  <a:moveTo>
                    <a:pt x="537" y="107"/>
                  </a:moveTo>
                  <a:lnTo>
                    <a:pt x="540" y="85"/>
                  </a:lnTo>
                  <a:lnTo>
                    <a:pt x="3" y="0"/>
                  </a:lnTo>
                  <a:lnTo>
                    <a:pt x="0" y="23"/>
                  </a:lnTo>
                  <a:lnTo>
                    <a:pt x="537" y="107"/>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41"/>
            <p:cNvSpPr>
              <a:spLocks/>
            </p:cNvSpPr>
            <p:nvPr/>
          </p:nvSpPr>
          <p:spPr bwMode="auto">
            <a:xfrm>
              <a:off x="9045290" y="1019760"/>
              <a:ext cx="857250" cy="169863"/>
            </a:xfrm>
            <a:custGeom>
              <a:avLst/>
              <a:gdLst>
                <a:gd name="T0" fmla="*/ 3 w 540"/>
                <a:gd name="T1" fmla="*/ 107 h 107"/>
                <a:gd name="T2" fmla="*/ 540 w 540"/>
                <a:gd name="T3" fmla="*/ 23 h 107"/>
                <a:gd name="T4" fmla="*/ 537 w 540"/>
                <a:gd name="T5" fmla="*/ 0 h 107"/>
                <a:gd name="T6" fmla="*/ 0 w 540"/>
                <a:gd name="T7" fmla="*/ 85 h 107"/>
                <a:gd name="T8" fmla="*/ 3 w 540"/>
                <a:gd name="T9" fmla="*/ 107 h 107"/>
              </a:gdLst>
              <a:ahLst/>
              <a:cxnLst>
                <a:cxn ang="0">
                  <a:pos x="T0" y="T1"/>
                </a:cxn>
                <a:cxn ang="0">
                  <a:pos x="T2" y="T3"/>
                </a:cxn>
                <a:cxn ang="0">
                  <a:pos x="T4" y="T5"/>
                </a:cxn>
                <a:cxn ang="0">
                  <a:pos x="T6" y="T7"/>
                </a:cxn>
                <a:cxn ang="0">
                  <a:pos x="T8" y="T9"/>
                </a:cxn>
              </a:cxnLst>
              <a:rect l="0" t="0" r="r" b="b"/>
              <a:pathLst>
                <a:path w="540" h="107">
                  <a:moveTo>
                    <a:pt x="3" y="107"/>
                  </a:moveTo>
                  <a:lnTo>
                    <a:pt x="540" y="23"/>
                  </a:lnTo>
                  <a:lnTo>
                    <a:pt x="537" y="0"/>
                  </a:lnTo>
                  <a:lnTo>
                    <a:pt x="0" y="85"/>
                  </a:lnTo>
                  <a:lnTo>
                    <a:pt x="3" y="107"/>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25" name="Freeform 34"/>
          <p:cNvSpPr>
            <a:spLocks/>
          </p:cNvSpPr>
          <p:nvPr/>
        </p:nvSpPr>
        <p:spPr bwMode="auto">
          <a:xfrm>
            <a:off x="856201" y="239852"/>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p:nvSpPr>
        <p:spPr bwMode="auto">
          <a:xfrm>
            <a:off x="133325" y="550599"/>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2576227" y="551313"/>
            <a:ext cx="6434138" cy="911682"/>
          </a:xfrm>
        </p:spPr>
        <p:txBody>
          <a:bodyPr>
            <a:normAutofit/>
          </a:bodyPr>
          <a:lstStyle>
            <a:lvl1pPr algn="ctr">
              <a:defRPr sz="3600" b="1">
                <a:solidFill>
                  <a:schemeClr val="bg1"/>
                </a:solidFill>
              </a:defRPr>
            </a:lvl1pPr>
          </a:lstStyle>
          <a:p>
            <a:r>
              <a:rPr lang="en-US" dirty="0"/>
              <a:t>Click to edit Master title style</a:t>
            </a:r>
            <a:endParaRPr lang="id-ID" dirty="0"/>
          </a:p>
        </p:txBody>
      </p:sp>
      <p:sp>
        <p:nvSpPr>
          <p:cNvPr id="15" name="Picture Placeholder 11"/>
          <p:cNvSpPr>
            <a:spLocks noGrp="1"/>
          </p:cNvSpPr>
          <p:nvPr>
            <p:ph type="pic" sz="quarter" idx="14"/>
          </p:nvPr>
        </p:nvSpPr>
        <p:spPr>
          <a:xfrm>
            <a:off x="1058608" y="2022659"/>
            <a:ext cx="2880000" cy="2160000"/>
          </a:xfrm>
        </p:spPr>
        <p:txBody>
          <a:bodyPr/>
          <a:lstStyle/>
          <a:p>
            <a:endParaRPr lang="id-ID"/>
          </a:p>
        </p:txBody>
      </p:sp>
      <p:sp>
        <p:nvSpPr>
          <p:cNvPr id="16" name="Picture Placeholder 11"/>
          <p:cNvSpPr>
            <a:spLocks noGrp="1"/>
          </p:cNvSpPr>
          <p:nvPr>
            <p:ph type="pic" sz="quarter" idx="15"/>
          </p:nvPr>
        </p:nvSpPr>
        <p:spPr>
          <a:xfrm>
            <a:off x="4652255" y="2022659"/>
            <a:ext cx="2880000" cy="2160000"/>
          </a:xfrm>
        </p:spPr>
        <p:txBody>
          <a:bodyPr/>
          <a:lstStyle/>
          <a:p>
            <a:endParaRPr lang="id-ID"/>
          </a:p>
        </p:txBody>
      </p:sp>
      <p:sp>
        <p:nvSpPr>
          <p:cNvPr id="28" name="Picture Placeholder 11"/>
          <p:cNvSpPr>
            <a:spLocks noGrp="1"/>
          </p:cNvSpPr>
          <p:nvPr>
            <p:ph type="pic" sz="quarter" idx="16"/>
          </p:nvPr>
        </p:nvSpPr>
        <p:spPr>
          <a:xfrm>
            <a:off x="8283830" y="2022659"/>
            <a:ext cx="2880000" cy="2160000"/>
          </a:xfrm>
        </p:spPr>
        <p:txBody>
          <a:bodyPr/>
          <a:lstStyle/>
          <a:p>
            <a:endParaRPr lang="id-ID"/>
          </a:p>
        </p:txBody>
      </p:sp>
      <p:grpSp>
        <p:nvGrpSpPr>
          <p:cNvPr id="60" name="Group 59"/>
          <p:cNvGrpSpPr/>
          <p:nvPr userDrawn="1"/>
        </p:nvGrpSpPr>
        <p:grpSpPr>
          <a:xfrm>
            <a:off x="338952" y="6409324"/>
            <a:ext cx="224082" cy="221156"/>
            <a:chOff x="4328868" y="5502988"/>
            <a:chExt cx="500307" cy="493774"/>
          </a:xfrm>
        </p:grpSpPr>
        <p:sp>
          <p:nvSpPr>
            <p:cNvPr id="61" name="Freeform 60">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62" name="Freeform 61">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grpSp>
        <p:nvGrpSpPr>
          <p:cNvPr id="63" name="Group 62"/>
          <p:cNvGrpSpPr/>
          <p:nvPr userDrawn="1"/>
        </p:nvGrpSpPr>
        <p:grpSpPr>
          <a:xfrm flipH="1">
            <a:off x="11637433" y="6409324"/>
            <a:ext cx="224082" cy="221156"/>
            <a:chOff x="4328868" y="5502988"/>
            <a:chExt cx="500307" cy="493774"/>
          </a:xfrm>
        </p:grpSpPr>
        <p:sp>
          <p:nvSpPr>
            <p:cNvPr id="64" name="Freeform 63">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sp>
          <p:nvSpPr>
            <p:cNvPr id="65" name="Freeform 64">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id-ID"/>
            </a:p>
          </p:txBody>
        </p:sp>
      </p:grpSp>
    </p:spTree>
    <p:extLst>
      <p:ext uri="{BB962C8B-B14F-4D97-AF65-F5344CB8AC3E}">
        <p14:creationId xmlns:p14="http://schemas.microsoft.com/office/powerpoint/2010/main" val="3960507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eet the Team 3 Picture">
    <p:spTree>
      <p:nvGrpSpPr>
        <p:cNvPr id="1" name=""/>
        <p:cNvGrpSpPr/>
        <p:nvPr/>
      </p:nvGrpSpPr>
      <p:grpSpPr>
        <a:xfrm>
          <a:off x="0" y="0"/>
          <a:ext cx="0" cy="0"/>
          <a:chOff x="0" y="0"/>
          <a:chExt cx="0" cy="0"/>
        </a:xfrm>
      </p:grpSpPr>
      <p:grpSp>
        <p:nvGrpSpPr>
          <p:cNvPr id="3" name="Group 2"/>
          <p:cNvGrpSpPr/>
          <p:nvPr userDrawn="1"/>
        </p:nvGrpSpPr>
        <p:grpSpPr>
          <a:xfrm>
            <a:off x="2104740" y="464135"/>
            <a:ext cx="8902042" cy="1066800"/>
            <a:chOff x="2104740" y="464135"/>
            <a:chExt cx="8902042" cy="1066800"/>
          </a:xfrm>
        </p:grpSpPr>
        <p:sp>
          <p:nvSpPr>
            <p:cNvPr id="43" name="Freeform 28"/>
            <p:cNvSpPr>
              <a:spLocks/>
            </p:cNvSpPr>
            <p:nvPr/>
          </p:nvSpPr>
          <p:spPr bwMode="auto">
            <a:xfrm>
              <a:off x="2104740" y="545097"/>
              <a:ext cx="577850" cy="811213"/>
            </a:xfrm>
            <a:custGeom>
              <a:avLst/>
              <a:gdLst>
                <a:gd name="T0" fmla="*/ 130 w 130"/>
                <a:gd name="T1" fmla="*/ 20 h 181"/>
                <a:gd name="T2" fmla="*/ 3 w 130"/>
                <a:gd name="T3" fmla="*/ 0 h 181"/>
                <a:gd name="T4" fmla="*/ 44 w 130"/>
                <a:gd name="T5" fmla="*/ 90 h 181"/>
                <a:gd name="T6" fmla="*/ 0 w 130"/>
                <a:gd name="T7" fmla="*/ 164 h 181"/>
                <a:gd name="T8" fmla="*/ 123 w 130"/>
                <a:gd name="T9" fmla="*/ 179 h 181"/>
                <a:gd name="T10" fmla="*/ 130 w 130"/>
                <a:gd name="T11" fmla="*/ 20 h 181"/>
              </a:gdLst>
              <a:ahLst/>
              <a:cxnLst>
                <a:cxn ang="0">
                  <a:pos x="T0" y="T1"/>
                </a:cxn>
                <a:cxn ang="0">
                  <a:pos x="T2" y="T3"/>
                </a:cxn>
                <a:cxn ang="0">
                  <a:pos x="T4" y="T5"/>
                </a:cxn>
                <a:cxn ang="0">
                  <a:pos x="T6" y="T7"/>
                </a:cxn>
                <a:cxn ang="0">
                  <a:pos x="T8" y="T9"/>
                </a:cxn>
                <a:cxn ang="0">
                  <a:pos x="T10" y="T11"/>
                </a:cxn>
              </a:cxnLst>
              <a:rect l="0" t="0" r="r" b="b"/>
              <a:pathLst>
                <a:path w="130" h="181">
                  <a:moveTo>
                    <a:pt x="130" y="20"/>
                  </a:moveTo>
                  <a:cubicBezTo>
                    <a:pt x="130" y="20"/>
                    <a:pt x="49" y="16"/>
                    <a:pt x="3" y="0"/>
                  </a:cubicBezTo>
                  <a:cubicBezTo>
                    <a:pt x="3" y="0"/>
                    <a:pt x="37" y="83"/>
                    <a:pt x="44" y="90"/>
                  </a:cubicBezTo>
                  <a:cubicBezTo>
                    <a:pt x="0" y="164"/>
                    <a:pt x="0" y="164"/>
                    <a:pt x="0" y="164"/>
                  </a:cubicBezTo>
                  <a:cubicBezTo>
                    <a:pt x="0" y="164"/>
                    <a:pt x="77" y="181"/>
                    <a:pt x="123" y="179"/>
                  </a:cubicBezTo>
                  <a:lnTo>
                    <a:pt x="130"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44" name="Freeform 29"/>
            <p:cNvSpPr>
              <a:spLocks/>
            </p:cNvSpPr>
            <p:nvPr/>
          </p:nvSpPr>
          <p:spPr bwMode="auto">
            <a:xfrm>
              <a:off x="2473040" y="616535"/>
              <a:ext cx="209550" cy="735013"/>
            </a:xfrm>
            <a:custGeom>
              <a:avLst/>
              <a:gdLst>
                <a:gd name="T0" fmla="*/ 0 w 47"/>
                <a:gd name="T1" fmla="*/ 0 h 164"/>
                <a:gd name="T2" fmla="*/ 47 w 47"/>
                <a:gd name="T3" fmla="*/ 4 h 164"/>
                <a:gd name="T4" fmla="*/ 40 w 47"/>
                <a:gd name="T5" fmla="*/ 163 h 164"/>
                <a:gd name="T6" fmla="*/ 0 w 47"/>
                <a:gd name="T7" fmla="*/ 161 h 164"/>
                <a:gd name="T8" fmla="*/ 0 w 47"/>
                <a:gd name="T9" fmla="*/ 0 h 164"/>
              </a:gdLst>
              <a:ahLst/>
              <a:cxnLst>
                <a:cxn ang="0">
                  <a:pos x="T0" y="T1"/>
                </a:cxn>
                <a:cxn ang="0">
                  <a:pos x="T2" y="T3"/>
                </a:cxn>
                <a:cxn ang="0">
                  <a:pos x="T4" y="T5"/>
                </a:cxn>
                <a:cxn ang="0">
                  <a:pos x="T6" y="T7"/>
                </a:cxn>
                <a:cxn ang="0">
                  <a:pos x="T8" y="T9"/>
                </a:cxn>
              </a:cxnLst>
              <a:rect l="0" t="0" r="r" b="b"/>
              <a:pathLst>
                <a:path w="47" h="164">
                  <a:moveTo>
                    <a:pt x="0" y="0"/>
                  </a:moveTo>
                  <a:cubicBezTo>
                    <a:pt x="26" y="3"/>
                    <a:pt x="47" y="4"/>
                    <a:pt x="47" y="4"/>
                  </a:cubicBezTo>
                  <a:cubicBezTo>
                    <a:pt x="40" y="163"/>
                    <a:pt x="40" y="163"/>
                    <a:pt x="40" y="163"/>
                  </a:cubicBezTo>
                  <a:cubicBezTo>
                    <a:pt x="28" y="164"/>
                    <a:pt x="14" y="163"/>
                    <a:pt x="0" y="161"/>
                  </a:cubicBezTo>
                  <a:lnTo>
                    <a:pt x="0" y="0"/>
                  </a:lnTo>
                  <a:close/>
                </a:path>
              </a:pathLst>
            </a:custGeom>
            <a:solidFill>
              <a:schemeClr val="accent1">
                <a:lumMod val="75000"/>
                <a:alpha val="4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5" name="Freeform 30"/>
            <p:cNvSpPr>
              <a:spLocks/>
            </p:cNvSpPr>
            <p:nvPr/>
          </p:nvSpPr>
          <p:spPr bwMode="auto">
            <a:xfrm>
              <a:off x="2633377" y="562560"/>
              <a:ext cx="6389688" cy="928688"/>
            </a:xfrm>
            <a:custGeom>
              <a:avLst/>
              <a:gdLst>
                <a:gd name="T0" fmla="*/ 1438 w 1438"/>
                <a:gd name="T1" fmla="*/ 0 h 207"/>
                <a:gd name="T2" fmla="*/ 867 w 1438"/>
                <a:gd name="T3" fmla="*/ 6 h 207"/>
                <a:gd name="T4" fmla="*/ 0 w 1438"/>
                <a:gd name="T5" fmla="*/ 0 h 207"/>
                <a:gd name="T6" fmla="*/ 0 w 1438"/>
                <a:gd name="T7" fmla="*/ 191 h 207"/>
                <a:gd name="T8" fmla="*/ 684 w 1438"/>
                <a:gd name="T9" fmla="*/ 191 h 207"/>
                <a:gd name="T10" fmla="*/ 1438 w 1438"/>
                <a:gd name="T11" fmla="*/ 191 h 207"/>
                <a:gd name="T12" fmla="*/ 1438 w 1438"/>
                <a:gd name="T13" fmla="*/ 0 h 207"/>
              </a:gdLst>
              <a:ahLst/>
              <a:cxnLst>
                <a:cxn ang="0">
                  <a:pos x="T0" y="T1"/>
                </a:cxn>
                <a:cxn ang="0">
                  <a:pos x="T2" y="T3"/>
                </a:cxn>
                <a:cxn ang="0">
                  <a:pos x="T4" y="T5"/>
                </a:cxn>
                <a:cxn ang="0">
                  <a:pos x="T6" y="T7"/>
                </a:cxn>
                <a:cxn ang="0">
                  <a:pos x="T8" y="T9"/>
                </a:cxn>
                <a:cxn ang="0">
                  <a:pos x="T10" y="T11"/>
                </a:cxn>
                <a:cxn ang="0">
                  <a:pos x="T12" y="T13"/>
                </a:cxn>
              </a:cxnLst>
              <a:rect l="0" t="0" r="r" b="b"/>
              <a:pathLst>
                <a:path w="1438" h="207">
                  <a:moveTo>
                    <a:pt x="1438" y="0"/>
                  </a:moveTo>
                  <a:cubicBezTo>
                    <a:pt x="1438" y="0"/>
                    <a:pt x="1008" y="3"/>
                    <a:pt x="867" y="6"/>
                  </a:cubicBezTo>
                  <a:cubicBezTo>
                    <a:pt x="272" y="19"/>
                    <a:pt x="0" y="0"/>
                    <a:pt x="0" y="0"/>
                  </a:cubicBezTo>
                  <a:cubicBezTo>
                    <a:pt x="0" y="191"/>
                    <a:pt x="0" y="191"/>
                    <a:pt x="0" y="191"/>
                  </a:cubicBezTo>
                  <a:cubicBezTo>
                    <a:pt x="0" y="191"/>
                    <a:pt x="227" y="207"/>
                    <a:pt x="684" y="191"/>
                  </a:cubicBezTo>
                  <a:cubicBezTo>
                    <a:pt x="863" y="185"/>
                    <a:pt x="1438" y="191"/>
                    <a:pt x="1438" y="191"/>
                  </a:cubicBezTo>
                  <a:lnTo>
                    <a:pt x="143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31"/>
            <p:cNvSpPr>
              <a:spLocks/>
            </p:cNvSpPr>
            <p:nvPr/>
          </p:nvSpPr>
          <p:spPr bwMode="auto">
            <a:xfrm>
              <a:off x="9013540" y="464135"/>
              <a:ext cx="66675" cy="1066800"/>
            </a:xfrm>
            <a:custGeom>
              <a:avLst/>
              <a:gdLst>
                <a:gd name="T0" fmla="*/ 0 w 15"/>
                <a:gd name="T1" fmla="*/ 229 h 238"/>
                <a:gd name="T2" fmla="*/ 8 w 15"/>
                <a:gd name="T3" fmla="*/ 238 h 238"/>
                <a:gd name="T4" fmla="*/ 8 w 15"/>
                <a:gd name="T5" fmla="*/ 238 h 238"/>
                <a:gd name="T6" fmla="*/ 15 w 15"/>
                <a:gd name="T7" fmla="*/ 229 h 238"/>
                <a:gd name="T8" fmla="*/ 15 w 15"/>
                <a:gd name="T9" fmla="*/ 9 h 238"/>
                <a:gd name="T10" fmla="*/ 8 w 15"/>
                <a:gd name="T11" fmla="*/ 0 h 238"/>
                <a:gd name="T12" fmla="*/ 8 w 15"/>
                <a:gd name="T13" fmla="*/ 0 h 238"/>
                <a:gd name="T14" fmla="*/ 0 w 15"/>
                <a:gd name="T15" fmla="*/ 9 h 238"/>
                <a:gd name="T16" fmla="*/ 0 w 15"/>
                <a:gd name="T17" fmla="*/ 22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38">
                  <a:moveTo>
                    <a:pt x="0" y="229"/>
                  </a:moveTo>
                  <a:cubicBezTo>
                    <a:pt x="0" y="234"/>
                    <a:pt x="4" y="238"/>
                    <a:pt x="8" y="238"/>
                  </a:cubicBezTo>
                  <a:cubicBezTo>
                    <a:pt x="8" y="238"/>
                    <a:pt x="8" y="238"/>
                    <a:pt x="8" y="238"/>
                  </a:cubicBezTo>
                  <a:cubicBezTo>
                    <a:pt x="12" y="238"/>
                    <a:pt x="15" y="234"/>
                    <a:pt x="15" y="229"/>
                  </a:cubicBezTo>
                  <a:cubicBezTo>
                    <a:pt x="15" y="9"/>
                    <a:pt x="15" y="9"/>
                    <a:pt x="15" y="9"/>
                  </a:cubicBezTo>
                  <a:cubicBezTo>
                    <a:pt x="15" y="4"/>
                    <a:pt x="12" y="0"/>
                    <a:pt x="8" y="0"/>
                  </a:cubicBezTo>
                  <a:cubicBezTo>
                    <a:pt x="8" y="0"/>
                    <a:pt x="8" y="0"/>
                    <a:pt x="8" y="0"/>
                  </a:cubicBezTo>
                  <a:cubicBezTo>
                    <a:pt x="4" y="0"/>
                    <a:pt x="0" y="4"/>
                    <a:pt x="0" y="9"/>
                  </a:cubicBezTo>
                  <a:lnTo>
                    <a:pt x="0" y="229"/>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2" name="Group 1"/>
            <p:cNvGrpSpPr/>
            <p:nvPr userDrawn="1"/>
          </p:nvGrpSpPr>
          <p:grpSpPr>
            <a:xfrm>
              <a:off x="9840627" y="814161"/>
              <a:ext cx="1166155" cy="595444"/>
              <a:chOff x="9840627" y="833339"/>
              <a:chExt cx="2020888" cy="1031875"/>
            </a:xfrm>
            <a:solidFill>
              <a:schemeClr val="tx2">
                <a:lumMod val="60000"/>
                <a:lumOff val="40000"/>
              </a:schemeClr>
            </a:solidFill>
          </p:grpSpPr>
          <p:sp>
            <p:nvSpPr>
              <p:cNvPr id="33" name="Freeform 32"/>
              <p:cNvSpPr>
                <a:spLocks/>
              </p:cNvSpPr>
              <p:nvPr/>
            </p:nvSpPr>
            <p:spPr bwMode="auto">
              <a:xfrm>
                <a:off x="11532902" y="1139726"/>
                <a:ext cx="182563" cy="371475"/>
              </a:xfrm>
              <a:custGeom>
                <a:avLst/>
                <a:gdLst>
                  <a:gd name="T0" fmla="*/ 41 w 41"/>
                  <a:gd name="T1" fmla="*/ 15 h 83"/>
                  <a:gd name="T2" fmla="*/ 41 w 41"/>
                  <a:gd name="T3" fmla="*/ 68 h 83"/>
                  <a:gd name="T4" fmla="*/ 26 w 41"/>
                  <a:gd name="T5" fmla="*/ 83 h 83"/>
                  <a:gd name="T6" fmla="*/ 0 w 41"/>
                  <a:gd name="T7" fmla="*/ 83 h 83"/>
                  <a:gd name="T8" fmla="*/ 0 w 41"/>
                  <a:gd name="T9" fmla="*/ 0 h 83"/>
                  <a:gd name="T10" fmla="*/ 26 w 41"/>
                  <a:gd name="T11" fmla="*/ 0 h 83"/>
                  <a:gd name="T12" fmla="*/ 41 w 41"/>
                  <a:gd name="T13" fmla="*/ 15 h 83"/>
                </a:gdLst>
                <a:ahLst/>
                <a:cxnLst>
                  <a:cxn ang="0">
                    <a:pos x="T0" y="T1"/>
                  </a:cxn>
                  <a:cxn ang="0">
                    <a:pos x="T2" y="T3"/>
                  </a:cxn>
                  <a:cxn ang="0">
                    <a:pos x="T4" y="T5"/>
                  </a:cxn>
                  <a:cxn ang="0">
                    <a:pos x="T6" y="T7"/>
                  </a:cxn>
                  <a:cxn ang="0">
                    <a:pos x="T8" y="T9"/>
                  </a:cxn>
                  <a:cxn ang="0">
                    <a:pos x="T10" y="T11"/>
                  </a:cxn>
                  <a:cxn ang="0">
                    <a:pos x="T12" y="T13"/>
                  </a:cxn>
                </a:cxnLst>
                <a:rect l="0" t="0" r="r" b="b"/>
                <a:pathLst>
                  <a:path w="41" h="83">
                    <a:moveTo>
                      <a:pt x="41" y="15"/>
                    </a:moveTo>
                    <a:cubicBezTo>
                      <a:pt x="41" y="68"/>
                      <a:pt x="41" y="68"/>
                      <a:pt x="41" y="68"/>
                    </a:cubicBezTo>
                    <a:cubicBezTo>
                      <a:pt x="41" y="77"/>
                      <a:pt x="34" y="83"/>
                      <a:pt x="26" y="83"/>
                    </a:cubicBezTo>
                    <a:cubicBezTo>
                      <a:pt x="0" y="83"/>
                      <a:pt x="0" y="83"/>
                      <a:pt x="0" y="83"/>
                    </a:cubicBezTo>
                    <a:cubicBezTo>
                      <a:pt x="0" y="0"/>
                      <a:pt x="0" y="0"/>
                      <a:pt x="0" y="0"/>
                    </a:cubicBezTo>
                    <a:cubicBezTo>
                      <a:pt x="26" y="0"/>
                      <a:pt x="26" y="0"/>
                      <a:pt x="26" y="0"/>
                    </a:cubicBezTo>
                    <a:cubicBezTo>
                      <a:pt x="34" y="0"/>
                      <a:pt x="41" y="7"/>
                      <a:pt x="41" y="15"/>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4" name="Freeform 33"/>
              <p:cNvSpPr>
                <a:spLocks/>
              </p:cNvSpPr>
              <p:nvPr/>
            </p:nvSpPr>
            <p:spPr bwMode="auto">
              <a:xfrm>
                <a:off x="11728165" y="1265139"/>
                <a:ext cx="133350" cy="125413"/>
              </a:xfrm>
              <a:custGeom>
                <a:avLst/>
                <a:gdLst>
                  <a:gd name="T0" fmla="*/ 30 w 30"/>
                  <a:gd name="T1" fmla="*/ 14 h 28"/>
                  <a:gd name="T2" fmla="*/ 0 w 30"/>
                  <a:gd name="T3" fmla="*/ 28 h 28"/>
                  <a:gd name="T4" fmla="*/ 0 w 30"/>
                  <a:gd name="T5" fmla="*/ 0 h 28"/>
                  <a:gd name="T6" fmla="*/ 30 w 30"/>
                  <a:gd name="T7" fmla="*/ 14 h 28"/>
                </a:gdLst>
                <a:ahLst/>
                <a:cxnLst>
                  <a:cxn ang="0">
                    <a:pos x="T0" y="T1"/>
                  </a:cxn>
                  <a:cxn ang="0">
                    <a:pos x="T2" y="T3"/>
                  </a:cxn>
                  <a:cxn ang="0">
                    <a:pos x="T4" y="T5"/>
                  </a:cxn>
                  <a:cxn ang="0">
                    <a:pos x="T6" y="T7"/>
                  </a:cxn>
                </a:cxnLst>
                <a:rect l="0" t="0" r="r" b="b"/>
                <a:pathLst>
                  <a:path w="30" h="28">
                    <a:moveTo>
                      <a:pt x="30" y="14"/>
                    </a:moveTo>
                    <a:cubicBezTo>
                      <a:pt x="30" y="22"/>
                      <a:pt x="17" y="28"/>
                      <a:pt x="0" y="28"/>
                    </a:cubicBezTo>
                    <a:cubicBezTo>
                      <a:pt x="0" y="0"/>
                      <a:pt x="0" y="0"/>
                      <a:pt x="0" y="0"/>
                    </a:cubicBezTo>
                    <a:cubicBezTo>
                      <a:pt x="17" y="0"/>
                      <a:pt x="30" y="6"/>
                      <a:pt x="30" y="14"/>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5" name="Oval 34"/>
              <p:cNvSpPr>
                <a:spLocks noChangeArrowheads="1"/>
              </p:cNvSpPr>
              <p:nvPr/>
            </p:nvSpPr>
            <p:spPr bwMode="auto">
              <a:xfrm>
                <a:off x="11750390" y="1036539"/>
                <a:ext cx="39688" cy="219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6" name="Oval 35"/>
              <p:cNvSpPr>
                <a:spLocks noChangeArrowheads="1"/>
              </p:cNvSpPr>
              <p:nvPr/>
            </p:nvSpPr>
            <p:spPr bwMode="auto">
              <a:xfrm>
                <a:off x="11750390" y="1398489"/>
                <a:ext cx="39688" cy="220663"/>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7" name="Freeform 36"/>
              <p:cNvSpPr>
                <a:spLocks/>
              </p:cNvSpPr>
              <p:nvPr/>
            </p:nvSpPr>
            <p:spPr bwMode="auto">
              <a:xfrm>
                <a:off x="9840627" y="857151"/>
                <a:ext cx="177800" cy="469900"/>
              </a:xfrm>
              <a:custGeom>
                <a:avLst/>
                <a:gdLst>
                  <a:gd name="T0" fmla="*/ 1 w 40"/>
                  <a:gd name="T1" fmla="*/ 63 h 105"/>
                  <a:gd name="T2" fmla="*/ 40 w 40"/>
                  <a:gd name="T3" fmla="*/ 0 h 105"/>
                  <a:gd name="T4" fmla="*/ 40 w 40"/>
                  <a:gd name="T5" fmla="*/ 105 h 105"/>
                  <a:gd name="T6" fmla="*/ 1 w 40"/>
                  <a:gd name="T7" fmla="*/ 63 h 105"/>
                </a:gdLst>
                <a:ahLst/>
                <a:cxnLst>
                  <a:cxn ang="0">
                    <a:pos x="T0" y="T1"/>
                  </a:cxn>
                  <a:cxn ang="0">
                    <a:pos x="T2" y="T3"/>
                  </a:cxn>
                  <a:cxn ang="0">
                    <a:pos x="T4" y="T5"/>
                  </a:cxn>
                  <a:cxn ang="0">
                    <a:pos x="T6" y="T7"/>
                  </a:cxn>
                </a:cxnLst>
                <a:rect l="0" t="0" r="r" b="b"/>
                <a:pathLst>
                  <a:path w="40" h="105">
                    <a:moveTo>
                      <a:pt x="1" y="63"/>
                    </a:moveTo>
                    <a:cubicBezTo>
                      <a:pt x="3" y="27"/>
                      <a:pt x="23" y="3"/>
                      <a:pt x="40" y="0"/>
                    </a:cubicBezTo>
                    <a:cubicBezTo>
                      <a:pt x="40" y="105"/>
                      <a:pt x="40" y="105"/>
                      <a:pt x="40" y="105"/>
                    </a:cubicBezTo>
                    <a:cubicBezTo>
                      <a:pt x="40" y="105"/>
                      <a:pt x="0" y="100"/>
                      <a:pt x="1" y="63"/>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8" name="Freeform 37"/>
              <p:cNvSpPr>
                <a:spLocks noEditPoints="1"/>
              </p:cNvSpPr>
              <p:nvPr/>
            </p:nvSpPr>
            <p:spPr bwMode="auto">
              <a:xfrm>
                <a:off x="10004140" y="833339"/>
                <a:ext cx="1538288" cy="1031875"/>
              </a:xfrm>
              <a:custGeom>
                <a:avLst/>
                <a:gdLst>
                  <a:gd name="T0" fmla="*/ 10 w 346"/>
                  <a:gd name="T1" fmla="*/ 141 h 230"/>
                  <a:gd name="T2" fmla="*/ 20 w 346"/>
                  <a:gd name="T3" fmla="*/ 128 h 230"/>
                  <a:gd name="T4" fmla="*/ 127 w 346"/>
                  <a:gd name="T5" fmla="*/ 141 h 230"/>
                  <a:gd name="T6" fmla="*/ 270 w 346"/>
                  <a:gd name="T7" fmla="*/ 149 h 230"/>
                  <a:gd name="T8" fmla="*/ 272 w 346"/>
                  <a:gd name="T9" fmla="*/ 199 h 230"/>
                  <a:gd name="T10" fmla="*/ 288 w 346"/>
                  <a:gd name="T11" fmla="*/ 177 h 230"/>
                  <a:gd name="T12" fmla="*/ 279 w 346"/>
                  <a:gd name="T13" fmla="*/ 202 h 230"/>
                  <a:gd name="T14" fmla="*/ 334 w 346"/>
                  <a:gd name="T15" fmla="*/ 202 h 230"/>
                  <a:gd name="T16" fmla="*/ 311 w 346"/>
                  <a:gd name="T17" fmla="*/ 172 h 230"/>
                  <a:gd name="T18" fmla="*/ 333 w 346"/>
                  <a:gd name="T19" fmla="*/ 177 h 230"/>
                  <a:gd name="T20" fmla="*/ 311 w 346"/>
                  <a:gd name="T21" fmla="*/ 149 h 230"/>
                  <a:gd name="T22" fmla="*/ 340 w 346"/>
                  <a:gd name="T23" fmla="*/ 71 h 230"/>
                  <a:gd name="T24" fmla="*/ 304 w 346"/>
                  <a:gd name="T25" fmla="*/ 40 h 230"/>
                  <a:gd name="T26" fmla="*/ 326 w 346"/>
                  <a:gd name="T27" fmla="*/ 31 h 230"/>
                  <a:gd name="T28" fmla="*/ 228 w 346"/>
                  <a:gd name="T29" fmla="*/ 38 h 230"/>
                  <a:gd name="T30" fmla="*/ 250 w 346"/>
                  <a:gd name="T31" fmla="*/ 40 h 230"/>
                  <a:gd name="T32" fmla="*/ 236 w 346"/>
                  <a:gd name="T33" fmla="*/ 71 h 230"/>
                  <a:gd name="T34" fmla="*/ 214 w 346"/>
                  <a:gd name="T35" fmla="*/ 54 h 230"/>
                  <a:gd name="T36" fmla="*/ 146 w 346"/>
                  <a:gd name="T37" fmla="*/ 72 h 230"/>
                  <a:gd name="T38" fmla="*/ 7 w 346"/>
                  <a:gd name="T39" fmla="*/ 6 h 230"/>
                  <a:gd name="T40" fmla="*/ 15 w 346"/>
                  <a:gd name="T41" fmla="*/ 115 h 230"/>
                  <a:gd name="T42" fmla="*/ 10 w 346"/>
                  <a:gd name="T43" fmla="*/ 121 h 230"/>
                  <a:gd name="T44" fmla="*/ 231 w 346"/>
                  <a:gd name="T45" fmla="*/ 71 h 230"/>
                  <a:gd name="T46" fmla="*/ 216 w 346"/>
                  <a:gd name="T47" fmla="*/ 59 h 230"/>
                  <a:gd name="T48" fmla="*/ 294 w 346"/>
                  <a:gd name="T49" fmla="*/ 71 h 230"/>
                  <a:gd name="T50" fmla="*/ 256 w 346"/>
                  <a:gd name="T51" fmla="*/ 40 h 230"/>
                  <a:gd name="T52" fmla="*/ 294 w 346"/>
                  <a:gd name="T53" fmla="*/ 71 h 230"/>
                  <a:gd name="T54" fmla="*/ 307 w 346"/>
                  <a:gd name="T55" fmla="*/ 185 h 230"/>
                  <a:gd name="T56" fmla="*/ 307 w 346"/>
                  <a:gd name="T57" fmla="*/ 219 h 230"/>
                  <a:gd name="T58" fmla="*/ 292 w 346"/>
                  <a:gd name="T59" fmla="*/ 174 h 230"/>
                  <a:gd name="T60" fmla="*/ 301 w 346"/>
                  <a:gd name="T61" fmla="*/ 171 h 230"/>
                  <a:gd name="T62" fmla="*/ 294 w 346"/>
                  <a:gd name="T63" fmla="*/ 178 h 230"/>
                  <a:gd name="T64" fmla="*/ 276 w 346"/>
                  <a:gd name="T65" fmla="*/ 149 h 230"/>
                  <a:gd name="T66" fmla="*/ 301 w 346"/>
                  <a:gd name="T67" fmla="*/ 166 h 230"/>
                  <a:gd name="T68" fmla="*/ 289 w 346"/>
                  <a:gd name="T69" fmla="*/ 170 h 230"/>
                  <a:gd name="T70" fmla="*/ 15 w 346"/>
                  <a:gd name="T71" fmla="*/ 122 h 230"/>
                  <a:gd name="T72" fmla="*/ 34 w 346"/>
                  <a:gd name="T73" fmla="*/ 121 h 230"/>
                  <a:gd name="T74" fmla="*/ 15 w 346"/>
                  <a:gd name="T75" fmla="*/ 122 h 230"/>
                  <a:gd name="T76" fmla="*/ 10 w 346"/>
                  <a:gd name="T77" fmla="*/ 125 h 230"/>
                  <a:gd name="T78" fmla="*/ 10 w 346"/>
                  <a:gd name="T79" fmla="*/ 13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230">
                    <a:moveTo>
                      <a:pt x="0" y="131"/>
                    </a:moveTo>
                    <a:cubicBezTo>
                      <a:pt x="0" y="136"/>
                      <a:pt x="4" y="141"/>
                      <a:pt x="10" y="141"/>
                    </a:cubicBezTo>
                    <a:cubicBezTo>
                      <a:pt x="15" y="141"/>
                      <a:pt x="20" y="136"/>
                      <a:pt x="20" y="131"/>
                    </a:cubicBezTo>
                    <a:cubicBezTo>
                      <a:pt x="20" y="130"/>
                      <a:pt x="20" y="129"/>
                      <a:pt x="20" y="128"/>
                    </a:cubicBezTo>
                    <a:cubicBezTo>
                      <a:pt x="38" y="122"/>
                      <a:pt x="38" y="122"/>
                      <a:pt x="38" y="122"/>
                    </a:cubicBezTo>
                    <a:cubicBezTo>
                      <a:pt x="67" y="130"/>
                      <a:pt x="108" y="138"/>
                      <a:pt x="127" y="141"/>
                    </a:cubicBezTo>
                    <a:cubicBezTo>
                      <a:pt x="156" y="146"/>
                      <a:pt x="210" y="149"/>
                      <a:pt x="210" y="149"/>
                    </a:cubicBezTo>
                    <a:cubicBezTo>
                      <a:pt x="270" y="149"/>
                      <a:pt x="270" y="149"/>
                      <a:pt x="270" y="149"/>
                    </a:cubicBezTo>
                    <a:cubicBezTo>
                      <a:pt x="285" y="172"/>
                      <a:pt x="285" y="172"/>
                      <a:pt x="285" y="172"/>
                    </a:cubicBezTo>
                    <a:cubicBezTo>
                      <a:pt x="277" y="179"/>
                      <a:pt x="272" y="189"/>
                      <a:pt x="272" y="199"/>
                    </a:cubicBezTo>
                    <a:cubicBezTo>
                      <a:pt x="277" y="198"/>
                      <a:pt x="277" y="198"/>
                      <a:pt x="277" y="198"/>
                    </a:cubicBezTo>
                    <a:cubicBezTo>
                      <a:pt x="277" y="191"/>
                      <a:pt x="281" y="182"/>
                      <a:pt x="288" y="177"/>
                    </a:cubicBezTo>
                    <a:cubicBezTo>
                      <a:pt x="290" y="181"/>
                      <a:pt x="290" y="181"/>
                      <a:pt x="290" y="181"/>
                    </a:cubicBezTo>
                    <a:cubicBezTo>
                      <a:pt x="283" y="186"/>
                      <a:pt x="279" y="193"/>
                      <a:pt x="279" y="202"/>
                    </a:cubicBezTo>
                    <a:cubicBezTo>
                      <a:pt x="279" y="217"/>
                      <a:pt x="292" y="230"/>
                      <a:pt x="307" y="230"/>
                    </a:cubicBezTo>
                    <a:cubicBezTo>
                      <a:pt x="322" y="230"/>
                      <a:pt x="334" y="217"/>
                      <a:pt x="334" y="202"/>
                    </a:cubicBezTo>
                    <a:cubicBezTo>
                      <a:pt x="334" y="189"/>
                      <a:pt x="324" y="177"/>
                      <a:pt x="311" y="175"/>
                    </a:cubicBezTo>
                    <a:cubicBezTo>
                      <a:pt x="311" y="172"/>
                      <a:pt x="311" y="172"/>
                      <a:pt x="311" y="172"/>
                    </a:cubicBezTo>
                    <a:cubicBezTo>
                      <a:pt x="322" y="174"/>
                      <a:pt x="329" y="181"/>
                      <a:pt x="329" y="181"/>
                    </a:cubicBezTo>
                    <a:cubicBezTo>
                      <a:pt x="333" y="177"/>
                      <a:pt x="333" y="177"/>
                      <a:pt x="333" y="177"/>
                    </a:cubicBezTo>
                    <a:cubicBezTo>
                      <a:pt x="332" y="177"/>
                      <a:pt x="324" y="169"/>
                      <a:pt x="311" y="167"/>
                    </a:cubicBezTo>
                    <a:cubicBezTo>
                      <a:pt x="311" y="149"/>
                      <a:pt x="311" y="149"/>
                      <a:pt x="311" y="149"/>
                    </a:cubicBezTo>
                    <a:cubicBezTo>
                      <a:pt x="340" y="149"/>
                      <a:pt x="340" y="149"/>
                      <a:pt x="340" y="149"/>
                    </a:cubicBezTo>
                    <a:cubicBezTo>
                      <a:pt x="340" y="71"/>
                      <a:pt x="340" y="71"/>
                      <a:pt x="340" y="71"/>
                    </a:cubicBezTo>
                    <a:cubicBezTo>
                      <a:pt x="300" y="71"/>
                      <a:pt x="300" y="71"/>
                      <a:pt x="300" y="71"/>
                    </a:cubicBezTo>
                    <a:cubicBezTo>
                      <a:pt x="304" y="40"/>
                      <a:pt x="304" y="40"/>
                      <a:pt x="304" y="40"/>
                    </a:cubicBezTo>
                    <a:cubicBezTo>
                      <a:pt x="318" y="40"/>
                      <a:pt x="318" y="40"/>
                      <a:pt x="318" y="40"/>
                    </a:cubicBezTo>
                    <a:cubicBezTo>
                      <a:pt x="346" y="40"/>
                      <a:pt x="333" y="33"/>
                      <a:pt x="326" y="31"/>
                    </a:cubicBezTo>
                    <a:cubicBezTo>
                      <a:pt x="318" y="29"/>
                      <a:pt x="313" y="28"/>
                      <a:pt x="293" y="27"/>
                    </a:cubicBezTo>
                    <a:cubicBezTo>
                      <a:pt x="273" y="27"/>
                      <a:pt x="232" y="35"/>
                      <a:pt x="228" y="38"/>
                    </a:cubicBezTo>
                    <a:cubicBezTo>
                      <a:pt x="224" y="40"/>
                      <a:pt x="230" y="40"/>
                      <a:pt x="230" y="40"/>
                    </a:cubicBezTo>
                    <a:cubicBezTo>
                      <a:pt x="250" y="40"/>
                      <a:pt x="250" y="40"/>
                      <a:pt x="250" y="40"/>
                    </a:cubicBezTo>
                    <a:cubicBezTo>
                      <a:pt x="246" y="71"/>
                      <a:pt x="246" y="71"/>
                      <a:pt x="246" y="71"/>
                    </a:cubicBezTo>
                    <a:cubicBezTo>
                      <a:pt x="236" y="71"/>
                      <a:pt x="236" y="71"/>
                      <a:pt x="236" y="71"/>
                    </a:cubicBezTo>
                    <a:cubicBezTo>
                      <a:pt x="232" y="66"/>
                      <a:pt x="225" y="58"/>
                      <a:pt x="216" y="55"/>
                    </a:cubicBezTo>
                    <a:cubicBezTo>
                      <a:pt x="214" y="54"/>
                      <a:pt x="214" y="54"/>
                      <a:pt x="214" y="54"/>
                    </a:cubicBezTo>
                    <a:cubicBezTo>
                      <a:pt x="209" y="72"/>
                      <a:pt x="209" y="72"/>
                      <a:pt x="209" y="72"/>
                    </a:cubicBezTo>
                    <a:cubicBezTo>
                      <a:pt x="190" y="93"/>
                      <a:pt x="146" y="72"/>
                      <a:pt x="146" y="72"/>
                    </a:cubicBezTo>
                    <a:cubicBezTo>
                      <a:pt x="68" y="75"/>
                      <a:pt x="68" y="75"/>
                      <a:pt x="68" y="75"/>
                    </a:cubicBezTo>
                    <a:cubicBezTo>
                      <a:pt x="40" y="0"/>
                      <a:pt x="7" y="6"/>
                      <a:pt x="7" y="6"/>
                    </a:cubicBezTo>
                    <a:cubicBezTo>
                      <a:pt x="7" y="112"/>
                      <a:pt x="7" y="112"/>
                      <a:pt x="7" y="112"/>
                    </a:cubicBezTo>
                    <a:cubicBezTo>
                      <a:pt x="9" y="113"/>
                      <a:pt x="12" y="114"/>
                      <a:pt x="15" y="115"/>
                    </a:cubicBezTo>
                    <a:cubicBezTo>
                      <a:pt x="13" y="121"/>
                      <a:pt x="13" y="121"/>
                      <a:pt x="13" y="121"/>
                    </a:cubicBezTo>
                    <a:cubicBezTo>
                      <a:pt x="12" y="121"/>
                      <a:pt x="11" y="121"/>
                      <a:pt x="10" y="121"/>
                    </a:cubicBezTo>
                    <a:cubicBezTo>
                      <a:pt x="4" y="121"/>
                      <a:pt x="0" y="125"/>
                      <a:pt x="0" y="131"/>
                    </a:cubicBezTo>
                    <a:close/>
                    <a:moveTo>
                      <a:pt x="231" y="71"/>
                    </a:moveTo>
                    <a:cubicBezTo>
                      <a:pt x="213" y="71"/>
                      <a:pt x="213" y="71"/>
                      <a:pt x="213" y="71"/>
                    </a:cubicBezTo>
                    <a:cubicBezTo>
                      <a:pt x="216" y="59"/>
                      <a:pt x="216" y="59"/>
                      <a:pt x="216" y="59"/>
                    </a:cubicBezTo>
                    <a:cubicBezTo>
                      <a:pt x="222" y="62"/>
                      <a:pt x="228" y="67"/>
                      <a:pt x="231" y="71"/>
                    </a:cubicBezTo>
                    <a:close/>
                    <a:moveTo>
                      <a:pt x="294" y="71"/>
                    </a:moveTo>
                    <a:cubicBezTo>
                      <a:pt x="252" y="71"/>
                      <a:pt x="252" y="71"/>
                      <a:pt x="252" y="71"/>
                    </a:cubicBezTo>
                    <a:cubicBezTo>
                      <a:pt x="256" y="40"/>
                      <a:pt x="256" y="40"/>
                      <a:pt x="256" y="40"/>
                    </a:cubicBezTo>
                    <a:cubicBezTo>
                      <a:pt x="298" y="40"/>
                      <a:pt x="298" y="40"/>
                      <a:pt x="298" y="40"/>
                    </a:cubicBezTo>
                    <a:lnTo>
                      <a:pt x="294" y="71"/>
                    </a:lnTo>
                    <a:close/>
                    <a:moveTo>
                      <a:pt x="290" y="202"/>
                    </a:moveTo>
                    <a:cubicBezTo>
                      <a:pt x="290" y="193"/>
                      <a:pt x="297" y="185"/>
                      <a:pt x="307" y="185"/>
                    </a:cubicBezTo>
                    <a:cubicBezTo>
                      <a:pt x="316" y="185"/>
                      <a:pt x="324" y="193"/>
                      <a:pt x="324" y="202"/>
                    </a:cubicBezTo>
                    <a:cubicBezTo>
                      <a:pt x="324" y="212"/>
                      <a:pt x="316" y="219"/>
                      <a:pt x="307" y="219"/>
                    </a:cubicBezTo>
                    <a:cubicBezTo>
                      <a:pt x="297" y="219"/>
                      <a:pt x="290" y="212"/>
                      <a:pt x="290" y="202"/>
                    </a:cubicBezTo>
                    <a:close/>
                    <a:moveTo>
                      <a:pt x="292" y="174"/>
                    </a:moveTo>
                    <a:cubicBezTo>
                      <a:pt x="294" y="173"/>
                      <a:pt x="296" y="172"/>
                      <a:pt x="299" y="172"/>
                    </a:cubicBezTo>
                    <a:cubicBezTo>
                      <a:pt x="300" y="172"/>
                      <a:pt x="301" y="171"/>
                      <a:pt x="301" y="171"/>
                    </a:cubicBezTo>
                    <a:cubicBezTo>
                      <a:pt x="301" y="175"/>
                      <a:pt x="301" y="175"/>
                      <a:pt x="301" y="175"/>
                    </a:cubicBezTo>
                    <a:cubicBezTo>
                      <a:pt x="299" y="176"/>
                      <a:pt x="296" y="177"/>
                      <a:pt x="294" y="178"/>
                    </a:cubicBezTo>
                    <a:lnTo>
                      <a:pt x="292" y="174"/>
                    </a:lnTo>
                    <a:close/>
                    <a:moveTo>
                      <a:pt x="276" y="149"/>
                    </a:moveTo>
                    <a:cubicBezTo>
                      <a:pt x="301" y="149"/>
                      <a:pt x="301" y="149"/>
                      <a:pt x="301" y="149"/>
                    </a:cubicBezTo>
                    <a:cubicBezTo>
                      <a:pt x="301" y="166"/>
                      <a:pt x="301" y="166"/>
                      <a:pt x="301" y="166"/>
                    </a:cubicBezTo>
                    <a:cubicBezTo>
                      <a:pt x="300" y="166"/>
                      <a:pt x="299" y="167"/>
                      <a:pt x="298" y="167"/>
                    </a:cubicBezTo>
                    <a:cubicBezTo>
                      <a:pt x="295" y="167"/>
                      <a:pt x="292" y="168"/>
                      <a:pt x="289" y="170"/>
                    </a:cubicBezTo>
                    <a:lnTo>
                      <a:pt x="276" y="149"/>
                    </a:lnTo>
                    <a:close/>
                    <a:moveTo>
                      <a:pt x="15" y="122"/>
                    </a:moveTo>
                    <a:cubicBezTo>
                      <a:pt x="17" y="116"/>
                      <a:pt x="17" y="116"/>
                      <a:pt x="17" y="116"/>
                    </a:cubicBezTo>
                    <a:cubicBezTo>
                      <a:pt x="22" y="118"/>
                      <a:pt x="28" y="119"/>
                      <a:pt x="34" y="121"/>
                    </a:cubicBezTo>
                    <a:cubicBezTo>
                      <a:pt x="19" y="126"/>
                      <a:pt x="19" y="126"/>
                      <a:pt x="19" y="126"/>
                    </a:cubicBezTo>
                    <a:cubicBezTo>
                      <a:pt x="18" y="124"/>
                      <a:pt x="17" y="123"/>
                      <a:pt x="15" y="122"/>
                    </a:cubicBezTo>
                    <a:close/>
                    <a:moveTo>
                      <a:pt x="4" y="131"/>
                    </a:moveTo>
                    <a:cubicBezTo>
                      <a:pt x="4" y="127"/>
                      <a:pt x="7" y="125"/>
                      <a:pt x="10" y="125"/>
                    </a:cubicBezTo>
                    <a:cubicBezTo>
                      <a:pt x="13" y="125"/>
                      <a:pt x="16" y="127"/>
                      <a:pt x="16" y="131"/>
                    </a:cubicBezTo>
                    <a:cubicBezTo>
                      <a:pt x="16" y="134"/>
                      <a:pt x="13" y="137"/>
                      <a:pt x="10" y="137"/>
                    </a:cubicBezTo>
                    <a:cubicBezTo>
                      <a:pt x="7" y="137"/>
                      <a:pt x="4" y="134"/>
                      <a:pt x="4" y="131"/>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a:p>
            </p:txBody>
          </p:sp>
          <p:sp>
            <p:nvSpPr>
              <p:cNvPr id="39" name="Oval 38"/>
              <p:cNvSpPr>
                <a:spLocks noChangeArrowheads="1"/>
              </p:cNvSpPr>
              <p:nvPr/>
            </p:nvSpPr>
            <p:spPr bwMode="auto">
              <a:xfrm>
                <a:off x="10035890" y="1408014"/>
                <a:ext cx="26988" cy="26988"/>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sp>
            <p:nvSpPr>
              <p:cNvPr id="40" name="Oval 39"/>
              <p:cNvSpPr>
                <a:spLocks noChangeArrowheads="1"/>
              </p:cNvSpPr>
              <p:nvPr/>
            </p:nvSpPr>
            <p:spPr bwMode="auto">
              <a:xfrm>
                <a:off x="11328115" y="1703289"/>
                <a:ext cx="76200" cy="76200"/>
              </a:xfrm>
              <a:prstGeom prst="ellipse">
                <a:avLst/>
              </a:prstGeom>
              <a:grpFill/>
              <a:ln>
                <a:noFill/>
              </a:ln>
            </p:spPr>
            <p:txBody>
              <a:bodyPr vert="horz" wrap="square" lIns="91440" tIns="45720" rIns="91440" bIns="45720" numCol="1" anchor="t" anchorCtr="0" compatLnSpc="1">
                <a:prstTxWarp prst="textNoShape">
                  <a:avLst/>
                </a:prstTxWarp>
              </a:bodyPr>
              <a:lstStyle/>
              <a:p>
                <a:endParaRPr lang="id-ID"/>
              </a:p>
            </p:txBody>
          </p:sp>
        </p:grpSp>
        <p:sp>
          <p:nvSpPr>
            <p:cNvPr id="41" name="Freeform 40"/>
            <p:cNvSpPr>
              <a:spLocks/>
            </p:cNvSpPr>
            <p:nvPr/>
          </p:nvSpPr>
          <p:spPr bwMode="auto">
            <a:xfrm>
              <a:off x="9045290" y="764172"/>
              <a:ext cx="857250" cy="169863"/>
            </a:xfrm>
            <a:custGeom>
              <a:avLst/>
              <a:gdLst>
                <a:gd name="T0" fmla="*/ 537 w 540"/>
                <a:gd name="T1" fmla="*/ 107 h 107"/>
                <a:gd name="T2" fmla="*/ 540 w 540"/>
                <a:gd name="T3" fmla="*/ 85 h 107"/>
                <a:gd name="T4" fmla="*/ 3 w 540"/>
                <a:gd name="T5" fmla="*/ 0 h 107"/>
                <a:gd name="T6" fmla="*/ 0 w 540"/>
                <a:gd name="T7" fmla="*/ 23 h 107"/>
                <a:gd name="T8" fmla="*/ 537 w 540"/>
                <a:gd name="T9" fmla="*/ 107 h 107"/>
              </a:gdLst>
              <a:ahLst/>
              <a:cxnLst>
                <a:cxn ang="0">
                  <a:pos x="T0" y="T1"/>
                </a:cxn>
                <a:cxn ang="0">
                  <a:pos x="T2" y="T3"/>
                </a:cxn>
                <a:cxn ang="0">
                  <a:pos x="T4" y="T5"/>
                </a:cxn>
                <a:cxn ang="0">
                  <a:pos x="T6" y="T7"/>
                </a:cxn>
                <a:cxn ang="0">
                  <a:pos x="T8" y="T9"/>
                </a:cxn>
              </a:cxnLst>
              <a:rect l="0" t="0" r="r" b="b"/>
              <a:pathLst>
                <a:path w="540" h="107">
                  <a:moveTo>
                    <a:pt x="537" y="107"/>
                  </a:moveTo>
                  <a:lnTo>
                    <a:pt x="540" y="85"/>
                  </a:lnTo>
                  <a:lnTo>
                    <a:pt x="3" y="0"/>
                  </a:lnTo>
                  <a:lnTo>
                    <a:pt x="0" y="23"/>
                  </a:lnTo>
                  <a:lnTo>
                    <a:pt x="537" y="107"/>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2" name="Freeform 41"/>
            <p:cNvSpPr>
              <a:spLocks/>
            </p:cNvSpPr>
            <p:nvPr/>
          </p:nvSpPr>
          <p:spPr bwMode="auto">
            <a:xfrm>
              <a:off x="9045290" y="1019760"/>
              <a:ext cx="857250" cy="169863"/>
            </a:xfrm>
            <a:custGeom>
              <a:avLst/>
              <a:gdLst>
                <a:gd name="T0" fmla="*/ 3 w 540"/>
                <a:gd name="T1" fmla="*/ 107 h 107"/>
                <a:gd name="T2" fmla="*/ 540 w 540"/>
                <a:gd name="T3" fmla="*/ 23 h 107"/>
                <a:gd name="T4" fmla="*/ 537 w 540"/>
                <a:gd name="T5" fmla="*/ 0 h 107"/>
                <a:gd name="T6" fmla="*/ 0 w 540"/>
                <a:gd name="T7" fmla="*/ 85 h 107"/>
                <a:gd name="T8" fmla="*/ 3 w 540"/>
                <a:gd name="T9" fmla="*/ 107 h 107"/>
              </a:gdLst>
              <a:ahLst/>
              <a:cxnLst>
                <a:cxn ang="0">
                  <a:pos x="T0" y="T1"/>
                </a:cxn>
                <a:cxn ang="0">
                  <a:pos x="T2" y="T3"/>
                </a:cxn>
                <a:cxn ang="0">
                  <a:pos x="T4" y="T5"/>
                </a:cxn>
                <a:cxn ang="0">
                  <a:pos x="T6" y="T7"/>
                </a:cxn>
                <a:cxn ang="0">
                  <a:pos x="T8" y="T9"/>
                </a:cxn>
              </a:cxnLst>
              <a:rect l="0" t="0" r="r" b="b"/>
              <a:pathLst>
                <a:path w="540" h="107">
                  <a:moveTo>
                    <a:pt x="3" y="107"/>
                  </a:moveTo>
                  <a:lnTo>
                    <a:pt x="540" y="23"/>
                  </a:lnTo>
                  <a:lnTo>
                    <a:pt x="537" y="0"/>
                  </a:lnTo>
                  <a:lnTo>
                    <a:pt x="0" y="85"/>
                  </a:lnTo>
                  <a:lnTo>
                    <a:pt x="3" y="107"/>
                  </a:lnTo>
                  <a:close/>
                </a:path>
              </a:pathLst>
            </a:custGeom>
            <a:solidFill>
              <a:schemeClr val="tx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25" name="Freeform 34"/>
          <p:cNvSpPr>
            <a:spLocks/>
          </p:cNvSpPr>
          <p:nvPr/>
        </p:nvSpPr>
        <p:spPr bwMode="auto">
          <a:xfrm>
            <a:off x="856201" y="239852"/>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p:nvSpPr>
        <p:spPr bwMode="auto">
          <a:xfrm>
            <a:off x="133325" y="550599"/>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23" name="Title 1"/>
          <p:cNvSpPr>
            <a:spLocks noGrp="1"/>
          </p:cNvSpPr>
          <p:nvPr>
            <p:ph type="title"/>
          </p:nvPr>
        </p:nvSpPr>
        <p:spPr>
          <a:xfrm>
            <a:off x="2576227" y="551313"/>
            <a:ext cx="6434138" cy="911682"/>
          </a:xfrm>
        </p:spPr>
        <p:txBody>
          <a:bodyPr>
            <a:normAutofit/>
          </a:bodyPr>
          <a:lstStyle>
            <a:lvl1pPr algn="ctr">
              <a:defRPr sz="3600" b="1">
                <a:solidFill>
                  <a:schemeClr val="bg1"/>
                </a:solidFill>
              </a:defRPr>
            </a:lvl1pPr>
          </a:lstStyle>
          <a:p>
            <a:r>
              <a:rPr lang="en-US" dirty="0"/>
              <a:t>Click to edit Master title style</a:t>
            </a:r>
            <a:endParaRPr lang="id-ID" dirty="0"/>
          </a:p>
        </p:txBody>
      </p:sp>
      <p:sp>
        <p:nvSpPr>
          <p:cNvPr id="31"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6"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48"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49" name="Group 48"/>
          <p:cNvGrpSpPr/>
          <p:nvPr userDrawn="1"/>
        </p:nvGrpSpPr>
        <p:grpSpPr>
          <a:xfrm>
            <a:off x="338952" y="6409324"/>
            <a:ext cx="224082" cy="221156"/>
            <a:chOff x="4328868" y="5502988"/>
            <a:chExt cx="500307" cy="493774"/>
          </a:xfrm>
        </p:grpSpPr>
        <p:sp>
          <p:nvSpPr>
            <p:cNvPr id="50" name="Freeform 49">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51" name="Freeform 50">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52" name="Group 51"/>
          <p:cNvGrpSpPr/>
          <p:nvPr userDrawn="1"/>
        </p:nvGrpSpPr>
        <p:grpSpPr>
          <a:xfrm flipH="1">
            <a:off x="11637433" y="6409324"/>
            <a:ext cx="224082" cy="221156"/>
            <a:chOff x="4328868" y="5502988"/>
            <a:chExt cx="500307" cy="493774"/>
          </a:xfrm>
        </p:grpSpPr>
        <p:sp>
          <p:nvSpPr>
            <p:cNvPr id="53" name="Freeform 52">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54" name="Freeform 53">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55" name="Picture Placeholder 5"/>
          <p:cNvSpPr>
            <a:spLocks noGrp="1"/>
          </p:cNvSpPr>
          <p:nvPr>
            <p:ph type="pic" sz="quarter" idx="13"/>
          </p:nvPr>
        </p:nvSpPr>
        <p:spPr>
          <a:xfrm>
            <a:off x="1426166" y="2119044"/>
            <a:ext cx="2160000" cy="2160000"/>
          </a:xfrm>
          <a:prstGeom prst="ellipse">
            <a:avLst/>
          </a:prstGeom>
        </p:spPr>
      </p:sp>
      <p:sp>
        <p:nvSpPr>
          <p:cNvPr id="56" name="Picture Placeholder 6"/>
          <p:cNvSpPr>
            <a:spLocks noGrp="1"/>
          </p:cNvSpPr>
          <p:nvPr>
            <p:ph type="pic" sz="quarter" idx="14"/>
          </p:nvPr>
        </p:nvSpPr>
        <p:spPr>
          <a:xfrm>
            <a:off x="5019813" y="2119044"/>
            <a:ext cx="2160000" cy="2160000"/>
          </a:xfrm>
          <a:prstGeom prst="ellipse">
            <a:avLst/>
          </a:prstGeom>
        </p:spPr>
      </p:sp>
      <p:sp>
        <p:nvSpPr>
          <p:cNvPr id="57" name="Picture Placeholder 7"/>
          <p:cNvSpPr>
            <a:spLocks noGrp="1"/>
          </p:cNvSpPr>
          <p:nvPr>
            <p:ph type="pic" sz="quarter" idx="15"/>
          </p:nvPr>
        </p:nvSpPr>
        <p:spPr>
          <a:xfrm>
            <a:off x="8651388" y="2119044"/>
            <a:ext cx="2160000" cy="2160000"/>
          </a:xfrm>
          <a:prstGeom prst="ellipse">
            <a:avLst/>
          </a:prstGeom>
        </p:spPr>
      </p:sp>
    </p:spTree>
    <p:extLst>
      <p:ext uri="{BB962C8B-B14F-4D97-AF65-F5344CB8AC3E}">
        <p14:creationId xmlns:p14="http://schemas.microsoft.com/office/powerpoint/2010/main" val="450673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with Description">
    <p:spTree>
      <p:nvGrpSpPr>
        <p:cNvPr id="1" name=""/>
        <p:cNvGrpSpPr/>
        <p:nvPr/>
      </p:nvGrpSpPr>
      <p:grpSpPr>
        <a:xfrm>
          <a:off x="0" y="0"/>
          <a:ext cx="0" cy="0"/>
          <a:chOff x="0" y="0"/>
          <a:chExt cx="0" cy="0"/>
        </a:xfrm>
      </p:grpSpPr>
      <p:sp>
        <p:nvSpPr>
          <p:cNvPr id="25" name="Freeform 34"/>
          <p:cNvSpPr>
            <a:spLocks/>
          </p:cNvSpPr>
          <p:nvPr userDrawn="1"/>
        </p:nvSpPr>
        <p:spPr bwMode="auto">
          <a:xfrm>
            <a:off x="1548278" y="1010761"/>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6" name="Freeform 35"/>
          <p:cNvSpPr>
            <a:spLocks/>
          </p:cNvSpPr>
          <p:nvPr userDrawn="1"/>
        </p:nvSpPr>
        <p:spPr bwMode="auto">
          <a:xfrm>
            <a:off x="2215822" y="394667"/>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27" name="Freeform 35"/>
          <p:cNvSpPr>
            <a:spLocks/>
          </p:cNvSpPr>
          <p:nvPr userDrawn="1"/>
        </p:nvSpPr>
        <p:spPr bwMode="auto">
          <a:xfrm>
            <a:off x="200505" y="357327"/>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accent1">
              <a:lumMod val="60000"/>
              <a:lumOff val="40000"/>
              <a:alpha val="2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 name="Freeform 30"/>
          <p:cNvSpPr>
            <a:spLocks/>
          </p:cNvSpPr>
          <p:nvPr userDrawn="1"/>
        </p:nvSpPr>
        <p:spPr bwMode="auto">
          <a:xfrm>
            <a:off x="11206541" y="270249"/>
            <a:ext cx="756642" cy="428063"/>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7" name="Slide Number Placeholder 5"/>
          <p:cNvSpPr txBox="1">
            <a:spLocks/>
          </p:cNvSpPr>
          <p:nvPr userDrawn="1"/>
        </p:nvSpPr>
        <p:spPr>
          <a:xfrm>
            <a:off x="11407776" y="326491"/>
            <a:ext cx="415312" cy="365125"/>
          </a:xfrm>
          <a:prstGeom prst="rect">
            <a:avLst/>
          </a:prstGeom>
        </p:spPr>
        <p:txBody>
          <a:bodyPr vert="horz" lIns="91440" tIns="45720" rIns="91440" bIns="45720" rtlCol="0" anchor="ctr"/>
          <a:lstStyle>
            <a:defPPr>
              <a:defRPr lang="id-ID"/>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A4E97F8-F2EB-4E84-BA61-217D6A6B81BD}" type="slidenum">
              <a:rPr lang="id-ID" smtClean="0">
                <a:solidFill>
                  <a:schemeClr val="bg1"/>
                </a:solidFill>
              </a:rPr>
              <a:pPr/>
              <a:t>‹N°›</a:t>
            </a:fld>
            <a:endParaRPr lang="id-ID" dirty="0">
              <a:solidFill>
                <a:schemeClr val="bg1"/>
              </a:solidFill>
            </a:endParaRPr>
          </a:p>
        </p:txBody>
      </p:sp>
      <p:sp>
        <p:nvSpPr>
          <p:cNvPr id="12" name="Freeform 6"/>
          <p:cNvSpPr>
            <a:spLocks/>
          </p:cNvSpPr>
          <p:nvPr userDrawn="1"/>
        </p:nvSpPr>
        <p:spPr bwMode="auto">
          <a:xfrm>
            <a:off x="-14513" y="5558970"/>
            <a:ext cx="569466" cy="1313543"/>
          </a:xfrm>
          <a:custGeom>
            <a:avLst/>
            <a:gdLst>
              <a:gd name="T0" fmla="*/ 178 w 243"/>
              <a:gd name="T1" fmla="*/ 178 h 558"/>
              <a:gd name="T2" fmla="*/ 183 w 243"/>
              <a:gd name="T3" fmla="*/ 146 h 558"/>
              <a:gd name="T4" fmla="*/ 150 w 243"/>
              <a:gd name="T5" fmla="*/ 84 h 558"/>
              <a:gd name="T6" fmla="*/ 100 w 243"/>
              <a:gd name="T7" fmla="*/ 16 h 558"/>
              <a:gd name="T8" fmla="*/ 4 w 243"/>
              <a:gd name="T9" fmla="*/ 20 h 558"/>
              <a:gd name="T10" fmla="*/ 0 w 243"/>
              <a:gd name="T11" fmla="*/ 24 h 558"/>
              <a:gd name="T12" fmla="*/ 0 w 243"/>
              <a:gd name="T13" fmla="*/ 558 h 558"/>
              <a:gd name="T14" fmla="*/ 187 w 243"/>
              <a:gd name="T15" fmla="*/ 558 h 558"/>
              <a:gd name="T16" fmla="*/ 221 w 243"/>
              <a:gd name="T17" fmla="*/ 502 h 558"/>
              <a:gd name="T18" fmla="*/ 222 w 243"/>
              <a:gd name="T19" fmla="*/ 484 h 558"/>
              <a:gd name="T20" fmla="*/ 185 w 243"/>
              <a:gd name="T21" fmla="*/ 406 h 558"/>
              <a:gd name="T22" fmla="*/ 241 w 243"/>
              <a:gd name="T23" fmla="*/ 308 h 558"/>
              <a:gd name="T24" fmla="*/ 243 w 243"/>
              <a:gd name="T25" fmla="*/ 284 h 558"/>
              <a:gd name="T26" fmla="*/ 178 w 243"/>
              <a:gd name="T27" fmla="*/ 17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 h="558">
                <a:moveTo>
                  <a:pt x="178" y="178"/>
                </a:moveTo>
                <a:cubicBezTo>
                  <a:pt x="181" y="167"/>
                  <a:pt x="183" y="156"/>
                  <a:pt x="183" y="146"/>
                </a:cubicBezTo>
                <a:cubicBezTo>
                  <a:pt x="183" y="108"/>
                  <a:pt x="159" y="90"/>
                  <a:pt x="150" y="84"/>
                </a:cubicBezTo>
                <a:cubicBezTo>
                  <a:pt x="149" y="57"/>
                  <a:pt x="130" y="31"/>
                  <a:pt x="100" y="16"/>
                </a:cubicBezTo>
                <a:cubicBezTo>
                  <a:pt x="67" y="0"/>
                  <a:pt x="30" y="1"/>
                  <a:pt x="4" y="20"/>
                </a:cubicBezTo>
                <a:cubicBezTo>
                  <a:pt x="3" y="21"/>
                  <a:pt x="1" y="23"/>
                  <a:pt x="0" y="24"/>
                </a:cubicBezTo>
                <a:cubicBezTo>
                  <a:pt x="0" y="558"/>
                  <a:pt x="0" y="558"/>
                  <a:pt x="0" y="558"/>
                </a:cubicBezTo>
                <a:cubicBezTo>
                  <a:pt x="187" y="558"/>
                  <a:pt x="187" y="558"/>
                  <a:pt x="187" y="558"/>
                </a:cubicBezTo>
                <a:cubicBezTo>
                  <a:pt x="201" y="548"/>
                  <a:pt x="216" y="531"/>
                  <a:pt x="221" y="502"/>
                </a:cubicBezTo>
                <a:cubicBezTo>
                  <a:pt x="222" y="496"/>
                  <a:pt x="222" y="490"/>
                  <a:pt x="222" y="484"/>
                </a:cubicBezTo>
                <a:cubicBezTo>
                  <a:pt x="222" y="444"/>
                  <a:pt x="199" y="417"/>
                  <a:pt x="185" y="406"/>
                </a:cubicBezTo>
                <a:cubicBezTo>
                  <a:pt x="202" y="399"/>
                  <a:pt x="231" y="378"/>
                  <a:pt x="241" y="308"/>
                </a:cubicBezTo>
                <a:cubicBezTo>
                  <a:pt x="243" y="300"/>
                  <a:pt x="243" y="292"/>
                  <a:pt x="243" y="284"/>
                </a:cubicBezTo>
                <a:cubicBezTo>
                  <a:pt x="243" y="215"/>
                  <a:pt x="193" y="185"/>
                  <a:pt x="178" y="178"/>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Freeform 7"/>
          <p:cNvSpPr>
            <a:spLocks/>
          </p:cNvSpPr>
          <p:nvPr userDrawn="1"/>
        </p:nvSpPr>
        <p:spPr bwMode="auto">
          <a:xfrm>
            <a:off x="-14513" y="5949858"/>
            <a:ext cx="1073454" cy="922655"/>
          </a:xfrm>
          <a:custGeom>
            <a:avLst/>
            <a:gdLst>
              <a:gd name="T0" fmla="*/ 323 w 458"/>
              <a:gd name="T1" fmla="*/ 224 h 392"/>
              <a:gd name="T2" fmla="*/ 311 w 458"/>
              <a:gd name="T3" fmla="*/ 225 h 392"/>
              <a:gd name="T4" fmla="*/ 208 w 458"/>
              <a:gd name="T5" fmla="*/ 148 h 392"/>
              <a:gd name="T6" fmla="*/ 175 w 458"/>
              <a:gd name="T7" fmla="*/ 151 h 392"/>
              <a:gd name="T8" fmla="*/ 0 w 458"/>
              <a:gd name="T9" fmla="*/ 0 h 392"/>
              <a:gd name="T10" fmla="*/ 0 w 458"/>
              <a:gd name="T11" fmla="*/ 392 h 392"/>
              <a:gd name="T12" fmla="*/ 456 w 458"/>
              <a:gd name="T13" fmla="*/ 392 h 392"/>
              <a:gd name="T14" fmla="*/ 433 w 458"/>
              <a:gd name="T15" fmla="*/ 294 h 392"/>
              <a:gd name="T16" fmla="*/ 323 w 458"/>
              <a:gd name="T17" fmla="*/ 22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8" h="392">
                <a:moveTo>
                  <a:pt x="323" y="224"/>
                </a:moveTo>
                <a:cubicBezTo>
                  <a:pt x="319" y="224"/>
                  <a:pt x="315" y="224"/>
                  <a:pt x="311" y="225"/>
                </a:cubicBezTo>
                <a:cubicBezTo>
                  <a:pt x="304" y="204"/>
                  <a:pt x="280" y="148"/>
                  <a:pt x="208" y="148"/>
                </a:cubicBezTo>
                <a:cubicBezTo>
                  <a:pt x="197" y="148"/>
                  <a:pt x="186" y="149"/>
                  <a:pt x="175" y="151"/>
                </a:cubicBezTo>
                <a:cubicBezTo>
                  <a:pt x="169" y="119"/>
                  <a:pt x="138" y="7"/>
                  <a:pt x="0" y="0"/>
                </a:cubicBezTo>
                <a:cubicBezTo>
                  <a:pt x="0" y="392"/>
                  <a:pt x="0" y="392"/>
                  <a:pt x="0" y="392"/>
                </a:cubicBezTo>
                <a:cubicBezTo>
                  <a:pt x="456" y="392"/>
                  <a:pt x="456" y="392"/>
                  <a:pt x="456" y="392"/>
                </a:cubicBezTo>
                <a:cubicBezTo>
                  <a:pt x="458" y="358"/>
                  <a:pt x="451" y="325"/>
                  <a:pt x="433" y="294"/>
                </a:cubicBezTo>
                <a:cubicBezTo>
                  <a:pt x="407" y="251"/>
                  <a:pt x="365" y="224"/>
                  <a:pt x="323" y="22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 name="Freeform 5"/>
          <p:cNvSpPr>
            <a:spLocks/>
          </p:cNvSpPr>
          <p:nvPr userDrawn="1"/>
        </p:nvSpPr>
        <p:spPr bwMode="auto">
          <a:xfrm>
            <a:off x="11236269" y="5379105"/>
            <a:ext cx="955731" cy="1505882"/>
          </a:xfrm>
          <a:custGeom>
            <a:avLst/>
            <a:gdLst>
              <a:gd name="T0" fmla="*/ 19 w 417"/>
              <a:gd name="T1" fmla="*/ 654 h 654"/>
              <a:gd name="T2" fmla="*/ 417 w 417"/>
              <a:gd name="T3" fmla="*/ 654 h 654"/>
              <a:gd name="T4" fmla="*/ 417 w 417"/>
              <a:gd name="T5" fmla="*/ 23 h 654"/>
              <a:gd name="T6" fmla="*/ 286 w 417"/>
              <a:gd name="T7" fmla="*/ 29 h 654"/>
              <a:gd name="T8" fmla="*/ 228 w 417"/>
              <a:gd name="T9" fmla="*/ 160 h 654"/>
              <a:gd name="T10" fmla="*/ 229 w 417"/>
              <a:gd name="T11" fmla="*/ 178 h 654"/>
              <a:gd name="T12" fmla="*/ 105 w 417"/>
              <a:gd name="T13" fmla="*/ 233 h 654"/>
              <a:gd name="T14" fmla="*/ 71 w 417"/>
              <a:gd name="T15" fmla="*/ 327 h 654"/>
              <a:gd name="T16" fmla="*/ 86 w 417"/>
              <a:gd name="T17" fmla="*/ 402 h 654"/>
              <a:gd name="T18" fmla="*/ 0 w 417"/>
              <a:gd name="T19" fmla="*/ 565 h 654"/>
              <a:gd name="T20" fmla="*/ 1 w 417"/>
              <a:gd name="T21" fmla="*/ 575 h 654"/>
              <a:gd name="T22" fmla="*/ 19 w 417"/>
              <a:gd name="T23"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7" h="654">
                <a:moveTo>
                  <a:pt x="19" y="654"/>
                </a:moveTo>
                <a:cubicBezTo>
                  <a:pt x="417" y="654"/>
                  <a:pt x="417" y="654"/>
                  <a:pt x="417" y="654"/>
                </a:cubicBezTo>
                <a:cubicBezTo>
                  <a:pt x="417" y="23"/>
                  <a:pt x="417" y="23"/>
                  <a:pt x="417" y="23"/>
                </a:cubicBezTo>
                <a:cubicBezTo>
                  <a:pt x="371" y="0"/>
                  <a:pt x="321" y="2"/>
                  <a:pt x="286" y="29"/>
                </a:cubicBezTo>
                <a:cubicBezTo>
                  <a:pt x="236" y="66"/>
                  <a:pt x="228" y="127"/>
                  <a:pt x="228" y="160"/>
                </a:cubicBezTo>
                <a:cubicBezTo>
                  <a:pt x="228" y="167"/>
                  <a:pt x="229" y="174"/>
                  <a:pt x="229" y="178"/>
                </a:cubicBezTo>
                <a:cubicBezTo>
                  <a:pt x="207" y="176"/>
                  <a:pt x="156" y="177"/>
                  <a:pt x="105" y="233"/>
                </a:cubicBezTo>
                <a:cubicBezTo>
                  <a:pt x="82" y="258"/>
                  <a:pt x="71" y="290"/>
                  <a:pt x="71" y="327"/>
                </a:cubicBezTo>
                <a:cubicBezTo>
                  <a:pt x="71" y="361"/>
                  <a:pt x="81" y="390"/>
                  <a:pt x="86" y="402"/>
                </a:cubicBezTo>
                <a:cubicBezTo>
                  <a:pt x="64" y="414"/>
                  <a:pt x="0" y="456"/>
                  <a:pt x="0" y="565"/>
                </a:cubicBezTo>
                <a:cubicBezTo>
                  <a:pt x="0" y="568"/>
                  <a:pt x="1" y="571"/>
                  <a:pt x="1" y="575"/>
                </a:cubicBezTo>
                <a:cubicBezTo>
                  <a:pt x="2" y="607"/>
                  <a:pt x="9" y="633"/>
                  <a:pt x="19" y="654"/>
                </a:cubicBezTo>
                <a:close/>
              </a:path>
            </a:pathLst>
          </a:custGeom>
          <a:solidFill>
            <a:schemeClr val="accent1">
              <a:lumMod val="60000"/>
              <a:lumOff val="40000"/>
              <a:alpha val="5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4" name="Freeform 8"/>
          <p:cNvSpPr>
            <a:spLocks/>
          </p:cNvSpPr>
          <p:nvPr userDrawn="1"/>
        </p:nvSpPr>
        <p:spPr bwMode="auto">
          <a:xfrm>
            <a:off x="10682514" y="5981652"/>
            <a:ext cx="1506852" cy="886840"/>
          </a:xfrm>
          <a:custGeom>
            <a:avLst/>
            <a:gdLst>
              <a:gd name="T0" fmla="*/ 657 w 657"/>
              <a:gd name="T1" fmla="*/ 24 h 385"/>
              <a:gd name="T2" fmla="*/ 572 w 657"/>
              <a:gd name="T3" fmla="*/ 3 h 385"/>
              <a:gd name="T4" fmla="*/ 528 w 657"/>
              <a:gd name="T5" fmla="*/ 0 h 385"/>
              <a:gd name="T6" fmla="*/ 328 w 657"/>
              <a:gd name="T7" fmla="*/ 122 h 385"/>
              <a:gd name="T8" fmla="*/ 269 w 657"/>
              <a:gd name="T9" fmla="*/ 113 h 385"/>
              <a:gd name="T10" fmla="*/ 153 w 657"/>
              <a:gd name="T11" fmla="*/ 175 h 385"/>
              <a:gd name="T12" fmla="*/ 26 w 657"/>
              <a:gd name="T13" fmla="*/ 268 h 385"/>
              <a:gd name="T14" fmla="*/ 6 w 657"/>
              <a:gd name="T15" fmla="*/ 385 h 385"/>
              <a:gd name="T16" fmla="*/ 657 w 657"/>
              <a:gd name="T17" fmla="*/ 385 h 385"/>
              <a:gd name="T18" fmla="*/ 657 w 657"/>
              <a:gd name="T19" fmla="*/ 2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7" h="385">
                <a:moveTo>
                  <a:pt x="657" y="24"/>
                </a:moveTo>
                <a:cubicBezTo>
                  <a:pt x="634" y="16"/>
                  <a:pt x="606" y="8"/>
                  <a:pt x="572" y="3"/>
                </a:cubicBezTo>
                <a:cubicBezTo>
                  <a:pt x="557" y="1"/>
                  <a:pt x="542" y="0"/>
                  <a:pt x="528" y="0"/>
                </a:cubicBezTo>
                <a:cubicBezTo>
                  <a:pt x="399" y="0"/>
                  <a:pt x="343" y="93"/>
                  <a:pt x="328" y="122"/>
                </a:cubicBezTo>
                <a:cubicBezTo>
                  <a:pt x="307" y="116"/>
                  <a:pt x="287" y="113"/>
                  <a:pt x="269" y="113"/>
                </a:cubicBezTo>
                <a:cubicBezTo>
                  <a:pt x="197" y="113"/>
                  <a:pt x="163" y="158"/>
                  <a:pt x="153" y="175"/>
                </a:cubicBezTo>
                <a:cubicBezTo>
                  <a:pt x="102" y="176"/>
                  <a:pt x="54" y="212"/>
                  <a:pt x="26" y="268"/>
                </a:cubicBezTo>
                <a:cubicBezTo>
                  <a:pt x="6" y="307"/>
                  <a:pt x="0" y="348"/>
                  <a:pt x="6" y="385"/>
                </a:cubicBezTo>
                <a:cubicBezTo>
                  <a:pt x="657" y="385"/>
                  <a:pt x="657" y="385"/>
                  <a:pt x="657" y="385"/>
                </a:cubicBezTo>
                <a:lnTo>
                  <a:pt x="657" y="2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id-ID"/>
          </a:p>
        </p:txBody>
      </p:sp>
      <p:grpSp>
        <p:nvGrpSpPr>
          <p:cNvPr id="17" name="Group 16"/>
          <p:cNvGrpSpPr/>
          <p:nvPr userDrawn="1"/>
        </p:nvGrpSpPr>
        <p:grpSpPr>
          <a:xfrm>
            <a:off x="338952" y="6409324"/>
            <a:ext cx="224082" cy="221156"/>
            <a:chOff x="4328868" y="5502988"/>
            <a:chExt cx="500307" cy="493774"/>
          </a:xfrm>
        </p:grpSpPr>
        <p:sp>
          <p:nvSpPr>
            <p:cNvPr id="18" name="Freeform 17">
              <a:hlinkClick r:id="" action="ppaction://hlinkshowjump?jump=previousslide"/>
            </p:cNvPr>
            <p:cNvSpPr>
              <a:spLocks/>
            </p:cNvSpPr>
            <p:nvPr userDrawn="1"/>
          </p:nvSpPr>
          <p:spPr bwMode="auto">
            <a:xfrm>
              <a:off x="4520555"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19" name="Freeform 18">
              <a:hlinkClick r:id="" action="ppaction://hlinkshowjump?jump=previous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grpSp>
        <p:nvGrpSpPr>
          <p:cNvPr id="20" name="Group 19"/>
          <p:cNvGrpSpPr/>
          <p:nvPr userDrawn="1"/>
        </p:nvGrpSpPr>
        <p:grpSpPr>
          <a:xfrm flipH="1">
            <a:off x="11637433" y="6409324"/>
            <a:ext cx="224082" cy="221156"/>
            <a:chOff x="4328868" y="5502988"/>
            <a:chExt cx="500307" cy="493774"/>
          </a:xfrm>
        </p:grpSpPr>
        <p:sp>
          <p:nvSpPr>
            <p:cNvPr id="21" name="Freeform 20">
              <a:hlinkClick r:id="" action="ppaction://hlinkshowjump?jump=nextslide"/>
            </p:cNvPr>
            <p:cNvSpPr>
              <a:spLocks/>
            </p:cNvSpPr>
            <p:nvPr userDrawn="1"/>
          </p:nvSpPr>
          <p:spPr bwMode="auto">
            <a:xfrm>
              <a:off x="4520556" y="5649754"/>
              <a:ext cx="116933" cy="200242"/>
            </a:xfrm>
            <a:custGeom>
              <a:avLst/>
              <a:gdLst>
                <a:gd name="T0" fmla="*/ 417 w 425"/>
                <a:gd name="T1" fmla="*/ 77 h 728"/>
                <a:gd name="T2" fmla="*/ 131 w 425"/>
                <a:gd name="T3" fmla="*/ 364 h 728"/>
                <a:gd name="T4" fmla="*/ 417 w 425"/>
                <a:gd name="T5" fmla="*/ 650 h 728"/>
                <a:gd name="T6" fmla="*/ 425 w 425"/>
                <a:gd name="T7" fmla="*/ 667 h 728"/>
                <a:gd name="T8" fmla="*/ 417 w 425"/>
                <a:gd name="T9" fmla="*/ 684 h 728"/>
                <a:gd name="T10" fmla="*/ 381 w 425"/>
                <a:gd name="T11" fmla="*/ 720 h 728"/>
                <a:gd name="T12" fmla="*/ 364 w 425"/>
                <a:gd name="T13" fmla="*/ 728 h 728"/>
                <a:gd name="T14" fmla="*/ 347 w 425"/>
                <a:gd name="T15" fmla="*/ 720 h 728"/>
                <a:gd name="T16" fmla="*/ 8 w 425"/>
                <a:gd name="T17" fmla="*/ 381 h 728"/>
                <a:gd name="T18" fmla="*/ 0 w 425"/>
                <a:gd name="T19" fmla="*/ 364 h 728"/>
                <a:gd name="T20" fmla="*/ 8 w 425"/>
                <a:gd name="T21" fmla="*/ 347 h 728"/>
                <a:gd name="T22" fmla="*/ 347 w 425"/>
                <a:gd name="T23" fmla="*/ 7 h 728"/>
                <a:gd name="T24" fmla="*/ 364 w 425"/>
                <a:gd name="T25" fmla="*/ 0 h 728"/>
                <a:gd name="T26" fmla="*/ 381 w 425"/>
                <a:gd name="T27" fmla="*/ 7 h 728"/>
                <a:gd name="T28" fmla="*/ 417 w 425"/>
                <a:gd name="T29" fmla="*/ 44 h 728"/>
                <a:gd name="T30" fmla="*/ 425 w 425"/>
                <a:gd name="T31" fmla="*/ 60 h 728"/>
                <a:gd name="T32" fmla="*/ 417 w 425"/>
                <a:gd name="T33" fmla="*/ 77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5" h="728">
                  <a:moveTo>
                    <a:pt x="417" y="77"/>
                  </a:moveTo>
                  <a:cubicBezTo>
                    <a:pt x="131" y="364"/>
                    <a:pt x="131" y="364"/>
                    <a:pt x="131" y="364"/>
                  </a:cubicBezTo>
                  <a:cubicBezTo>
                    <a:pt x="417" y="650"/>
                    <a:pt x="417" y="650"/>
                    <a:pt x="417" y="650"/>
                  </a:cubicBezTo>
                  <a:cubicBezTo>
                    <a:pt x="422" y="655"/>
                    <a:pt x="425" y="661"/>
                    <a:pt x="425" y="667"/>
                  </a:cubicBezTo>
                  <a:cubicBezTo>
                    <a:pt x="425" y="673"/>
                    <a:pt x="422" y="680"/>
                    <a:pt x="417" y="684"/>
                  </a:cubicBezTo>
                  <a:cubicBezTo>
                    <a:pt x="381" y="720"/>
                    <a:pt x="381" y="720"/>
                    <a:pt x="381" y="720"/>
                  </a:cubicBezTo>
                  <a:cubicBezTo>
                    <a:pt x="377" y="725"/>
                    <a:pt x="370" y="728"/>
                    <a:pt x="364" y="728"/>
                  </a:cubicBezTo>
                  <a:cubicBezTo>
                    <a:pt x="358" y="728"/>
                    <a:pt x="352" y="725"/>
                    <a:pt x="347" y="720"/>
                  </a:cubicBezTo>
                  <a:cubicBezTo>
                    <a:pt x="8" y="381"/>
                    <a:pt x="8" y="381"/>
                    <a:pt x="8" y="381"/>
                  </a:cubicBezTo>
                  <a:cubicBezTo>
                    <a:pt x="3" y="376"/>
                    <a:pt x="0" y="369"/>
                    <a:pt x="0" y="364"/>
                  </a:cubicBezTo>
                  <a:cubicBezTo>
                    <a:pt x="0" y="358"/>
                    <a:pt x="3" y="351"/>
                    <a:pt x="8" y="347"/>
                  </a:cubicBezTo>
                  <a:cubicBezTo>
                    <a:pt x="347" y="7"/>
                    <a:pt x="347" y="7"/>
                    <a:pt x="347" y="7"/>
                  </a:cubicBezTo>
                  <a:cubicBezTo>
                    <a:pt x="352" y="3"/>
                    <a:pt x="358" y="0"/>
                    <a:pt x="364" y="0"/>
                  </a:cubicBezTo>
                  <a:cubicBezTo>
                    <a:pt x="370" y="0"/>
                    <a:pt x="377" y="3"/>
                    <a:pt x="381" y="7"/>
                  </a:cubicBezTo>
                  <a:cubicBezTo>
                    <a:pt x="417" y="44"/>
                    <a:pt x="417" y="44"/>
                    <a:pt x="417" y="44"/>
                  </a:cubicBezTo>
                  <a:cubicBezTo>
                    <a:pt x="422" y="48"/>
                    <a:pt x="425" y="54"/>
                    <a:pt x="425" y="60"/>
                  </a:cubicBezTo>
                  <a:cubicBezTo>
                    <a:pt x="425" y="66"/>
                    <a:pt x="422" y="73"/>
                    <a:pt x="417" y="77"/>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sp>
          <p:nvSpPr>
            <p:cNvPr id="22" name="Freeform 21">
              <a:hlinkClick r:id="" action="ppaction://hlinkshowjump?jump=nextslide"/>
            </p:cNvPr>
            <p:cNvSpPr>
              <a:spLocks noEditPoints="1"/>
            </p:cNvSpPr>
            <p:nvPr userDrawn="1"/>
          </p:nvSpPr>
          <p:spPr bwMode="auto">
            <a:xfrm>
              <a:off x="4328868" y="5502988"/>
              <a:ext cx="500307" cy="493774"/>
            </a:xfrm>
            <a:custGeom>
              <a:avLst/>
              <a:gdLst>
                <a:gd name="T0" fmla="*/ 2355 w 2753"/>
                <a:gd name="T1" fmla="*/ 114 h 2716"/>
                <a:gd name="T2" fmla="*/ 2639 w 2753"/>
                <a:gd name="T3" fmla="*/ 399 h 2716"/>
                <a:gd name="T4" fmla="*/ 2639 w 2753"/>
                <a:gd name="T5" fmla="*/ 2317 h 2716"/>
                <a:gd name="T6" fmla="*/ 2355 w 2753"/>
                <a:gd name="T7" fmla="*/ 2602 h 2716"/>
                <a:gd name="T8" fmla="*/ 398 w 2753"/>
                <a:gd name="T9" fmla="*/ 2602 h 2716"/>
                <a:gd name="T10" fmla="*/ 113 w 2753"/>
                <a:gd name="T11" fmla="*/ 2317 h 2716"/>
                <a:gd name="T12" fmla="*/ 113 w 2753"/>
                <a:gd name="T13" fmla="*/ 399 h 2716"/>
                <a:gd name="T14" fmla="*/ 398 w 2753"/>
                <a:gd name="T15" fmla="*/ 114 h 2716"/>
                <a:gd name="T16" fmla="*/ 2355 w 2753"/>
                <a:gd name="T17" fmla="*/ 114 h 2716"/>
                <a:gd name="T18" fmla="*/ 2355 w 2753"/>
                <a:gd name="T19" fmla="*/ 0 h 2716"/>
                <a:gd name="T20" fmla="*/ 398 w 2753"/>
                <a:gd name="T21" fmla="*/ 0 h 2716"/>
                <a:gd name="T22" fmla="*/ 0 w 2753"/>
                <a:gd name="T23" fmla="*/ 399 h 2716"/>
                <a:gd name="T24" fmla="*/ 0 w 2753"/>
                <a:gd name="T25" fmla="*/ 2317 h 2716"/>
                <a:gd name="T26" fmla="*/ 398 w 2753"/>
                <a:gd name="T27" fmla="*/ 2716 h 2716"/>
                <a:gd name="T28" fmla="*/ 2355 w 2753"/>
                <a:gd name="T29" fmla="*/ 2716 h 2716"/>
                <a:gd name="T30" fmla="*/ 2753 w 2753"/>
                <a:gd name="T31" fmla="*/ 2317 h 2716"/>
                <a:gd name="T32" fmla="*/ 2753 w 2753"/>
                <a:gd name="T33" fmla="*/ 399 h 2716"/>
                <a:gd name="T34" fmla="*/ 2355 w 2753"/>
                <a:gd name="T35" fmla="*/ 0 h 2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53" h="2716">
                  <a:moveTo>
                    <a:pt x="2355" y="114"/>
                  </a:moveTo>
                  <a:cubicBezTo>
                    <a:pt x="2512" y="114"/>
                    <a:pt x="2639" y="242"/>
                    <a:pt x="2639" y="399"/>
                  </a:cubicBezTo>
                  <a:cubicBezTo>
                    <a:pt x="2639" y="2317"/>
                    <a:pt x="2639" y="2317"/>
                    <a:pt x="2639" y="2317"/>
                  </a:cubicBezTo>
                  <a:cubicBezTo>
                    <a:pt x="2639" y="2474"/>
                    <a:pt x="2512" y="2602"/>
                    <a:pt x="2355" y="2602"/>
                  </a:cubicBezTo>
                  <a:cubicBezTo>
                    <a:pt x="398" y="2602"/>
                    <a:pt x="398" y="2602"/>
                    <a:pt x="398" y="2602"/>
                  </a:cubicBezTo>
                  <a:cubicBezTo>
                    <a:pt x="241" y="2602"/>
                    <a:pt x="113" y="2474"/>
                    <a:pt x="113" y="2317"/>
                  </a:cubicBezTo>
                  <a:cubicBezTo>
                    <a:pt x="113" y="399"/>
                    <a:pt x="113" y="399"/>
                    <a:pt x="113" y="399"/>
                  </a:cubicBezTo>
                  <a:cubicBezTo>
                    <a:pt x="113" y="242"/>
                    <a:pt x="241" y="114"/>
                    <a:pt x="398" y="114"/>
                  </a:cubicBezTo>
                  <a:cubicBezTo>
                    <a:pt x="2355" y="114"/>
                    <a:pt x="2355" y="114"/>
                    <a:pt x="2355" y="114"/>
                  </a:cubicBezTo>
                  <a:moveTo>
                    <a:pt x="2355" y="0"/>
                  </a:moveTo>
                  <a:cubicBezTo>
                    <a:pt x="398" y="0"/>
                    <a:pt x="398" y="0"/>
                    <a:pt x="398" y="0"/>
                  </a:cubicBezTo>
                  <a:cubicBezTo>
                    <a:pt x="178" y="0"/>
                    <a:pt x="0" y="179"/>
                    <a:pt x="0" y="399"/>
                  </a:cubicBezTo>
                  <a:cubicBezTo>
                    <a:pt x="0" y="2317"/>
                    <a:pt x="0" y="2317"/>
                    <a:pt x="0" y="2317"/>
                  </a:cubicBezTo>
                  <a:cubicBezTo>
                    <a:pt x="0" y="2538"/>
                    <a:pt x="178" y="2716"/>
                    <a:pt x="398" y="2716"/>
                  </a:cubicBezTo>
                  <a:cubicBezTo>
                    <a:pt x="2355" y="2716"/>
                    <a:pt x="2355" y="2716"/>
                    <a:pt x="2355" y="2716"/>
                  </a:cubicBezTo>
                  <a:cubicBezTo>
                    <a:pt x="2575" y="2716"/>
                    <a:pt x="2753" y="2538"/>
                    <a:pt x="2753" y="2317"/>
                  </a:cubicBezTo>
                  <a:cubicBezTo>
                    <a:pt x="2753" y="399"/>
                    <a:pt x="2753" y="399"/>
                    <a:pt x="2753" y="399"/>
                  </a:cubicBezTo>
                  <a:cubicBezTo>
                    <a:pt x="2753" y="179"/>
                    <a:pt x="2575" y="0"/>
                    <a:pt x="2355" y="0"/>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endParaRPr lang="id-ID"/>
            </a:p>
          </p:txBody>
        </p:sp>
      </p:grpSp>
      <p:sp>
        <p:nvSpPr>
          <p:cNvPr id="23" name="Title 1"/>
          <p:cNvSpPr>
            <a:spLocks noGrp="1"/>
          </p:cNvSpPr>
          <p:nvPr>
            <p:ph type="title"/>
          </p:nvPr>
        </p:nvSpPr>
        <p:spPr>
          <a:xfrm>
            <a:off x="845761" y="623789"/>
            <a:ext cx="10515600" cy="911682"/>
          </a:xfrm>
        </p:spPr>
        <p:txBody>
          <a:bodyPr/>
          <a:lstStyle>
            <a:lvl1pPr algn="ctr">
              <a:defRPr b="1"/>
            </a:lvl1pPr>
          </a:lstStyle>
          <a:p>
            <a:r>
              <a:rPr lang="en-US" dirty="0"/>
              <a:t>Click to edit Master title style</a:t>
            </a:r>
            <a:endParaRPr lang="id-ID" dirty="0"/>
          </a:p>
        </p:txBody>
      </p:sp>
      <p:sp>
        <p:nvSpPr>
          <p:cNvPr id="24" name="Text Placeholder 11"/>
          <p:cNvSpPr>
            <a:spLocks noGrp="1"/>
          </p:cNvSpPr>
          <p:nvPr>
            <p:ph type="body" sz="quarter" idx="13"/>
          </p:nvPr>
        </p:nvSpPr>
        <p:spPr>
          <a:xfrm>
            <a:off x="845761" y="1341975"/>
            <a:ext cx="10515600" cy="366712"/>
          </a:xfrm>
        </p:spPr>
        <p:txBody>
          <a:bodyPr>
            <a:normAutofit/>
          </a:bodyPr>
          <a:lstStyle>
            <a:lvl1pPr marL="0" indent="0" algn="ctr">
              <a:buNone/>
              <a:defRPr sz="2000">
                <a:solidFill>
                  <a:schemeClr val="bg2"/>
                </a:solidFill>
              </a:defRPr>
            </a:lvl1pPr>
          </a:lstStyle>
          <a:p>
            <a:pPr lvl="0"/>
            <a:r>
              <a:rPr lang="en-US" dirty="0"/>
              <a:t>Click to edit Master text styles</a:t>
            </a:r>
          </a:p>
        </p:txBody>
      </p:sp>
      <p:sp>
        <p:nvSpPr>
          <p:cNvPr id="3" name="Picture Placeholder 2"/>
          <p:cNvSpPr>
            <a:spLocks noGrp="1"/>
          </p:cNvSpPr>
          <p:nvPr>
            <p:ph type="pic" sz="quarter" idx="14"/>
          </p:nvPr>
        </p:nvSpPr>
        <p:spPr>
          <a:xfrm>
            <a:off x="339725" y="2179134"/>
            <a:ext cx="5770789" cy="3137803"/>
          </a:xfrm>
        </p:spPr>
        <p:txBody>
          <a:bodyPr/>
          <a:lstStyle/>
          <a:p>
            <a:endParaRPr lang="id-ID"/>
          </a:p>
        </p:txBody>
      </p:sp>
      <p:sp>
        <p:nvSpPr>
          <p:cNvPr id="5" name="Content Placeholder 4"/>
          <p:cNvSpPr>
            <a:spLocks noGrp="1"/>
          </p:cNvSpPr>
          <p:nvPr>
            <p:ph sz="quarter" idx="15"/>
          </p:nvPr>
        </p:nvSpPr>
        <p:spPr>
          <a:xfrm>
            <a:off x="6284913" y="2179638"/>
            <a:ext cx="5122862" cy="3136900"/>
          </a:xfrm>
        </p:spPr>
        <p:txBody>
          <a:bodyPr/>
          <a:lstStyle/>
          <a:p>
            <a:pPr lvl="0"/>
            <a:r>
              <a:rPr lang="en-US" dirty="0"/>
              <a:t>Click to edit Master text styles</a:t>
            </a:r>
          </a:p>
        </p:txBody>
      </p:sp>
    </p:spTree>
    <p:extLst>
      <p:ext uri="{BB962C8B-B14F-4D97-AF65-F5344CB8AC3E}">
        <p14:creationId xmlns:p14="http://schemas.microsoft.com/office/powerpoint/2010/main" val="931184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xEl>
                                              <p:pRg st="0" end="0"/>
                                            </p:txEl>
                                          </p:spTgt>
                                        </p:tgtEl>
                                        <p:attrNameLst>
                                          <p:attrName>style.visibility</p:attrName>
                                        </p:attrNameLst>
                                      </p:cBhvr>
                                      <p:to>
                                        <p:strVal val="visible"/>
                                      </p:to>
                                    </p:set>
                                    <p:animEffect transition="in" filter="fade">
                                      <p:cBhvr>
                                        <p:cTn id="11" dur="500"/>
                                        <p:tgtEl>
                                          <p:spTgt spid="2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10" presetClass="entr" presetSubtype="0"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fade">
                      <p:cBhvr>
                        <p:cTn dur="500"/>
                        <p:tgtEl>
                          <p:spTgt spid="24"/>
                        </p:tgtEl>
                      </p:cBhvr>
                    </p:animEffect>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63638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A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641" y="1825625"/>
            <a:ext cx="11079159" cy="4351338"/>
          </a:xfrm>
        </p:spPr>
        <p:txBody>
          <a:bodyPr/>
          <a:lstStyle>
            <a:lvl1pPr marL="228600" indent="-228600">
              <a:buClr>
                <a:srgbClr val="00B0F0"/>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rgbClr val="00B0F0"/>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rgbClr val="00B0F0"/>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rgbClr val="00B0F0"/>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rgbClr val="00B0F0"/>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bwMode="black">
          <a:xfrm>
            <a:off x="274641" y="0"/>
            <a:ext cx="11917359" cy="1425746"/>
          </a:xfrm>
          <a:prstGeom prst="rect">
            <a:avLst/>
          </a:prstGeom>
          <a:solidFill>
            <a:schemeClr val="bg1">
              <a:lumMod val="95000"/>
            </a:schemeClr>
          </a:solidFill>
          <a:ln>
            <a:noFill/>
          </a:ln>
          <a:extLst/>
        </p:spPr>
        <p:txBody>
          <a:bodyPr vert="horz" wrap="square" lIns="82305" tIns="41153" rIns="82305" bIns="41153" numCol="1" rtlCol="0" anchor="t" anchorCtr="0" compatLnSpc="1">
            <a:prstTxWarp prst="textNoShape">
              <a:avLst/>
            </a:prstTxWarp>
          </a:bodyPr>
          <a:lstStyle/>
          <a:p>
            <a:pPr algn="ctr" defTabSz="1218987"/>
            <a:endParaRPr lang="en-US" sz="1600">
              <a:solidFill>
                <a:srgbClr val="292929"/>
              </a:solidFill>
            </a:endParaRPr>
          </a:p>
        </p:txBody>
      </p:sp>
      <p:sp>
        <p:nvSpPr>
          <p:cNvPr id="10" name="Title 1"/>
          <p:cNvSpPr>
            <a:spLocks noGrp="1"/>
          </p:cNvSpPr>
          <p:nvPr>
            <p:ph type="title" hasCustomPrompt="1"/>
          </p:nvPr>
        </p:nvSpPr>
        <p:spPr>
          <a:xfrm>
            <a:off x="274641" y="365125"/>
            <a:ext cx="11079159" cy="1325563"/>
          </a:xfrm>
        </p:spPr>
        <p:txBody>
          <a:bodyPr/>
          <a:lstStyle>
            <a:lvl1pPr>
              <a:defRPr baseline="0">
                <a:solidFill>
                  <a:schemeClr val="tx1">
                    <a:lumMod val="50000"/>
                    <a:lumOff val="50000"/>
                  </a:schemeClr>
                </a:solidFill>
                <a:latin typeface="Segoe UI Light" panose="020B0502040204020203" pitchFamily="34" charset="0"/>
                <a:cs typeface="Segoe UI Light" panose="020B0502040204020203" pitchFamily="34" charset="0"/>
              </a:defRPr>
            </a:lvl1pPr>
          </a:lstStyle>
          <a:p>
            <a:r>
              <a:rPr lang="en-US" dirty="0" smtClean="0"/>
              <a:t>Content title</a:t>
            </a:r>
            <a:endParaRPr lang="en-US" dirty="0"/>
          </a:p>
        </p:txBody>
      </p:sp>
      <p:pic>
        <p:nvPicPr>
          <p:cNvPr id="8" name="Picture 2" descr="http://global.azurebootcamp.net/wp-content/uploads/2014/11/2015-logo-400x27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17215" y="5747268"/>
            <a:ext cx="1273170" cy="85939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1734273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B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641" y="1825625"/>
            <a:ext cx="11079159" cy="4351338"/>
          </a:xfrm>
        </p:spPr>
        <p:txBody>
          <a:bodyPr/>
          <a:lstStyle>
            <a:lvl1pPr marL="2286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1pPr>
            <a:lvl2pPr marL="6858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2pPr>
            <a:lvl3pPr marL="11430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3pPr>
            <a:lvl4pPr marL="16002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4pPr>
            <a:lvl5pPr marL="2057400" indent="-228600">
              <a:buClr>
                <a:schemeClr val="bg1">
                  <a:lumMod val="85000"/>
                </a:schemeClr>
              </a:buClr>
              <a:buSzPct val="90000"/>
              <a:buFont typeface="Segoe UI Light" panose="020B0502040204020203" pitchFamily="34" charset="0"/>
              <a:buChar char="■"/>
              <a:defRPr>
                <a:latin typeface="Segoe UI Light" panose="020B0502040204020203" pitchFamily="34" charset="0"/>
                <a:cs typeface="Segoe UI Light" panose="020B050204020402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bwMode="black">
          <a:xfrm>
            <a:off x="274641" y="0"/>
            <a:ext cx="11917359" cy="1425746"/>
          </a:xfrm>
          <a:prstGeom prst="rect">
            <a:avLst/>
          </a:prstGeom>
          <a:solidFill>
            <a:srgbClr val="00B0F0"/>
          </a:solidFill>
          <a:ln>
            <a:noFill/>
          </a:ln>
          <a:extLst/>
        </p:spPr>
        <p:txBody>
          <a:bodyPr vert="horz" wrap="square" lIns="82305" tIns="41153" rIns="82305" bIns="41153" numCol="1" rtlCol="0" anchor="t" anchorCtr="0" compatLnSpc="1">
            <a:prstTxWarp prst="textNoShape">
              <a:avLst/>
            </a:prstTxWarp>
          </a:bodyPr>
          <a:lstStyle/>
          <a:p>
            <a:pPr algn="ctr" defTabSz="1218987"/>
            <a:endParaRPr lang="en-US" sz="1600">
              <a:solidFill>
                <a:schemeClr val="bg1"/>
              </a:solidFill>
            </a:endParaRPr>
          </a:p>
        </p:txBody>
      </p:sp>
      <p:sp>
        <p:nvSpPr>
          <p:cNvPr id="10" name="Title 1"/>
          <p:cNvSpPr>
            <a:spLocks noGrp="1"/>
          </p:cNvSpPr>
          <p:nvPr>
            <p:ph type="title" hasCustomPrompt="1"/>
          </p:nvPr>
        </p:nvSpPr>
        <p:spPr>
          <a:xfrm>
            <a:off x="274641" y="365125"/>
            <a:ext cx="11079159" cy="1325563"/>
          </a:xfrm>
        </p:spPr>
        <p:txBody>
          <a:bodyPr/>
          <a:lstStyle>
            <a:lvl1pPr>
              <a:defRPr baseline="0">
                <a:solidFill>
                  <a:schemeClr val="bg1"/>
                </a:solidFill>
                <a:latin typeface="Segoe UI Light" panose="020B0502040204020203" pitchFamily="34" charset="0"/>
                <a:cs typeface="Segoe UI Light" panose="020B0502040204020203" pitchFamily="34" charset="0"/>
              </a:defRPr>
            </a:lvl1pPr>
          </a:lstStyle>
          <a:p>
            <a:r>
              <a:rPr lang="en-US" dirty="0" smtClean="0"/>
              <a:t>Content title</a:t>
            </a:r>
            <a:endParaRPr lang="en-US" dirty="0"/>
          </a:p>
        </p:txBody>
      </p:sp>
      <p:pic>
        <p:nvPicPr>
          <p:cNvPr id="8" name="Picture 2" descr="http://global.azurebootcamp.net/wp-content/uploads/2014/11/2015-logo-400x27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17215" y="5747268"/>
            <a:ext cx="1273170" cy="85939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308200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2487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39190003"/>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A Non-bullet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274641" y="1825625"/>
            <a:ext cx="11079159" cy="4351338"/>
          </a:xfrm>
        </p:spPr>
        <p:txBody>
          <a:bodyPr/>
          <a:lstStyle>
            <a:lvl1pPr marL="0" indent="0">
              <a:buClr>
                <a:srgbClr val="00B0F0"/>
              </a:buClr>
              <a:buSzPct val="90000"/>
              <a:buFont typeface="Segoe UI Light" panose="020B0502040204020203" pitchFamily="34" charset="0"/>
              <a:buNone/>
              <a:defRPr>
                <a:latin typeface="Segoe UI Light" panose="020B0502040204020203" pitchFamily="34" charset="0"/>
                <a:cs typeface="Segoe UI Light" panose="020B0502040204020203" pitchFamily="34" charset="0"/>
              </a:defRPr>
            </a:lvl1pPr>
            <a:lvl2pPr marL="457200" indent="0">
              <a:buClr>
                <a:srgbClr val="00B0F0"/>
              </a:buClr>
              <a:buSzPct val="90000"/>
              <a:buFont typeface="Segoe UI Light" panose="020B0502040204020203" pitchFamily="34" charset="0"/>
              <a:buNone/>
              <a:defRPr>
                <a:latin typeface="Segoe UI Light" panose="020B0502040204020203" pitchFamily="34" charset="0"/>
                <a:cs typeface="Segoe UI Light" panose="020B0502040204020203" pitchFamily="34" charset="0"/>
              </a:defRPr>
            </a:lvl2pPr>
            <a:lvl3pPr marL="914400" indent="0">
              <a:buClr>
                <a:srgbClr val="00B0F0"/>
              </a:buClr>
              <a:buSzPct val="90000"/>
              <a:buFont typeface="Segoe UI Light" panose="020B0502040204020203" pitchFamily="34" charset="0"/>
              <a:buNone/>
              <a:defRPr>
                <a:latin typeface="Segoe UI Light" panose="020B0502040204020203" pitchFamily="34" charset="0"/>
                <a:cs typeface="Segoe UI Light" panose="020B0502040204020203" pitchFamily="34" charset="0"/>
              </a:defRPr>
            </a:lvl3pPr>
            <a:lvl4pPr marL="1371600" indent="0">
              <a:buClr>
                <a:srgbClr val="00B0F0"/>
              </a:buClr>
              <a:buSzPct val="90000"/>
              <a:buFont typeface="Segoe UI Light" panose="020B0502040204020203" pitchFamily="34" charset="0"/>
              <a:buNone/>
              <a:defRPr>
                <a:latin typeface="Segoe UI Light" panose="020B0502040204020203" pitchFamily="34" charset="0"/>
                <a:cs typeface="Segoe UI Light" panose="020B0502040204020203" pitchFamily="34" charset="0"/>
              </a:defRPr>
            </a:lvl4pPr>
            <a:lvl5pPr marL="1828800" indent="0">
              <a:buClr>
                <a:srgbClr val="00B0F0"/>
              </a:buClr>
              <a:buSzPct val="90000"/>
              <a:buFont typeface="Segoe UI Light" panose="020B0502040204020203" pitchFamily="34" charset="0"/>
              <a:buNone/>
              <a:defRPr>
                <a:latin typeface="Segoe UI Light" panose="020B0502040204020203" pitchFamily="34" charset="0"/>
                <a:cs typeface="Segoe UI Light" panose="020B050204020402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userDrawn="1"/>
        </p:nvSpPr>
        <p:spPr bwMode="black">
          <a:xfrm>
            <a:off x="274641" y="0"/>
            <a:ext cx="11917359" cy="1425746"/>
          </a:xfrm>
          <a:prstGeom prst="rect">
            <a:avLst/>
          </a:prstGeom>
          <a:solidFill>
            <a:schemeClr val="bg1">
              <a:lumMod val="95000"/>
            </a:schemeClr>
          </a:solidFill>
          <a:ln>
            <a:noFill/>
          </a:ln>
          <a:extLst/>
        </p:spPr>
        <p:txBody>
          <a:bodyPr vert="horz" wrap="square" lIns="82305" tIns="41153" rIns="82305" bIns="41153" numCol="1" rtlCol="0" anchor="t" anchorCtr="0" compatLnSpc="1">
            <a:prstTxWarp prst="textNoShape">
              <a:avLst/>
            </a:prstTxWarp>
          </a:bodyPr>
          <a:lstStyle/>
          <a:p>
            <a:pPr algn="ctr" defTabSz="1218987"/>
            <a:endParaRPr lang="en-US" sz="1600">
              <a:solidFill>
                <a:srgbClr val="292929"/>
              </a:solidFill>
            </a:endParaRPr>
          </a:p>
        </p:txBody>
      </p:sp>
      <p:sp>
        <p:nvSpPr>
          <p:cNvPr id="10" name="Title 1"/>
          <p:cNvSpPr>
            <a:spLocks noGrp="1"/>
          </p:cNvSpPr>
          <p:nvPr>
            <p:ph type="title" hasCustomPrompt="1"/>
          </p:nvPr>
        </p:nvSpPr>
        <p:spPr>
          <a:xfrm>
            <a:off x="274641" y="365125"/>
            <a:ext cx="11079159" cy="1325563"/>
          </a:xfrm>
        </p:spPr>
        <p:txBody>
          <a:bodyPr/>
          <a:lstStyle>
            <a:lvl1pPr>
              <a:defRPr baseline="0">
                <a:solidFill>
                  <a:schemeClr val="tx1">
                    <a:lumMod val="50000"/>
                    <a:lumOff val="50000"/>
                  </a:schemeClr>
                </a:solidFill>
                <a:latin typeface="Segoe UI Light" panose="020B0502040204020203" pitchFamily="34" charset="0"/>
                <a:cs typeface="Segoe UI Light" panose="020B0502040204020203" pitchFamily="34" charset="0"/>
              </a:defRPr>
            </a:lvl1pPr>
          </a:lstStyle>
          <a:p>
            <a:r>
              <a:rPr lang="en-US" dirty="0" smtClean="0"/>
              <a:t>Content title</a:t>
            </a:r>
            <a:endParaRPr lang="en-US" dirty="0"/>
          </a:p>
        </p:txBody>
      </p:sp>
      <p:pic>
        <p:nvPicPr>
          <p:cNvPr id="8" name="Picture 2" descr="http://global.azurebootcamp.net/wp-content/uploads/2014/11/2015-logo-400x27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17215" y="5747268"/>
            <a:ext cx="1273170" cy="85939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6942704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bg>
      <p:bgPr>
        <a:pattFill prst="smConfetti">
          <a:fgClr>
            <a:schemeClr val="accent3"/>
          </a:fgClr>
          <a:bgClr>
            <a:schemeClr val="accent3">
              <a:lumMod val="60000"/>
              <a:lumOff val="40000"/>
            </a:schemeClr>
          </a:bgClr>
        </a:pattFill>
        <a:effectLst/>
      </p:bgPr>
    </p:bg>
    <p:spTree>
      <p:nvGrpSpPr>
        <p:cNvPr id="1" name=""/>
        <p:cNvGrpSpPr/>
        <p:nvPr/>
      </p:nvGrpSpPr>
      <p:grpSpPr>
        <a:xfrm>
          <a:off x="0" y="0"/>
          <a:ext cx="0" cy="0"/>
          <a:chOff x="0" y="0"/>
          <a:chExt cx="0" cy="0"/>
        </a:xfrm>
      </p:grpSpPr>
      <p:grpSp>
        <p:nvGrpSpPr>
          <p:cNvPr id="3" name="Group 2"/>
          <p:cNvGrpSpPr/>
          <p:nvPr userDrawn="1"/>
        </p:nvGrpSpPr>
        <p:grpSpPr>
          <a:xfrm>
            <a:off x="6349" y="0"/>
            <a:ext cx="12181249" cy="6858000"/>
            <a:chOff x="6350" y="0"/>
            <a:chExt cx="7194550" cy="3600450"/>
          </a:xfrm>
          <a:gradFill flip="none" rotWithShape="1">
            <a:gsLst>
              <a:gs pos="100000">
                <a:schemeClr val="bg1">
                  <a:alpha val="15000"/>
                </a:schemeClr>
              </a:gs>
              <a:gs pos="0">
                <a:schemeClr val="bg1">
                  <a:alpha val="0"/>
                </a:schemeClr>
              </a:gs>
            </a:gsLst>
            <a:path path="circle">
              <a:fillToRect l="50000" t="50000" r="50000" b="50000"/>
            </a:path>
            <a:tileRect/>
          </a:gradFill>
        </p:grpSpPr>
        <p:sp>
          <p:nvSpPr>
            <p:cNvPr id="4"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296697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207708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801589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0" y="0"/>
            <a:ext cx="12192000" cy="6858000"/>
          </a:xfrm>
        </p:spPr>
        <p:txBody>
          <a:bodyPr/>
          <a:lstStyle/>
          <a:p>
            <a:endParaRPr lang="id-ID"/>
          </a:p>
        </p:txBody>
      </p:sp>
    </p:spTree>
    <p:extLst>
      <p:ext uri="{BB962C8B-B14F-4D97-AF65-F5344CB8AC3E}">
        <p14:creationId xmlns:p14="http://schemas.microsoft.com/office/powerpoint/2010/main" val="3845951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5528684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C939C40-7ED1-4034-947E-783F823E1E1B}" type="datetimeFigureOut">
              <a:rPr lang="en-US" smtClean="0"/>
              <a:t>5/2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161138F-B955-46B1-93CD-63A17045C897}" type="slidenum">
              <a:rPr lang="en-US" smtClean="0"/>
              <a:t>‹N°›</a:t>
            </a:fld>
            <a:endParaRPr lang="en-US"/>
          </a:p>
        </p:txBody>
      </p:sp>
    </p:spTree>
    <p:extLst>
      <p:ext uri="{BB962C8B-B14F-4D97-AF65-F5344CB8AC3E}">
        <p14:creationId xmlns:p14="http://schemas.microsoft.com/office/powerpoint/2010/main" val="36343807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F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4" name="Date Placeholder 3"/>
          <p:cNvSpPr>
            <a:spLocks noGrp="1"/>
          </p:cNvSpPr>
          <p:nvPr>
            <p:ph type="dt" sz="half" idx="10"/>
          </p:nvPr>
        </p:nvSpPr>
        <p:spPr/>
        <p:txBody>
          <a:bodyPr/>
          <a:lstStyle/>
          <a:p>
            <a:fld id="{6C68858E-73EF-4280-A985-407453C6F43D}" type="datetimeFigureOut">
              <a:rPr lang="fr-FR" smtClean="0"/>
              <a:t>23/05/2017</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F0CF6537-7DFE-471E-BA9D-465C0FA1EC2B}" type="slidenum">
              <a:rPr lang="fr-FR" smtClean="0"/>
              <a:t>‹N°›</a:t>
            </a:fld>
            <a:endParaRPr lang="fr-FR"/>
          </a:p>
        </p:txBody>
      </p:sp>
    </p:spTree>
    <p:extLst>
      <p:ext uri="{BB962C8B-B14F-4D97-AF65-F5344CB8AC3E}">
        <p14:creationId xmlns:p14="http://schemas.microsoft.com/office/powerpoint/2010/main" val="7996520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0-50 Right Photo Layou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3413509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105346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349300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2156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p:bg>
      <p:bgPr>
        <a:pattFill prst="smConfetti">
          <a:fgClr>
            <a:schemeClr val="accent4"/>
          </a:fgClr>
          <a:bgClr>
            <a:schemeClr val="accent4">
              <a:lumMod val="60000"/>
              <a:lumOff val="40000"/>
            </a:schemeClr>
          </a:bgClr>
        </a:pattFill>
        <a:effectLst/>
      </p:bgPr>
    </p:bg>
    <p:spTree>
      <p:nvGrpSpPr>
        <p:cNvPr id="1" name=""/>
        <p:cNvGrpSpPr/>
        <p:nvPr/>
      </p:nvGrpSpPr>
      <p:grpSpPr>
        <a:xfrm>
          <a:off x="0" y="0"/>
          <a:ext cx="0" cy="0"/>
          <a:chOff x="0" y="0"/>
          <a:chExt cx="0" cy="0"/>
        </a:xfrm>
      </p:grpSpPr>
      <p:grpSp>
        <p:nvGrpSpPr>
          <p:cNvPr id="3" name="Group 2"/>
          <p:cNvGrpSpPr/>
          <p:nvPr userDrawn="1"/>
        </p:nvGrpSpPr>
        <p:grpSpPr>
          <a:xfrm>
            <a:off x="6349" y="0"/>
            <a:ext cx="12181249" cy="6858000"/>
            <a:chOff x="6350" y="0"/>
            <a:chExt cx="7194550" cy="3600450"/>
          </a:xfrm>
          <a:gradFill flip="none" rotWithShape="1">
            <a:gsLst>
              <a:gs pos="100000">
                <a:schemeClr val="bg1">
                  <a:alpha val="15000"/>
                </a:schemeClr>
              </a:gs>
              <a:gs pos="0">
                <a:schemeClr val="bg1">
                  <a:alpha val="0"/>
                </a:schemeClr>
              </a:gs>
            </a:gsLst>
            <a:path path="circle">
              <a:fillToRect l="50000" t="50000" r="50000" b="50000"/>
            </a:path>
            <a:tileRect/>
          </a:gradFill>
        </p:grpSpPr>
        <p:sp>
          <p:nvSpPr>
            <p:cNvPr id="4"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96657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8048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Blank ">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04355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8_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53317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02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2654729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7644"/>
            <a:ext cx="5378548" cy="1978170"/>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7644"/>
            <a:ext cx="5378548" cy="1993174"/>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dirty="0"/>
              <a:t>Click to edit Master text styles</a:t>
            </a:r>
          </a:p>
          <a:p>
            <a:pPr marL="698746" marR="0" lvl="1" indent="-448193" algn="l" defTabSz="914367" rtl="0" eaLnBrk="1" fontAlgn="auto" latinLnBrk="0" hangingPunct="1">
              <a:lnSpc>
                <a:spcPct val="90000"/>
              </a:lnSpc>
              <a:spcBef>
                <a:spcPct val="20000"/>
              </a:spcBef>
              <a:spcAft>
                <a:spcPts val="0"/>
              </a:spcAft>
              <a:buClrTx/>
              <a:buSzPct val="90000"/>
              <a:tabLst/>
            </a:pPr>
            <a:r>
              <a:rPr lang="en-US" dirty="0"/>
              <a:t>Second level</a:t>
            </a:r>
          </a:p>
          <a:p>
            <a:pPr marL="890161" marR="0" lvl="2" indent="-448193" algn="l" defTabSz="914367" rtl="0" eaLnBrk="1" fontAlgn="auto" latinLnBrk="0" hangingPunct="1">
              <a:lnSpc>
                <a:spcPct val="90000"/>
              </a:lnSpc>
              <a:spcBef>
                <a:spcPct val="20000"/>
              </a:spcBef>
              <a:spcAft>
                <a:spcPts val="0"/>
              </a:spcAft>
              <a:buClrTx/>
              <a:buSzPct val="90000"/>
              <a:tabLst/>
            </a:pPr>
            <a:r>
              <a:rPr lang="en-US" dirty="0"/>
              <a:t>Third level</a:t>
            </a:r>
          </a:p>
          <a:p>
            <a:pPr marL="1087802" marR="0" lvl="3" indent="-448193" algn="l" defTabSz="914367" rtl="0" eaLnBrk="1" fontAlgn="auto" latinLnBrk="0" hangingPunct="1">
              <a:lnSpc>
                <a:spcPct val="90000"/>
              </a:lnSpc>
              <a:spcBef>
                <a:spcPct val="20000"/>
              </a:spcBef>
              <a:spcAft>
                <a:spcPts val="0"/>
              </a:spcAft>
              <a:buClrTx/>
              <a:buSzPct val="90000"/>
              <a:tabLst/>
            </a:pPr>
            <a:r>
              <a:rPr lang="en-US" dirty="0"/>
              <a:t>Fourth level</a:t>
            </a:r>
          </a:p>
          <a:p>
            <a:pPr marL="1285443" marR="0" lvl="4" indent="-448193" algn="l" defTabSz="914367"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724605367"/>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706225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le Slide">
    <p:bg>
      <p:bgPr>
        <a:pattFill prst="smConfetti">
          <a:fgClr>
            <a:schemeClr val="accent5"/>
          </a:fgClr>
          <a:bgClr>
            <a:schemeClr val="accent5">
              <a:lumMod val="60000"/>
              <a:lumOff val="40000"/>
            </a:schemeClr>
          </a:bgClr>
        </a:pattFill>
        <a:effectLst/>
      </p:bgPr>
    </p:bg>
    <p:spTree>
      <p:nvGrpSpPr>
        <p:cNvPr id="1" name=""/>
        <p:cNvGrpSpPr/>
        <p:nvPr/>
      </p:nvGrpSpPr>
      <p:grpSpPr>
        <a:xfrm>
          <a:off x="0" y="0"/>
          <a:ext cx="0" cy="0"/>
          <a:chOff x="0" y="0"/>
          <a:chExt cx="0" cy="0"/>
        </a:xfrm>
      </p:grpSpPr>
      <p:grpSp>
        <p:nvGrpSpPr>
          <p:cNvPr id="3" name="Group 2"/>
          <p:cNvGrpSpPr/>
          <p:nvPr userDrawn="1"/>
        </p:nvGrpSpPr>
        <p:grpSpPr>
          <a:xfrm>
            <a:off x="6349" y="0"/>
            <a:ext cx="12181249" cy="6858000"/>
            <a:chOff x="6350" y="0"/>
            <a:chExt cx="7194550" cy="3600450"/>
          </a:xfrm>
          <a:gradFill flip="none" rotWithShape="1">
            <a:gsLst>
              <a:gs pos="100000">
                <a:schemeClr val="bg1">
                  <a:alpha val="15000"/>
                </a:schemeClr>
              </a:gs>
              <a:gs pos="0">
                <a:schemeClr val="bg1">
                  <a:alpha val="0"/>
                </a:schemeClr>
              </a:gs>
            </a:gsLst>
            <a:path path="circle">
              <a:fillToRect l="50000" t="50000" r="50000" b="50000"/>
            </a:path>
            <a:tileRect/>
          </a:gradFill>
        </p:grpSpPr>
        <p:sp>
          <p:nvSpPr>
            <p:cNvPr id="4"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00486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Title Slide">
    <p:bg>
      <p:bgPr>
        <a:pattFill prst="smConfetti">
          <a:fgClr>
            <a:schemeClr val="accent6"/>
          </a:fgClr>
          <a:bgClr>
            <a:schemeClr val="accent6">
              <a:lumMod val="60000"/>
              <a:lumOff val="40000"/>
            </a:schemeClr>
          </a:bgClr>
        </a:pattFill>
        <a:effectLst/>
      </p:bgPr>
    </p:bg>
    <p:spTree>
      <p:nvGrpSpPr>
        <p:cNvPr id="1" name=""/>
        <p:cNvGrpSpPr/>
        <p:nvPr/>
      </p:nvGrpSpPr>
      <p:grpSpPr>
        <a:xfrm>
          <a:off x="0" y="0"/>
          <a:ext cx="0" cy="0"/>
          <a:chOff x="0" y="0"/>
          <a:chExt cx="0" cy="0"/>
        </a:xfrm>
      </p:grpSpPr>
      <p:grpSp>
        <p:nvGrpSpPr>
          <p:cNvPr id="3" name="Group 2"/>
          <p:cNvGrpSpPr/>
          <p:nvPr userDrawn="1"/>
        </p:nvGrpSpPr>
        <p:grpSpPr>
          <a:xfrm>
            <a:off x="6349" y="0"/>
            <a:ext cx="12181249" cy="6858000"/>
            <a:chOff x="6350" y="0"/>
            <a:chExt cx="7194550" cy="3600450"/>
          </a:xfrm>
          <a:gradFill flip="none" rotWithShape="1">
            <a:gsLst>
              <a:gs pos="100000">
                <a:schemeClr val="bg1">
                  <a:alpha val="15000"/>
                </a:schemeClr>
              </a:gs>
              <a:gs pos="0">
                <a:schemeClr val="bg1">
                  <a:alpha val="0"/>
                </a:schemeClr>
              </a:gs>
            </a:gsLst>
            <a:path path="circle">
              <a:fillToRect l="50000" t="50000" r="50000" b="50000"/>
            </a:path>
            <a:tileRect/>
          </a:gradFill>
        </p:grpSpPr>
        <p:sp>
          <p:nvSpPr>
            <p:cNvPr id="4"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86846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9" Type="http://schemas.openxmlformats.org/officeDocument/2006/relationships/slideLayout" Target="../slideLayouts/slideLayout53.xml"/><Relationship Id="rId21" Type="http://schemas.openxmlformats.org/officeDocument/2006/relationships/slideLayout" Target="../slideLayouts/slideLayout35.xml"/><Relationship Id="rId34" Type="http://schemas.openxmlformats.org/officeDocument/2006/relationships/slideLayout" Target="../slideLayouts/slideLayout48.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50" Type="http://schemas.openxmlformats.org/officeDocument/2006/relationships/slideLayout" Target="../slideLayouts/slideLayout64.xml"/><Relationship Id="rId55" Type="http://schemas.openxmlformats.org/officeDocument/2006/relationships/slideLayout" Target="../slideLayouts/slideLayout69.xml"/><Relationship Id="rId63" Type="http://schemas.openxmlformats.org/officeDocument/2006/relationships/theme" Target="../theme/theme2.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5" Type="http://schemas.openxmlformats.org/officeDocument/2006/relationships/slideLayout" Target="../slideLayouts/slideLayout19.xml"/><Relationship Id="rId61" Type="http://schemas.openxmlformats.org/officeDocument/2006/relationships/slideLayout" Target="../slideLayouts/slideLayout75.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F94E4D-A109-4C48-9E64-7FCBF5BE67D3}" type="datetimeFigureOut">
              <a:rPr lang="id-ID" smtClean="0"/>
              <a:t>23/05/2017</a:t>
            </a:fld>
            <a:endParaRPr lang="id-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4E97F8-F2EB-4E84-BA61-217D6A6B81BD}" type="slidenum">
              <a:rPr lang="id-ID" smtClean="0"/>
              <a:t>‹N°›</a:t>
            </a:fld>
            <a:endParaRPr lang="id-ID"/>
          </a:p>
        </p:txBody>
      </p:sp>
    </p:spTree>
    <p:extLst>
      <p:ext uri="{BB962C8B-B14F-4D97-AF65-F5344CB8AC3E}">
        <p14:creationId xmlns:p14="http://schemas.microsoft.com/office/powerpoint/2010/main" val="91296356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9" r:id="rId5"/>
    <p:sldLayoutId id="2147483685" r:id="rId6"/>
    <p:sldLayoutId id="2147483686" r:id="rId7"/>
    <p:sldLayoutId id="2147483690" r:id="rId8"/>
    <p:sldLayoutId id="2147483691" r:id="rId9"/>
    <p:sldLayoutId id="2147483689" r:id="rId10"/>
    <p:sldLayoutId id="2147483663" r:id="rId11"/>
    <p:sldLayoutId id="2147483650" r:id="rId12"/>
    <p:sldLayoutId id="2147483655" r:id="rId13"/>
    <p:sldLayoutId id="214748369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A29939-D82F-474D-8F32-39F6ECA3E7F6}" type="datetimeFigureOut">
              <a:rPr lang="id-ID" smtClean="0"/>
              <a:t>23/05/2017</a:t>
            </a:fld>
            <a:endParaRPr lang="id-ID"/>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8E76B3-B06B-4332-85BE-760603C37ED0}" type="slidenum">
              <a:rPr lang="id-ID" smtClean="0"/>
              <a:t>‹N°›</a:t>
            </a:fld>
            <a:endParaRPr lang="id-ID"/>
          </a:p>
        </p:txBody>
      </p:sp>
      <p:sp>
        <p:nvSpPr>
          <p:cNvPr id="7" name="Rectangle 6"/>
          <p:cNvSpPr/>
          <p:nvPr userDrawn="1"/>
        </p:nvSpPr>
        <p:spPr>
          <a:xfrm>
            <a:off x="3048000" y="6287088"/>
            <a:ext cx="6096000" cy="492443"/>
          </a:xfrm>
          <a:prstGeom prst="rect">
            <a:avLst/>
          </a:prstGeom>
        </p:spPr>
        <p:txBody>
          <a:bodyPr>
            <a:spAutoFit/>
          </a:bodyPr>
          <a:lstStyle/>
          <a:p>
            <a:pPr algn="ctr"/>
            <a:r>
              <a:rPr lang="id-ID" sz="1400" dirty="0">
                <a:solidFill>
                  <a:schemeClr val="accent1"/>
                </a:solidFill>
              </a:rPr>
              <a:t>www.</a:t>
            </a:r>
            <a:r>
              <a:rPr lang="en-US" sz="1400" dirty="0">
                <a:solidFill>
                  <a:schemeClr val="accent1"/>
                </a:solidFill>
              </a:rPr>
              <a:t>azug.fr</a:t>
            </a:r>
            <a:endParaRPr lang="id-ID" sz="1400" dirty="0">
              <a:solidFill>
                <a:schemeClr val="accent1"/>
              </a:solidFill>
            </a:endParaRPr>
          </a:p>
          <a:p>
            <a:pPr algn="ctr"/>
            <a:r>
              <a:rPr lang="en-US" sz="1200" dirty="0">
                <a:solidFill>
                  <a:schemeClr val="tx2"/>
                </a:solidFill>
              </a:rPr>
              <a:t>© 2017 AZUG FR. All Rights Reserved. </a:t>
            </a:r>
            <a:endParaRPr lang="id-ID" sz="1200" dirty="0">
              <a:solidFill>
                <a:schemeClr val="tx2"/>
              </a:solidFill>
            </a:endParaRPr>
          </a:p>
        </p:txBody>
      </p:sp>
    </p:spTree>
    <p:extLst>
      <p:ext uri="{BB962C8B-B14F-4D97-AF65-F5344CB8AC3E}">
        <p14:creationId xmlns:p14="http://schemas.microsoft.com/office/powerpoint/2010/main" val="2103600592"/>
      </p:ext>
    </p:extLst>
  </p:cSld>
  <p:clrMap bg1="lt1" tx1="dk1" bg2="lt2" tx2="dk2" accent1="accent1" accent2="accent2" accent3="accent3" accent4="accent4" accent5="accent5" accent6="accent6" hlink="hlink" folHlink="folHlink"/>
  <p:sldLayoutIdLst>
    <p:sldLayoutId id="2147483654" r:id="rId1"/>
    <p:sldLayoutId id="2147483711" r:id="rId2"/>
    <p:sldLayoutId id="2147483666" r:id="rId3"/>
    <p:sldLayoutId id="2147483688" r:id="rId4"/>
    <p:sldLayoutId id="2147483668" r:id="rId5"/>
    <p:sldLayoutId id="2147483705" r:id="rId6"/>
    <p:sldLayoutId id="2147483700" r:id="rId7"/>
    <p:sldLayoutId id="2147483704" r:id="rId8"/>
    <p:sldLayoutId id="2147483702" r:id="rId9"/>
    <p:sldLayoutId id="2147483703" r:id="rId10"/>
    <p:sldLayoutId id="2147483709" r:id="rId11"/>
    <p:sldLayoutId id="2147483708" r:id="rId12"/>
    <p:sldLayoutId id="2147483696" r:id="rId13"/>
    <p:sldLayoutId id="2147483706" r:id="rId14"/>
    <p:sldLayoutId id="2147483707" r:id="rId15"/>
    <p:sldLayoutId id="2147483699" r:id="rId16"/>
    <p:sldLayoutId id="2147483697" r:id="rId17"/>
    <p:sldLayoutId id="2147483698" r:id="rId18"/>
    <p:sldLayoutId id="2147483694" r:id="rId19"/>
    <p:sldLayoutId id="2147483710" r:id="rId20"/>
    <p:sldLayoutId id="2147483701" r:id="rId21"/>
    <p:sldLayoutId id="2147483693" r:id="rId22"/>
    <p:sldLayoutId id="2147483683" r:id="rId23"/>
    <p:sldLayoutId id="2147483681" r:id="rId24"/>
    <p:sldLayoutId id="2147483682" r:id="rId25"/>
    <p:sldLayoutId id="2147483687" r:id="rId26"/>
    <p:sldLayoutId id="2147483671" r:id="rId27"/>
    <p:sldLayoutId id="2147483674" r:id="rId28"/>
    <p:sldLayoutId id="2147483672" r:id="rId29"/>
    <p:sldLayoutId id="2147483676" r:id="rId30"/>
    <p:sldLayoutId id="2147483677" r:id="rId31"/>
    <p:sldLayoutId id="2147483678" r:id="rId32"/>
    <p:sldLayoutId id="2147483679" r:id="rId33"/>
    <p:sldLayoutId id="2147483680" r:id="rId34"/>
    <p:sldLayoutId id="2147483692" r:id="rId35"/>
    <p:sldLayoutId id="2147483684" r:id="rId36"/>
    <p:sldLayoutId id="2147483673" r:id="rId37"/>
    <p:sldLayoutId id="2147483670" r:id="rId38"/>
    <p:sldLayoutId id="2147483675" r:id="rId39"/>
    <p:sldLayoutId id="2147483665" r:id="rId40"/>
    <p:sldLayoutId id="2147483712" r:id="rId41"/>
    <p:sldLayoutId id="2147483713" r:id="rId42"/>
    <p:sldLayoutId id="2147483714" r:id="rId43"/>
    <p:sldLayoutId id="2147483715" r:id="rId44"/>
    <p:sldLayoutId id="2147483716" r:id="rId45"/>
    <p:sldLayoutId id="2147483717" r:id="rId46"/>
    <p:sldLayoutId id="2147483718" r:id="rId47"/>
    <p:sldLayoutId id="2147483719" r:id="rId48"/>
    <p:sldLayoutId id="2147483720" r:id="rId49"/>
    <p:sldLayoutId id="2147483721" r:id="rId50"/>
    <p:sldLayoutId id="2147483722" r:id="rId51"/>
    <p:sldLayoutId id="2147483723" r:id="rId52"/>
    <p:sldLayoutId id="2147483724" r:id="rId53"/>
    <p:sldLayoutId id="2147483725" r:id="rId54"/>
    <p:sldLayoutId id="2147483726" r:id="rId55"/>
    <p:sldLayoutId id="2147483727" r:id="rId56"/>
    <p:sldLayoutId id="2147483728" r:id="rId57"/>
    <p:sldLayoutId id="2147483729" r:id="rId58"/>
    <p:sldLayoutId id="2147483730" r:id="rId59"/>
    <p:sldLayoutId id="2147483731" r:id="rId60"/>
    <p:sldLayoutId id="2147483732" r:id="rId61"/>
    <p:sldLayoutId id="2147483733" r:id="rId6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g"/><Relationship Id="rId7" Type="http://schemas.openxmlformats.org/officeDocument/2006/relationships/image" Target="../media/image30.jpg"/><Relationship Id="rId2" Type="http://schemas.openxmlformats.org/officeDocument/2006/relationships/image" Target="../media/image25.jpg"/><Relationship Id="rId1" Type="http://schemas.openxmlformats.org/officeDocument/2006/relationships/slideLayout" Target="../slideLayouts/slideLayout48.xml"/><Relationship Id="rId6" Type="http://schemas.openxmlformats.org/officeDocument/2006/relationships/image" Target="../media/image29.jpeg"/><Relationship Id="rId5" Type="http://schemas.openxmlformats.org/officeDocument/2006/relationships/image" Target="../media/image28.jpg"/><Relationship Id="rId4" Type="http://schemas.openxmlformats.org/officeDocument/2006/relationships/image" Target="../media/image27.jpg"/></Relationships>
</file>

<file path=ppt/slides/_rels/slide1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8.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jpg"/><Relationship Id="rId1" Type="http://schemas.openxmlformats.org/officeDocument/2006/relationships/slideLayout" Target="../slideLayouts/slideLayout48.xml"/><Relationship Id="rId4" Type="http://schemas.openxmlformats.org/officeDocument/2006/relationships/image" Target="../media/image36.jp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1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48.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55.xml"/><Relationship Id="rId1" Type="http://schemas.openxmlformats.org/officeDocument/2006/relationships/tags" Target="../tags/tag1.xml"/></Relationships>
</file>

<file path=ppt/slides/_rels/slide18.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61.png"/><Relationship Id="rId26" Type="http://schemas.openxmlformats.org/officeDocument/2006/relationships/image" Target="../media/image69.png"/><Relationship Id="rId39" Type="http://schemas.openxmlformats.org/officeDocument/2006/relationships/image" Target="../media/image82.png"/><Relationship Id="rId21" Type="http://schemas.openxmlformats.org/officeDocument/2006/relationships/image" Target="../media/image64.png"/><Relationship Id="rId34" Type="http://schemas.openxmlformats.org/officeDocument/2006/relationships/image" Target="../media/image77.png"/><Relationship Id="rId42" Type="http://schemas.openxmlformats.org/officeDocument/2006/relationships/image" Target="../media/image85.png"/><Relationship Id="rId47" Type="http://schemas.openxmlformats.org/officeDocument/2006/relationships/image" Target="../media/image90.png"/><Relationship Id="rId50" Type="http://schemas.openxmlformats.org/officeDocument/2006/relationships/image" Target="../media/image93.png"/><Relationship Id="rId55" Type="http://schemas.openxmlformats.org/officeDocument/2006/relationships/image" Target="../media/image98.png"/><Relationship Id="rId7" Type="http://schemas.openxmlformats.org/officeDocument/2006/relationships/image" Target="../media/image50.png"/><Relationship Id="rId2" Type="http://schemas.openxmlformats.org/officeDocument/2006/relationships/notesSlide" Target="../notesSlides/notesSlide4.xml"/><Relationship Id="rId16" Type="http://schemas.openxmlformats.org/officeDocument/2006/relationships/image" Target="../media/image59.png"/><Relationship Id="rId29" Type="http://schemas.openxmlformats.org/officeDocument/2006/relationships/image" Target="../media/image72.png"/><Relationship Id="rId11" Type="http://schemas.openxmlformats.org/officeDocument/2006/relationships/image" Target="../media/image54.png"/><Relationship Id="rId24" Type="http://schemas.openxmlformats.org/officeDocument/2006/relationships/image" Target="../media/image67.png"/><Relationship Id="rId32" Type="http://schemas.openxmlformats.org/officeDocument/2006/relationships/image" Target="../media/image75.png"/><Relationship Id="rId37" Type="http://schemas.openxmlformats.org/officeDocument/2006/relationships/image" Target="../media/image80.png"/><Relationship Id="rId40" Type="http://schemas.openxmlformats.org/officeDocument/2006/relationships/image" Target="../media/image83.png"/><Relationship Id="rId45" Type="http://schemas.openxmlformats.org/officeDocument/2006/relationships/image" Target="../media/image88.png"/><Relationship Id="rId53" Type="http://schemas.openxmlformats.org/officeDocument/2006/relationships/image" Target="../media/image96.png"/><Relationship Id="rId5" Type="http://schemas.openxmlformats.org/officeDocument/2006/relationships/image" Target="../media/image48.png"/><Relationship Id="rId19" Type="http://schemas.openxmlformats.org/officeDocument/2006/relationships/image" Target="../media/image62.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image" Target="../media/image70.png"/><Relationship Id="rId30" Type="http://schemas.openxmlformats.org/officeDocument/2006/relationships/image" Target="../media/image73.png"/><Relationship Id="rId35" Type="http://schemas.openxmlformats.org/officeDocument/2006/relationships/image" Target="../media/image78.png"/><Relationship Id="rId43" Type="http://schemas.openxmlformats.org/officeDocument/2006/relationships/image" Target="../media/image86.png"/><Relationship Id="rId48" Type="http://schemas.openxmlformats.org/officeDocument/2006/relationships/image" Target="../media/image91.png"/><Relationship Id="rId56" Type="http://schemas.openxmlformats.org/officeDocument/2006/relationships/image" Target="../media/image99.png"/><Relationship Id="rId8" Type="http://schemas.openxmlformats.org/officeDocument/2006/relationships/image" Target="../media/image51.png"/><Relationship Id="rId51" Type="http://schemas.openxmlformats.org/officeDocument/2006/relationships/image" Target="../media/image94.png"/><Relationship Id="rId3" Type="http://schemas.openxmlformats.org/officeDocument/2006/relationships/image" Target="../media/image46.pn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38" Type="http://schemas.openxmlformats.org/officeDocument/2006/relationships/image" Target="../media/image81.png"/><Relationship Id="rId46" Type="http://schemas.openxmlformats.org/officeDocument/2006/relationships/image" Target="../media/image89.png"/><Relationship Id="rId20" Type="http://schemas.openxmlformats.org/officeDocument/2006/relationships/image" Target="../media/image63.png"/><Relationship Id="rId41" Type="http://schemas.openxmlformats.org/officeDocument/2006/relationships/image" Target="../media/image84.png"/><Relationship Id="rId54" Type="http://schemas.openxmlformats.org/officeDocument/2006/relationships/image" Target="../media/image97.png"/><Relationship Id="rId1" Type="http://schemas.openxmlformats.org/officeDocument/2006/relationships/slideLayout" Target="../slideLayouts/slideLayout60.xml"/><Relationship Id="rId6" Type="http://schemas.openxmlformats.org/officeDocument/2006/relationships/image" Target="../media/image49.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png"/><Relationship Id="rId36" Type="http://schemas.openxmlformats.org/officeDocument/2006/relationships/image" Target="../media/image79.png"/><Relationship Id="rId49" Type="http://schemas.openxmlformats.org/officeDocument/2006/relationships/image" Target="../media/image92.png"/><Relationship Id="rId57" Type="http://schemas.openxmlformats.org/officeDocument/2006/relationships/image" Target="../media/image100.png"/><Relationship Id="rId10" Type="http://schemas.openxmlformats.org/officeDocument/2006/relationships/image" Target="../media/image53.png"/><Relationship Id="rId31" Type="http://schemas.openxmlformats.org/officeDocument/2006/relationships/image" Target="../media/image74.png"/><Relationship Id="rId44" Type="http://schemas.openxmlformats.org/officeDocument/2006/relationships/image" Target="../media/image87.png"/><Relationship Id="rId52" Type="http://schemas.openxmlformats.org/officeDocument/2006/relationships/image" Target="../media/image95.png"/></Relationships>
</file>

<file path=ppt/slides/_rels/slide19.xml.rels><?xml version="1.0" encoding="UTF-8" standalone="yes"?>
<Relationships xmlns="http://schemas.openxmlformats.org/package/2006/relationships"><Relationship Id="rId3" Type="http://schemas.openxmlformats.org/officeDocument/2006/relationships/image" Target="../media/image101.WMF"/><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2.xml"/></Relationships>
</file>

<file path=ppt/slides/_rels/slide20.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3" Type="http://schemas.openxmlformats.org/officeDocument/2006/relationships/hyperlink" Target="https://portal.azure.com/" TargetMode="External"/><Relationship Id="rId7" Type="http://schemas.openxmlformats.org/officeDocument/2006/relationships/hyperlink" Target="https://docs.microsoft.com/en-us/powershell/azureps-cmdlets-docs/" TargetMode="External"/><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hyperlink" Target="https://github.com/Azure/azure-xplat-cli" TargetMode="External"/><Relationship Id="rId5" Type="http://schemas.openxmlformats.org/officeDocument/2006/relationships/hyperlink" Target="https://github.com/Azure/azure-cli" TargetMode="External"/><Relationship Id="rId4" Type="http://schemas.openxmlformats.org/officeDocument/2006/relationships/hyperlink" Target="https://azure.microsoft.com/en-us/resources/template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9.xml"/><Relationship Id="rId1" Type="http://schemas.openxmlformats.org/officeDocument/2006/relationships/slideLayout" Target="../slideLayouts/slideLayout48.xml"/><Relationship Id="rId5" Type="http://schemas.openxmlformats.org/officeDocument/2006/relationships/image" Target="../media/image104.png"/><Relationship Id="rId4" Type="http://schemas.microsoft.com/office/2007/relationships/hdphoto" Target="../media/hdphoto4.wdp"/></Relationships>
</file>

<file path=ppt/slides/_rels/slide24.xml.rels><?xml version="1.0" encoding="UTF-8" standalone="yes"?>
<Relationships xmlns="http://schemas.openxmlformats.org/package/2006/relationships"><Relationship Id="rId3" Type="http://schemas.openxmlformats.org/officeDocument/2006/relationships/image" Target="../media/image105.tiff"/><Relationship Id="rId2" Type="http://schemas.openxmlformats.org/officeDocument/2006/relationships/notesSlide" Target="../notesSlides/notesSlide10.xml"/><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slideLayout" Target="../slideLayouts/slideLayout48.xml"/><Relationship Id="rId7" Type="http://schemas.openxmlformats.org/officeDocument/2006/relationships/image" Target="../media/image107.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6.emf"/><Relationship Id="rId11" Type="http://schemas.openxmlformats.org/officeDocument/2006/relationships/image" Target="../media/image111.png"/><Relationship Id="rId5" Type="http://schemas.openxmlformats.org/officeDocument/2006/relationships/oleObject" Target="../embeddings/oleObject1.bin"/><Relationship Id="rId10" Type="http://schemas.openxmlformats.org/officeDocument/2006/relationships/image" Target="../media/image110.png"/><Relationship Id="rId4" Type="http://schemas.openxmlformats.org/officeDocument/2006/relationships/notesSlide" Target="../notesSlides/notesSlide12.xml"/><Relationship Id="rId9" Type="http://schemas.openxmlformats.org/officeDocument/2006/relationships/image" Target="../media/image109.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3" Type="http://schemas.openxmlformats.org/officeDocument/2006/relationships/hyperlink" Target="https://aka.ms/azureiotgetstarted" TargetMode="External"/><Relationship Id="rId2" Type="http://schemas.openxmlformats.org/officeDocument/2006/relationships/notesSlide" Target="../notesSlides/notesSlide14.xml"/><Relationship Id="rId1" Type="http://schemas.openxmlformats.org/officeDocument/2006/relationships/slideLayout" Target="../slideLayouts/slideLayout48.xml"/><Relationship Id="rId4" Type="http://schemas.openxmlformats.org/officeDocument/2006/relationships/image" Target="../media/image11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6.xml"/><Relationship Id="rId1" Type="http://schemas.openxmlformats.org/officeDocument/2006/relationships/slideLayout" Target="../slideLayouts/slideLayout66.xml"/><Relationship Id="rId4" Type="http://schemas.openxmlformats.org/officeDocument/2006/relationships/image" Target="../media/image27.svg"/></Relationships>
</file>

<file path=ppt/slides/_rels/slide3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7.xml"/><Relationship Id="rId1" Type="http://schemas.openxmlformats.org/officeDocument/2006/relationships/slideLayout" Target="../slideLayouts/slideLayout48.xml"/><Relationship Id="rId6" Type="http://schemas.openxmlformats.org/officeDocument/2006/relationships/hyperlink" Target="http://www.microsoft.com/en-us/server-cloud/cortana-intelligence-suite" TargetMode="External"/><Relationship Id="rId5" Type="http://schemas.openxmlformats.org/officeDocument/2006/relationships/image" Target="../media/image116.png"/><Relationship Id="rId4" Type="http://schemas.openxmlformats.org/officeDocument/2006/relationships/image" Target="../media/image115.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0.xml"/></Relationships>
</file>

<file path=ppt/slides/_rels/slide3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9.xml"/><Relationship Id="rId1" Type="http://schemas.openxmlformats.org/officeDocument/2006/relationships/slideLayout" Target="../slideLayouts/slideLayout48.xml"/></Relationships>
</file>

<file path=ppt/slides/_rels/slide34.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20.xml"/><Relationship Id="rId1" Type="http://schemas.openxmlformats.org/officeDocument/2006/relationships/slideLayout" Target="../slideLayouts/slideLayout64.xml"/></Relationships>
</file>

<file path=ppt/slides/_rels/slide35.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21.xml"/><Relationship Id="rId1" Type="http://schemas.openxmlformats.org/officeDocument/2006/relationships/slideLayout" Target="../slideLayouts/slideLayout68.xml"/></Relationships>
</file>

<file path=ppt/slides/_rels/slide3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2.xml"/><Relationship Id="rId1" Type="http://schemas.openxmlformats.org/officeDocument/2006/relationships/slideLayout" Target="../slideLayouts/slideLayout55.xml"/></Relationships>
</file>

<file path=ppt/slides/_rels/slide37.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jpg"/><Relationship Id="rId7" Type="http://schemas.openxmlformats.org/officeDocument/2006/relationships/image" Target="../media/image125.png"/><Relationship Id="rId12" Type="http://schemas.openxmlformats.org/officeDocument/2006/relationships/image" Target="../media/image129.png"/><Relationship Id="rId2" Type="http://schemas.openxmlformats.org/officeDocument/2006/relationships/notesSlide" Target="../notesSlides/notesSlide23.xml"/><Relationship Id="rId1" Type="http://schemas.openxmlformats.org/officeDocument/2006/relationships/slideLayout" Target="../slideLayouts/slideLayout69.xml"/><Relationship Id="rId6" Type="http://schemas.openxmlformats.org/officeDocument/2006/relationships/image" Target="../media/image124.png"/><Relationship Id="rId11" Type="http://schemas.openxmlformats.org/officeDocument/2006/relationships/image" Target="../media/image128.png"/><Relationship Id="rId5" Type="http://schemas.openxmlformats.org/officeDocument/2006/relationships/image" Target="../media/image123.png"/><Relationship Id="rId10" Type="http://schemas.openxmlformats.org/officeDocument/2006/relationships/image" Target="../media/image127.png"/><Relationship Id="rId4" Type="http://schemas.openxmlformats.org/officeDocument/2006/relationships/image" Target="../media/image122.png"/><Relationship Id="rId9" Type="http://schemas.microsoft.com/office/2007/relationships/hdphoto" Target="../media/hdphoto5.wdp"/></Relationships>
</file>

<file path=ppt/slides/_rels/slide38.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30.jpeg"/><Relationship Id="rId7" Type="http://schemas.openxmlformats.org/officeDocument/2006/relationships/image" Target="../media/image134.png"/><Relationship Id="rId12" Type="http://schemas.openxmlformats.org/officeDocument/2006/relationships/image" Target="../media/image139.tmp"/><Relationship Id="rId2" Type="http://schemas.openxmlformats.org/officeDocument/2006/relationships/notesSlide" Target="../notesSlides/notesSlide24.xml"/><Relationship Id="rId1" Type="http://schemas.openxmlformats.org/officeDocument/2006/relationships/slideLayout" Target="../slideLayouts/slideLayout71.xml"/><Relationship Id="rId6" Type="http://schemas.openxmlformats.org/officeDocument/2006/relationships/image" Target="../media/image133.png"/><Relationship Id="rId11" Type="http://schemas.openxmlformats.org/officeDocument/2006/relationships/image" Target="../media/image138.png"/><Relationship Id="rId5" Type="http://schemas.openxmlformats.org/officeDocument/2006/relationships/image" Target="../media/image132.jpeg"/><Relationship Id="rId10" Type="http://schemas.openxmlformats.org/officeDocument/2006/relationships/image" Target="../media/image137.png"/><Relationship Id="rId4" Type="http://schemas.openxmlformats.org/officeDocument/2006/relationships/image" Target="../media/image131.jpeg"/><Relationship Id="rId9" Type="http://schemas.openxmlformats.org/officeDocument/2006/relationships/image" Target="../media/image136.png"/></Relationships>
</file>

<file path=ppt/slides/_rels/slide39.xml.rels><?xml version="1.0" encoding="UTF-8" standalone="yes"?>
<Relationships xmlns="http://schemas.openxmlformats.org/package/2006/relationships"><Relationship Id="rId13" Type="http://schemas.openxmlformats.org/officeDocument/2006/relationships/image" Target="../media/image148.jpeg"/><Relationship Id="rId18" Type="http://schemas.openxmlformats.org/officeDocument/2006/relationships/image" Target="../media/image153.jpg"/><Relationship Id="rId26" Type="http://schemas.openxmlformats.org/officeDocument/2006/relationships/image" Target="../media/image161.jpeg"/><Relationship Id="rId3" Type="http://schemas.openxmlformats.org/officeDocument/2006/relationships/image" Target="../media/image140.png"/><Relationship Id="rId21" Type="http://schemas.openxmlformats.org/officeDocument/2006/relationships/image" Target="../media/image156.jpeg"/><Relationship Id="rId34" Type="http://schemas.openxmlformats.org/officeDocument/2006/relationships/image" Target="../media/image169.jpg"/><Relationship Id="rId7" Type="http://schemas.openxmlformats.org/officeDocument/2006/relationships/image" Target="../media/image142.jpeg"/><Relationship Id="rId12" Type="http://schemas.openxmlformats.org/officeDocument/2006/relationships/image" Target="../media/image147.jpeg"/><Relationship Id="rId17" Type="http://schemas.openxmlformats.org/officeDocument/2006/relationships/image" Target="../media/image152.jpeg"/><Relationship Id="rId25" Type="http://schemas.openxmlformats.org/officeDocument/2006/relationships/image" Target="../media/image160.jpeg"/><Relationship Id="rId33" Type="http://schemas.openxmlformats.org/officeDocument/2006/relationships/image" Target="../media/image168.jpeg"/><Relationship Id="rId2" Type="http://schemas.openxmlformats.org/officeDocument/2006/relationships/notesSlide" Target="../notesSlides/notesSlide25.xml"/><Relationship Id="rId16" Type="http://schemas.openxmlformats.org/officeDocument/2006/relationships/image" Target="../media/image151.jpg"/><Relationship Id="rId20" Type="http://schemas.openxmlformats.org/officeDocument/2006/relationships/image" Target="../media/image155.jpeg"/><Relationship Id="rId29" Type="http://schemas.openxmlformats.org/officeDocument/2006/relationships/image" Target="../media/image164.jpeg"/><Relationship Id="rId1" Type="http://schemas.openxmlformats.org/officeDocument/2006/relationships/slideLayout" Target="../slideLayouts/slideLayout71.xml"/><Relationship Id="rId6" Type="http://schemas.microsoft.com/office/2007/relationships/hdphoto" Target="../media/hdphoto7.wdp"/><Relationship Id="rId11" Type="http://schemas.openxmlformats.org/officeDocument/2006/relationships/image" Target="../media/image146.jpeg"/><Relationship Id="rId24" Type="http://schemas.openxmlformats.org/officeDocument/2006/relationships/image" Target="../media/image159.jpeg"/><Relationship Id="rId32" Type="http://schemas.openxmlformats.org/officeDocument/2006/relationships/image" Target="../media/image167.jpg"/><Relationship Id="rId5" Type="http://schemas.openxmlformats.org/officeDocument/2006/relationships/image" Target="../media/image141.png"/><Relationship Id="rId15" Type="http://schemas.openxmlformats.org/officeDocument/2006/relationships/image" Target="../media/image150.jpeg"/><Relationship Id="rId23" Type="http://schemas.openxmlformats.org/officeDocument/2006/relationships/image" Target="../media/image158.jpeg"/><Relationship Id="rId28" Type="http://schemas.openxmlformats.org/officeDocument/2006/relationships/image" Target="../media/image163.jpeg"/><Relationship Id="rId10" Type="http://schemas.openxmlformats.org/officeDocument/2006/relationships/image" Target="../media/image145.jpeg"/><Relationship Id="rId19" Type="http://schemas.openxmlformats.org/officeDocument/2006/relationships/image" Target="../media/image154.jpeg"/><Relationship Id="rId31" Type="http://schemas.openxmlformats.org/officeDocument/2006/relationships/image" Target="../media/image166.jpg"/><Relationship Id="rId4" Type="http://schemas.microsoft.com/office/2007/relationships/hdphoto" Target="../media/hdphoto6.wdp"/><Relationship Id="rId9" Type="http://schemas.openxmlformats.org/officeDocument/2006/relationships/image" Target="../media/image144.jpeg"/><Relationship Id="rId14" Type="http://schemas.openxmlformats.org/officeDocument/2006/relationships/image" Target="../media/image149.jpeg"/><Relationship Id="rId22" Type="http://schemas.openxmlformats.org/officeDocument/2006/relationships/image" Target="../media/image157.jpeg"/><Relationship Id="rId27" Type="http://schemas.openxmlformats.org/officeDocument/2006/relationships/image" Target="../media/image162.jpeg"/><Relationship Id="rId30" Type="http://schemas.openxmlformats.org/officeDocument/2006/relationships/image" Target="../media/image165.jpeg"/><Relationship Id="rId35" Type="http://schemas.openxmlformats.org/officeDocument/2006/relationships/image" Target="../media/image170.png"/><Relationship Id="rId8" Type="http://schemas.openxmlformats.org/officeDocument/2006/relationships/image" Target="../media/image143.jpe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26.xml"/><Relationship Id="rId1" Type="http://schemas.openxmlformats.org/officeDocument/2006/relationships/slideLayout" Target="../slideLayouts/slideLayout71.xml"/><Relationship Id="rId5" Type="http://schemas.openxmlformats.org/officeDocument/2006/relationships/image" Target="../media/image173.png"/><Relationship Id="rId4" Type="http://schemas.openxmlformats.org/officeDocument/2006/relationships/image" Target="../media/image172.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71.xml"/><Relationship Id="rId7" Type="http://schemas.openxmlformats.org/officeDocument/2006/relationships/image" Target="../media/image176.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notesSlide" Target="../notesSlides/notesSlide27.xml"/></Relationships>
</file>

<file path=ppt/slides/_rels/slide4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28.xml"/><Relationship Id="rId1" Type="http://schemas.openxmlformats.org/officeDocument/2006/relationships/slideLayout" Target="../slideLayouts/slideLayout71.xml"/><Relationship Id="rId5" Type="http://schemas.openxmlformats.org/officeDocument/2006/relationships/image" Target="../media/image179.tmp"/><Relationship Id="rId4" Type="http://schemas.openxmlformats.org/officeDocument/2006/relationships/image" Target="../media/image178.png"/></Relationships>
</file>

<file path=ppt/slides/_rels/slide43.xml.rels><?xml version="1.0" encoding="UTF-8" standalone="yes"?>
<Relationships xmlns="http://schemas.openxmlformats.org/package/2006/relationships"><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29.xml"/><Relationship Id="rId1" Type="http://schemas.openxmlformats.org/officeDocument/2006/relationships/slideLayout" Target="../slideLayouts/slideLayout71.xml"/><Relationship Id="rId6" Type="http://schemas.openxmlformats.org/officeDocument/2006/relationships/image" Target="../media/image183.png"/><Relationship Id="rId5" Type="http://schemas.openxmlformats.org/officeDocument/2006/relationships/image" Target="../media/image182.png"/><Relationship Id="rId4" Type="http://schemas.openxmlformats.org/officeDocument/2006/relationships/image" Target="../media/image181.png"/></Relationships>
</file>

<file path=ppt/slides/_rels/slide44.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30.xml"/><Relationship Id="rId1" Type="http://schemas.openxmlformats.org/officeDocument/2006/relationships/slideLayout" Target="../slideLayouts/slideLayout71.xml"/></Relationships>
</file>

<file path=ppt/slides/_rels/slide4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31.xml"/><Relationship Id="rId1" Type="http://schemas.openxmlformats.org/officeDocument/2006/relationships/slideLayout" Target="../slideLayouts/slideLayout71.xml"/><Relationship Id="rId5" Type="http://schemas.openxmlformats.org/officeDocument/2006/relationships/image" Target="../media/image188.png"/><Relationship Id="rId4" Type="http://schemas.openxmlformats.org/officeDocument/2006/relationships/image" Target="../media/image187.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32.xml"/><Relationship Id="rId1" Type="http://schemas.openxmlformats.org/officeDocument/2006/relationships/slideLayout" Target="../slideLayouts/slideLayout64.xml"/><Relationship Id="rId4" Type="http://schemas.openxmlformats.org/officeDocument/2006/relationships/image" Target="../media/image190.JPG"/></Relationships>
</file>

<file path=ppt/slides/_rels/slide48.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33.xml"/><Relationship Id="rId1" Type="http://schemas.openxmlformats.org/officeDocument/2006/relationships/slideLayout" Target="../slideLayouts/slideLayout65.xml"/><Relationship Id="rId4" Type="http://schemas.openxmlformats.org/officeDocument/2006/relationships/image" Target="../media/image192.jpeg"/></Relationships>
</file>

<file path=ppt/slides/_rels/slide49.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3.png"/><Relationship Id="rId1" Type="http://schemas.openxmlformats.org/officeDocument/2006/relationships/slideLayout" Target="../slideLayouts/slideLayout15.xml"/><Relationship Id="rId4" Type="http://schemas.openxmlformats.org/officeDocument/2006/relationships/image" Target="../media/image19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2" Type="http://schemas.openxmlformats.org/officeDocument/2006/relationships/image" Target="../media/image196.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Layout" Target="../slideLayouts/slideLayout48.xml"/><Relationship Id="rId6" Type="http://schemas.openxmlformats.org/officeDocument/2006/relationships/image" Target="../media/image17.jpeg"/><Relationship Id="rId5" Type="http://schemas.openxmlformats.org/officeDocument/2006/relationships/image" Target="../media/image16.jpg"/><Relationship Id="rId4" Type="http://schemas.openxmlformats.org/officeDocument/2006/relationships/image" Target="../media/image15.jpg"/></Relationships>
</file>

<file path=ppt/slides/_rels/slide9.xml.rels><?xml version="1.0" encoding="UTF-8" standalone="yes"?>
<Relationships xmlns="http://schemas.openxmlformats.org/package/2006/relationships"><Relationship Id="rId8" Type="http://schemas.openxmlformats.org/officeDocument/2006/relationships/image" Target="../media/image24.jpeg"/><Relationship Id="rId3" Type="http://schemas.microsoft.com/office/2007/relationships/hdphoto" Target="../media/hdphoto2.wdp"/><Relationship Id="rId7" Type="http://schemas.openxmlformats.org/officeDocument/2006/relationships/image" Target="../media/image23.jpeg"/><Relationship Id="rId2" Type="http://schemas.openxmlformats.org/officeDocument/2006/relationships/image" Target="../media/image20.png"/><Relationship Id="rId1" Type="http://schemas.openxmlformats.org/officeDocument/2006/relationships/slideLayout" Target="../slideLayouts/slideLayout48.xml"/><Relationship Id="rId6" Type="http://schemas.microsoft.com/office/2007/relationships/hdphoto" Target="../media/hdphoto3.wdp"/><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hyperlink" Target="http://azure.com/iotstarterkit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3393527" y="2858617"/>
            <a:ext cx="5384007" cy="652462"/>
            <a:chOff x="3509433" y="3424238"/>
            <a:chExt cx="5384007" cy="652462"/>
          </a:xfrm>
        </p:grpSpPr>
        <p:sp>
          <p:nvSpPr>
            <p:cNvPr id="8" name="Freeform 5"/>
            <p:cNvSpPr>
              <a:spLocks/>
            </p:cNvSpPr>
            <p:nvPr/>
          </p:nvSpPr>
          <p:spPr bwMode="auto">
            <a:xfrm>
              <a:off x="3509433" y="3635375"/>
              <a:ext cx="681038" cy="441325"/>
            </a:xfrm>
            <a:custGeom>
              <a:avLst/>
              <a:gdLst>
                <a:gd name="T0" fmla="*/ 0 w 429"/>
                <a:gd name="T1" fmla="*/ 134 h 278"/>
                <a:gd name="T2" fmla="*/ 71 w 429"/>
                <a:gd name="T3" fmla="*/ 278 h 278"/>
                <a:gd name="T4" fmla="*/ 429 w 429"/>
                <a:gd name="T5" fmla="*/ 278 h 278"/>
                <a:gd name="T6" fmla="*/ 429 w 429"/>
                <a:gd name="T7" fmla="*/ 0 h 278"/>
                <a:gd name="T8" fmla="*/ 71 w 429"/>
                <a:gd name="T9" fmla="*/ 0 h 278"/>
                <a:gd name="T10" fmla="*/ 0 w 429"/>
                <a:gd name="T11" fmla="*/ 134 h 278"/>
              </a:gdLst>
              <a:ahLst/>
              <a:cxnLst>
                <a:cxn ang="0">
                  <a:pos x="T0" y="T1"/>
                </a:cxn>
                <a:cxn ang="0">
                  <a:pos x="T2" y="T3"/>
                </a:cxn>
                <a:cxn ang="0">
                  <a:pos x="T4" y="T5"/>
                </a:cxn>
                <a:cxn ang="0">
                  <a:pos x="T6" y="T7"/>
                </a:cxn>
                <a:cxn ang="0">
                  <a:pos x="T8" y="T9"/>
                </a:cxn>
                <a:cxn ang="0">
                  <a:pos x="T10" y="T11"/>
                </a:cxn>
              </a:cxnLst>
              <a:rect l="0" t="0" r="r" b="b"/>
              <a:pathLst>
                <a:path w="429" h="278">
                  <a:moveTo>
                    <a:pt x="0" y="134"/>
                  </a:moveTo>
                  <a:lnTo>
                    <a:pt x="71" y="278"/>
                  </a:lnTo>
                  <a:lnTo>
                    <a:pt x="429" y="278"/>
                  </a:lnTo>
                  <a:lnTo>
                    <a:pt x="429" y="0"/>
                  </a:lnTo>
                  <a:lnTo>
                    <a:pt x="71" y="0"/>
                  </a:lnTo>
                  <a:lnTo>
                    <a:pt x="0" y="13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9" name="Freeform 6"/>
            <p:cNvSpPr>
              <a:spLocks/>
            </p:cNvSpPr>
            <p:nvPr/>
          </p:nvSpPr>
          <p:spPr bwMode="auto">
            <a:xfrm>
              <a:off x="3836458" y="3600450"/>
              <a:ext cx="357188" cy="476250"/>
            </a:xfrm>
            <a:custGeom>
              <a:avLst/>
              <a:gdLst>
                <a:gd name="T0" fmla="*/ 225 w 225"/>
                <a:gd name="T1" fmla="*/ 300 h 300"/>
                <a:gd name="T2" fmla="*/ 0 w 225"/>
                <a:gd name="T3" fmla="*/ 168 h 300"/>
                <a:gd name="T4" fmla="*/ 98 w 225"/>
                <a:gd name="T5" fmla="*/ 0 h 300"/>
                <a:gd name="T6" fmla="*/ 225 w 225"/>
                <a:gd name="T7" fmla="*/ 103 h 300"/>
                <a:gd name="T8" fmla="*/ 225 w 225"/>
                <a:gd name="T9" fmla="*/ 300 h 300"/>
              </a:gdLst>
              <a:ahLst/>
              <a:cxnLst>
                <a:cxn ang="0">
                  <a:pos x="T0" y="T1"/>
                </a:cxn>
                <a:cxn ang="0">
                  <a:pos x="T2" y="T3"/>
                </a:cxn>
                <a:cxn ang="0">
                  <a:pos x="T4" y="T5"/>
                </a:cxn>
                <a:cxn ang="0">
                  <a:pos x="T6" y="T7"/>
                </a:cxn>
                <a:cxn ang="0">
                  <a:pos x="T8" y="T9"/>
                </a:cxn>
              </a:cxnLst>
              <a:rect l="0" t="0" r="r" b="b"/>
              <a:pathLst>
                <a:path w="225" h="300">
                  <a:moveTo>
                    <a:pt x="225" y="300"/>
                  </a:moveTo>
                  <a:lnTo>
                    <a:pt x="0" y="168"/>
                  </a:lnTo>
                  <a:lnTo>
                    <a:pt x="98" y="0"/>
                  </a:lnTo>
                  <a:lnTo>
                    <a:pt x="225" y="103"/>
                  </a:lnTo>
                  <a:lnTo>
                    <a:pt x="225" y="300"/>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0" name="Freeform 7"/>
            <p:cNvSpPr>
              <a:spLocks/>
            </p:cNvSpPr>
            <p:nvPr/>
          </p:nvSpPr>
          <p:spPr bwMode="auto">
            <a:xfrm>
              <a:off x="8212402" y="3635375"/>
              <a:ext cx="681038" cy="441325"/>
            </a:xfrm>
            <a:custGeom>
              <a:avLst/>
              <a:gdLst>
                <a:gd name="T0" fmla="*/ 429 w 429"/>
                <a:gd name="T1" fmla="*/ 134 h 278"/>
                <a:gd name="T2" fmla="*/ 358 w 429"/>
                <a:gd name="T3" fmla="*/ 278 h 278"/>
                <a:gd name="T4" fmla="*/ 0 w 429"/>
                <a:gd name="T5" fmla="*/ 278 h 278"/>
                <a:gd name="T6" fmla="*/ 0 w 429"/>
                <a:gd name="T7" fmla="*/ 0 h 278"/>
                <a:gd name="T8" fmla="*/ 358 w 429"/>
                <a:gd name="T9" fmla="*/ 0 h 278"/>
                <a:gd name="T10" fmla="*/ 429 w 429"/>
                <a:gd name="T11" fmla="*/ 134 h 278"/>
              </a:gdLst>
              <a:ahLst/>
              <a:cxnLst>
                <a:cxn ang="0">
                  <a:pos x="T0" y="T1"/>
                </a:cxn>
                <a:cxn ang="0">
                  <a:pos x="T2" y="T3"/>
                </a:cxn>
                <a:cxn ang="0">
                  <a:pos x="T4" y="T5"/>
                </a:cxn>
                <a:cxn ang="0">
                  <a:pos x="T6" y="T7"/>
                </a:cxn>
                <a:cxn ang="0">
                  <a:pos x="T8" y="T9"/>
                </a:cxn>
                <a:cxn ang="0">
                  <a:pos x="T10" y="T11"/>
                </a:cxn>
              </a:cxnLst>
              <a:rect l="0" t="0" r="r" b="b"/>
              <a:pathLst>
                <a:path w="429" h="278">
                  <a:moveTo>
                    <a:pt x="429" y="134"/>
                  </a:moveTo>
                  <a:lnTo>
                    <a:pt x="358" y="278"/>
                  </a:lnTo>
                  <a:lnTo>
                    <a:pt x="0" y="278"/>
                  </a:lnTo>
                  <a:lnTo>
                    <a:pt x="0" y="0"/>
                  </a:lnTo>
                  <a:lnTo>
                    <a:pt x="358" y="0"/>
                  </a:lnTo>
                  <a:lnTo>
                    <a:pt x="429" y="134"/>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 name="Freeform 8"/>
            <p:cNvSpPr>
              <a:spLocks/>
            </p:cNvSpPr>
            <p:nvPr/>
          </p:nvSpPr>
          <p:spPr bwMode="auto">
            <a:xfrm>
              <a:off x="8212402" y="3600450"/>
              <a:ext cx="354013" cy="476250"/>
            </a:xfrm>
            <a:custGeom>
              <a:avLst/>
              <a:gdLst>
                <a:gd name="T0" fmla="*/ 0 w 223"/>
                <a:gd name="T1" fmla="*/ 300 h 300"/>
                <a:gd name="T2" fmla="*/ 223 w 223"/>
                <a:gd name="T3" fmla="*/ 168 h 300"/>
                <a:gd name="T4" fmla="*/ 128 w 223"/>
                <a:gd name="T5" fmla="*/ 0 h 300"/>
                <a:gd name="T6" fmla="*/ 0 w 223"/>
                <a:gd name="T7" fmla="*/ 103 h 300"/>
                <a:gd name="T8" fmla="*/ 0 w 223"/>
                <a:gd name="T9" fmla="*/ 300 h 300"/>
              </a:gdLst>
              <a:ahLst/>
              <a:cxnLst>
                <a:cxn ang="0">
                  <a:pos x="T0" y="T1"/>
                </a:cxn>
                <a:cxn ang="0">
                  <a:pos x="T2" y="T3"/>
                </a:cxn>
                <a:cxn ang="0">
                  <a:pos x="T4" y="T5"/>
                </a:cxn>
                <a:cxn ang="0">
                  <a:pos x="T6" y="T7"/>
                </a:cxn>
                <a:cxn ang="0">
                  <a:pos x="T8" y="T9"/>
                </a:cxn>
              </a:cxnLst>
              <a:rect l="0" t="0" r="r" b="b"/>
              <a:pathLst>
                <a:path w="223" h="300">
                  <a:moveTo>
                    <a:pt x="0" y="300"/>
                  </a:moveTo>
                  <a:lnTo>
                    <a:pt x="223" y="168"/>
                  </a:lnTo>
                  <a:lnTo>
                    <a:pt x="128" y="0"/>
                  </a:lnTo>
                  <a:lnTo>
                    <a:pt x="0" y="103"/>
                  </a:lnTo>
                  <a:lnTo>
                    <a:pt x="0" y="300"/>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 name="Rectangle 9"/>
            <p:cNvSpPr>
              <a:spLocks noChangeArrowheads="1"/>
            </p:cNvSpPr>
            <p:nvPr/>
          </p:nvSpPr>
          <p:spPr bwMode="auto">
            <a:xfrm>
              <a:off x="3826933" y="3424238"/>
              <a:ext cx="4741334" cy="44291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 name="Title 3"/>
          <p:cNvSpPr>
            <a:spLocks noGrp="1"/>
          </p:cNvSpPr>
          <p:nvPr>
            <p:ph type="ctrTitle"/>
          </p:nvPr>
        </p:nvSpPr>
        <p:spPr>
          <a:xfrm>
            <a:off x="316326" y="793515"/>
            <a:ext cx="11538408" cy="2387600"/>
          </a:xfrm>
        </p:spPr>
        <p:txBody>
          <a:bodyPr>
            <a:normAutofit/>
          </a:bodyPr>
          <a:lstStyle/>
          <a:p>
            <a:r>
              <a:rPr lang="fr-FR" dirty="0" smtClean="0">
                <a:solidFill>
                  <a:schemeClr val="bg1"/>
                </a:solidFill>
                <a:latin typeface="Bebas" pitchFamily="2" charset="0"/>
              </a:rPr>
              <a:t>Robot - Azure - </a:t>
            </a:r>
            <a:r>
              <a:rPr lang="fr-FR" dirty="0" err="1" smtClean="0">
                <a:solidFill>
                  <a:schemeClr val="bg1"/>
                </a:solidFill>
                <a:latin typeface="Bebas" pitchFamily="2" charset="0"/>
              </a:rPr>
              <a:t>IoT</a:t>
            </a:r>
            <a:endParaRPr lang="id-ID" dirty="0">
              <a:solidFill>
                <a:schemeClr val="bg1"/>
              </a:solidFill>
              <a:latin typeface="Bebas" pitchFamily="2" charset="0"/>
            </a:endParaRPr>
          </a:p>
        </p:txBody>
      </p:sp>
      <p:sp>
        <p:nvSpPr>
          <p:cNvPr id="6" name="Subtitle 4"/>
          <p:cNvSpPr txBox="1">
            <a:spLocks/>
          </p:cNvSpPr>
          <p:nvPr/>
        </p:nvSpPr>
        <p:spPr>
          <a:xfrm>
            <a:off x="3711026" y="2831659"/>
            <a:ext cx="4739483" cy="487837"/>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sz="2000" dirty="0" smtClean="0">
                <a:solidFill>
                  <a:schemeClr val="bg1"/>
                </a:solidFill>
                <a:latin typeface="Rockwell" panose="02060603020205020403" pitchFamily="18" charset="0"/>
              </a:rPr>
              <a:t>Aymeric </a:t>
            </a:r>
            <a:r>
              <a:rPr lang="fr-FR" sz="2000" smtClean="0">
                <a:solidFill>
                  <a:schemeClr val="bg1"/>
                </a:solidFill>
                <a:latin typeface="Rockwell" panose="02060603020205020403" pitchFamily="18" charset="0"/>
              </a:rPr>
              <a:t>Weinbach</a:t>
            </a:r>
            <a:endParaRPr lang="id-ID" sz="2000" dirty="0">
              <a:solidFill>
                <a:schemeClr val="bg1"/>
              </a:solidFill>
              <a:latin typeface="Rockwell" panose="02060603020205020403" pitchFamily="18" charset="0"/>
            </a:endParaRPr>
          </a:p>
        </p:txBody>
      </p:sp>
      <p:sp>
        <p:nvSpPr>
          <p:cNvPr id="113" name="Freeform 30"/>
          <p:cNvSpPr>
            <a:spLocks/>
          </p:cNvSpPr>
          <p:nvPr/>
        </p:nvSpPr>
        <p:spPr bwMode="auto">
          <a:xfrm>
            <a:off x="10292424" y="2977463"/>
            <a:ext cx="1076325" cy="608921"/>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30"/>
          <p:cNvSpPr>
            <a:spLocks/>
          </p:cNvSpPr>
          <p:nvPr/>
        </p:nvSpPr>
        <p:spPr bwMode="auto">
          <a:xfrm>
            <a:off x="372339" y="891137"/>
            <a:ext cx="751006" cy="424875"/>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8" name="Freeform 34"/>
          <p:cNvSpPr>
            <a:spLocks/>
          </p:cNvSpPr>
          <p:nvPr/>
        </p:nvSpPr>
        <p:spPr bwMode="auto">
          <a:xfrm>
            <a:off x="9977438" y="1103719"/>
            <a:ext cx="404813" cy="234950"/>
          </a:xfrm>
          <a:custGeom>
            <a:avLst/>
            <a:gdLst>
              <a:gd name="T0" fmla="*/ 92 w 107"/>
              <a:gd name="T1" fmla="*/ 26 h 62"/>
              <a:gd name="T2" fmla="*/ 89 w 107"/>
              <a:gd name="T3" fmla="*/ 26 h 62"/>
              <a:gd name="T4" fmla="*/ 67 w 107"/>
              <a:gd name="T5" fmla="*/ 9 h 62"/>
              <a:gd name="T6" fmla="*/ 53 w 107"/>
              <a:gd name="T7" fmla="*/ 14 h 62"/>
              <a:gd name="T8" fmla="*/ 37 w 107"/>
              <a:gd name="T9" fmla="*/ 0 h 62"/>
              <a:gd name="T10" fmla="*/ 22 w 107"/>
              <a:gd name="T11" fmla="*/ 15 h 62"/>
              <a:gd name="T12" fmla="*/ 22 w 107"/>
              <a:gd name="T13" fmla="*/ 16 h 62"/>
              <a:gd name="T14" fmla="*/ 18 w 107"/>
              <a:gd name="T15" fmla="*/ 15 h 62"/>
              <a:gd name="T16" fmla="*/ 0 w 107"/>
              <a:gd name="T17" fmla="*/ 34 h 62"/>
              <a:gd name="T18" fmla="*/ 18 w 107"/>
              <a:gd name="T19" fmla="*/ 53 h 62"/>
              <a:gd name="T20" fmla="*/ 27 w 107"/>
              <a:gd name="T21" fmla="*/ 51 h 62"/>
              <a:gd name="T22" fmla="*/ 44 w 107"/>
              <a:gd name="T23" fmla="*/ 62 h 62"/>
              <a:gd name="T24" fmla="*/ 60 w 107"/>
              <a:gd name="T25" fmla="*/ 54 h 62"/>
              <a:gd name="T26" fmla="*/ 67 w 107"/>
              <a:gd name="T27" fmla="*/ 55 h 62"/>
              <a:gd name="T28" fmla="*/ 80 w 107"/>
              <a:gd name="T29" fmla="*/ 51 h 62"/>
              <a:gd name="T30" fmla="*/ 92 w 107"/>
              <a:gd name="T31" fmla="*/ 56 h 62"/>
              <a:gd name="T32" fmla="*/ 107 w 107"/>
              <a:gd name="T33" fmla="*/ 41 h 62"/>
              <a:gd name="T34" fmla="*/ 92 w 107"/>
              <a:gd name="T35"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7" h="62">
                <a:moveTo>
                  <a:pt x="92" y="26"/>
                </a:moveTo>
                <a:cubicBezTo>
                  <a:pt x="91" y="26"/>
                  <a:pt x="90" y="26"/>
                  <a:pt x="89" y="26"/>
                </a:cubicBezTo>
                <a:cubicBezTo>
                  <a:pt x="87" y="16"/>
                  <a:pt x="78" y="9"/>
                  <a:pt x="67" y="9"/>
                </a:cubicBezTo>
                <a:cubicBezTo>
                  <a:pt x="62" y="9"/>
                  <a:pt x="57" y="11"/>
                  <a:pt x="53" y="14"/>
                </a:cubicBezTo>
                <a:cubicBezTo>
                  <a:pt x="52" y="6"/>
                  <a:pt x="45" y="0"/>
                  <a:pt x="37" y="0"/>
                </a:cubicBezTo>
                <a:cubicBezTo>
                  <a:pt x="29" y="0"/>
                  <a:pt x="22" y="7"/>
                  <a:pt x="22" y="15"/>
                </a:cubicBezTo>
                <a:cubicBezTo>
                  <a:pt x="22" y="16"/>
                  <a:pt x="22" y="16"/>
                  <a:pt x="22" y="16"/>
                </a:cubicBezTo>
                <a:cubicBezTo>
                  <a:pt x="21" y="16"/>
                  <a:pt x="20" y="15"/>
                  <a:pt x="18" y="15"/>
                </a:cubicBezTo>
                <a:cubicBezTo>
                  <a:pt x="8" y="15"/>
                  <a:pt x="0" y="24"/>
                  <a:pt x="0" y="34"/>
                </a:cubicBezTo>
                <a:cubicBezTo>
                  <a:pt x="0" y="45"/>
                  <a:pt x="8" y="53"/>
                  <a:pt x="18" y="53"/>
                </a:cubicBezTo>
                <a:cubicBezTo>
                  <a:pt x="22" y="53"/>
                  <a:pt x="25" y="52"/>
                  <a:pt x="27" y="51"/>
                </a:cubicBezTo>
                <a:cubicBezTo>
                  <a:pt x="30" y="58"/>
                  <a:pt x="36" y="62"/>
                  <a:pt x="44" y="62"/>
                </a:cubicBezTo>
                <a:cubicBezTo>
                  <a:pt x="51" y="62"/>
                  <a:pt x="57" y="59"/>
                  <a:pt x="60" y="54"/>
                </a:cubicBezTo>
                <a:cubicBezTo>
                  <a:pt x="62" y="54"/>
                  <a:pt x="65" y="55"/>
                  <a:pt x="67" y="55"/>
                </a:cubicBezTo>
                <a:cubicBezTo>
                  <a:pt x="72" y="55"/>
                  <a:pt x="76" y="53"/>
                  <a:pt x="80" y="51"/>
                </a:cubicBezTo>
                <a:cubicBezTo>
                  <a:pt x="83" y="54"/>
                  <a:pt x="87" y="56"/>
                  <a:pt x="92" y="56"/>
                </a:cubicBezTo>
                <a:cubicBezTo>
                  <a:pt x="100" y="56"/>
                  <a:pt x="107" y="50"/>
                  <a:pt x="107" y="41"/>
                </a:cubicBezTo>
                <a:cubicBezTo>
                  <a:pt x="107" y="33"/>
                  <a:pt x="100" y="26"/>
                  <a:pt x="92" y="26"/>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19" name="Freeform 35"/>
          <p:cNvSpPr>
            <a:spLocks/>
          </p:cNvSpPr>
          <p:nvPr/>
        </p:nvSpPr>
        <p:spPr bwMode="auto">
          <a:xfrm>
            <a:off x="10644982" y="487625"/>
            <a:ext cx="1046163" cy="61595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20" name="Freeform 35"/>
          <p:cNvSpPr>
            <a:spLocks/>
          </p:cNvSpPr>
          <p:nvPr/>
        </p:nvSpPr>
        <p:spPr bwMode="auto">
          <a:xfrm>
            <a:off x="831865" y="3909658"/>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1" name="Freeform 35"/>
          <p:cNvSpPr>
            <a:spLocks/>
          </p:cNvSpPr>
          <p:nvPr/>
        </p:nvSpPr>
        <p:spPr bwMode="auto">
          <a:xfrm>
            <a:off x="1857310" y="2313092"/>
            <a:ext cx="619918" cy="364989"/>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122" name="Freeform 30"/>
          <p:cNvSpPr>
            <a:spLocks/>
          </p:cNvSpPr>
          <p:nvPr/>
        </p:nvSpPr>
        <p:spPr bwMode="auto">
          <a:xfrm flipH="1">
            <a:off x="3076939" y="487625"/>
            <a:ext cx="647700" cy="366430"/>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Freeform 35"/>
          <p:cNvSpPr>
            <a:spLocks/>
          </p:cNvSpPr>
          <p:nvPr/>
        </p:nvSpPr>
        <p:spPr bwMode="auto">
          <a:xfrm>
            <a:off x="8629665" y="450285"/>
            <a:ext cx="582961" cy="343230"/>
          </a:xfrm>
          <a:custGeom>
            <a:avLst/>
            <a:gdLst>
              <a:gd name="T0" fmla="*/ 39 w 277"/>
              <a:gd name="T1" fmla="*/ 68 h 162"/>
              <a:gd name="T2" fmla="*/ 45 w 277"/>
              <a:gd name="T3" fmla="*/ 69 h 162"/>
              <a:gd name="T4" fmla="*/ 102 w 277"/>
              <a:gd name="T5" fmla="*/ 24 h 162"/>
              <a:gd name="T6" fmla="*/ 140 w 277"/>
              <a:gd name="T7" fmla="*/ 38 h 162"/>
              <a:gd name="T8" fmla="*/ 180 w 277"/>
              <a:gd name="T9" fmla="*/ 0 h 162"/>
              <a:gd name="T10" fmla="*/ 220 w 277"/>
              <a:gd name="T11" fmla="*/ 41 h 162"/>
              <a:gd name="T12" fmla="*/ 220 w 277"/>
              <a:gd name="T13" fmla="*/ 41 h 162"/>
              <a:gd name="T14" fmla="*/ 229 w 277"/>
              <a:gd name="T15" fmla="*/ 41 h 162"/>
              <a:gd name="T16" fmla="*/ 277 w 277"/>
              <a:gd name="T17" fmla="*/ 89 h 162"/>
              <a:gd name="T18" fmla="*/ 229 w 277"/>
              <a:gd name="T19" fmla="*/ 138 h 162"/>
              <a:gd name="T20" fmla="*/ 206 w 277"/>
              <a:gd name="T21" fmla="*/ 133 h 162"/>
              <a:gd name="T22" fmla="*/ 162 w 277"/>
              <a:gd name="T23" fmla="*/ 162 h 162"/>
              <a:gd name="T24" fmla="*/ 122 w 277"/>
              <a:gd name="T25" fmla="*/ 139 h 162"/>
              <a:gd name="T26" fmla="*/ 102 w 277"/>
              <a:gd name="T27" fmla="*/ 142 h 162"/>
              <a:gd name="T28" fmla="*/ 69 w 277"/>
              <a:gd name="T29" fmla="*/ 132 h 162"/>
              <a:gd name="T30" fmla="*/ 39 w 277"/>
              <a:gd name="T31" fmla="*/ 147 h 162"/>
              <a:gd name="T32" fmla="*/ 0 w 277"/>
              <a:gd name="T33" fmla="*/ 107 h 162"/>
              <a:gd name="T34" fmla="*/ 39 w 277"/>
              <a:gd name="T35" fmla="*/ 6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7" h="162">
                <a:moveTo>
                  <a:pt x="39" y="68"/>
                </a:moveTo>
                <a:cubicBezTo>
                  <a:pt x="41" y="68"/>
                  <a:pt x="43" y="68"/>
                  <a:pt x="45" y="69"/>
                </a:cubicBezTo>
                <a:cubicBezTo>
                  <a:pt x="52" y="43"/>
                  <a:pt x="75" y="24"/>
                  <a:pt x="102" y="24"/>
                </a:cubicBezTo>
                <a:cubicBezTo>
                  <a:pt x="117" y="24"/>
                  <a:pt x="130" y="29"/>
                  <a:pt x="140" y="38"/>
                </a:cubicBezTo>
                <a:cubicBezTo>
                  <a:pt x="141" y="17"/>
                  <a:pt x="159" y="0"/>
                  <a:pt x="180" y="0"/>
                </a:cubicBezTo>
                <a:cubicBezTo>
                  <a:pt x="202" y="0"/>
                  <a:pt x="220" y="18"/>
                  <a:pt x="220" y="41"/>
                </a:cubicBezTo>
                <a:cubicBezTo>
                  <a:pt x="220" y="41"/>
                  <a:pt x="220" y="41"/>
                  <a:pt x="220" y="41"/>
                </a:cubicBezTo>
                <a:cubicBezTo>
                  <a:pt x="223" y="41"/>
                  <a:pt x="226" y="41"/>
                  <a:pt x="229" y="41"/>
                </a:cubicBezTo>
                <a:cubicBezTo>
                  <a:pt x="255" y="41"/>
                  <a:pt x="277" y="63"/>
                  <a:pt x="277" y="89"/>
                </a:cubicBezTo>
                <a:cubicBezTo>
                  <a:pt x="277" y="116"/>
                  <a:pt x="255" y="138"/>
                  <a:pt x="229" y="138"/>
                </a:cubicBezTo>
                <a:cubicBezTo>
                  <a:pt x="220" y="138"/>
                  <a:pt x="213" y="136"/>
                  <a:pt x="206" y="133"/>
                </a:cubicBezTo>
                <a:cubicBezTo>
                  <a:pt x="199" y="150"/>
                  <a:pt x="182" y="162"/>
                  <a:pt x="162" y="162"/>
                </a:cubicBezTo>
                <a:cubicBezTo>
                  <a:pt x="145" y="162"/>
                  <a:pt x="130" y="153"/>
                  <a:pt x="122" y="139"/>
                </a:cubicBezTo>
                <a:cubicBezTo>
                  <a:pt x="116" y="141"/>
                  <a:pt x="109" y="142"/>
                  <a:pt x="102" y="142"/>
                </a:cubicBezTo>
                <a:cubicBezTo>
                  <a:pt x="90" y="142"/>
                  <a:pt x="79" y="139"/>
                  <a:pt x="69" y="132"/>
                </a:cubicBezTo>
                <a:cubicBezTo>
                  <a:pt x="62" y="141"/>
                  <a:pt x="51" y="147"/>
                  <a:pt x="39" y="147"/>
                </a:cubicBezTo>
                <a:cubicBezTo>
                  <a:pt x="17" y="147"/>
                  <a:pt x="0" y="129"/>
                  <a:pt x="0" y="107"/>
                </a:cubicBezTo>
                <a:cubicBezTo>
                  <a:pt x="0" y="86"/>
                  <a:pt x="17" y="68"/>
                  <a:pt x="39" y="68"/>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125" name="Freeform 30"/>
          <p:cNvSpPr>
            <a:spLocks/>
          </p:cNvSpPr>
          <p:nvPr/>
        </p:nvSpPr>
        <p:spPr bwMode="auto">
          <a:xfrm>
            <a:off x="5896371" y="793515"/>
            <a:ext cx="501989" cy="283996"/>
          </a:xfrm>
          <a:custGeom>
            <a:avLst/>
            <a:gdLst>
              <a:gd name="T0" fmla="*/ 954 w 1034"/>
              <a:gd name="T1" fmla="*/ 252 h 583"/>
              <a:gd name="T2" fmla="*/ 954 w 1034"/>
              <a:gd name="T3" fmla="*/ 249 h 583"/>
              <a:gd name="T4" fmla="*/ 815 w 1034"/>
              <a:gd name="T5" fmla="*/ 110 h 583"/>
              <a:gd name="T6" fmla="*/ 767 w 1034"/>
              <a:gd name="T7" fmla="*/ 119 h 583"/>
              <a:gd name="T8" fmla="*/ 578 w 1034"/>
              <a:gd name="T9" fmla="*/ 0 h 583"/>
              <a:gd name="T10" fmla="*/ 377 w 1034"/>
              <a:gd name="T11" fmla="*/ 152 h 583"/>
              <a:gd name="T12" fmla="*/ 301 w 1034"/>
              <a:gd name="T13" fmla="*/ 131 h 583"/>
              <a:gd name="T14" fmla="*/ 150 w 1034"/>
              <a:gd name="T15" fmla="*/ 282 h 583"/>
              <a:gd name="T16" fmla="*/ 0 w 1034"/>
              <a:gd name="T17" fmla="*/ 432 h 583"/>
              <a:gd name="T18" fmla="*/ 150 w 1034"/>
              <a:gd name="T19" fmla="*/ 583 h 583"/>
              <a:gd name="T20" fmla="*/ 853 w 1034"/>
              <a:gd name="T21" fmla="*/ 583 h 583"/>
              <a:gd name="T22" fmla="*/ 1034 w 1034"/>
              <a:gd name="T23" fmla="*/ 402 h 583"/>
              <a:gd name="T24" fmla="*/ 954 w 1034"/>
              <a:gd name="T25" fmla="*/ 252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4" h="583">
                <a:moveTo>
                  <a:pt x="954" y="252"/>
                </a:moveTo>
                <a:cubicBezTo>
                  <a:pt x="954" y="251"/>
                  <a:pt x="954" y="250"/>
                  <a:pt x="954" y="249"/>
                </a:cubicBezTo>
                <a:cubicBezTo>
                  <a:pt x="954" y="172"/>
                  <a:pt x="892" y="110"/>
                  <a:pt x="815" y="110"/>
                </a:cubicBezTo>
                <a:cubicBezTo>
                  <a:pt x="798" y="110"/>
                  <a:pt x="782" y="113"/>
                  <a:pt x="767" y="119"/>
                </a:cubicBezTo>
                <a:cubicBezTo>
                  <a:pt x="733" y="49"/>
                  <a:pt x="661" y="0"/>
                  <a:pt x="578" y="0"/>
                </a:cubicBezTo>
                <a:cubicBezTo>
                  <a:pt x="482" y="0"/>
                  <a:pt x="402" y="64"/>
                  <a:pt x="377" y="152"/>
                </a:cubicBezTo>
                <a:cubicBezTo>
                  <a:pt x="354" y="139"/>
                  <a:pt x="328" y="131"/>
                  <a:pt x="301" y="131"/>
                </a:cubicBezTo>
                <a:cubicBezTo>
                  <a:pt x="218" y="131"/>
                  <a:pt x="150" y="199"/>
                  <a:pt x="150" y="282"/>
                </a:cubicBezTo>
                <a:cubicBezTo>
                  <a:pt x="67" y="282"/>
                  <a:pt x="0" y="349"/>
                  <a:pt x="0" y="432"/>
                </a:cubicBezTo>
                <a:cubicBezTo>
                  <a:pt x="0" y="515"/>
                  <a:pt x="67" y="583"/>
                  <a:pt x="150" y="583"/>
                </a:cubicBezTo>
                <a:cubicBezTo>
                  <a:pt x="853" y="583"/>
                  <a:pt x="853" y="583"/>
                  <a:pt x="853" y="583"/>
                </a:cubicBezTo>
                <a:cubicBezTo>
                  <a:pt x="953" y="583"/>
                  <a:pt x="1034" y="502"/>
                  <a:pt x="1034" y="402"/>
                </a:cubicBezTo>
                <a:cubicBezTo>
                  <a:pt x="1034" y="339"/>
                  <a:pt x="1002" y="284"/>
                  <a:pt x="954" y="252"/>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pic>
        <p:nvPicPr>
          <p:cNvPr id="2" name="Imag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40796" y="3909658"/>
            <a:ext cx="3337078" cy="2641096"/>
          </a:xfrm>
          <a:prstGeom prst="rect">
            <a:avLst/>
          </a:prstGeom>
        </p:spPr>
      </p:pic>
      <p:sp>
        <p:nvSpPr>
          <p:cNvPr id="3" name="ZoneTexte 2"/>
          <p:cNvSpPr txBox="1"/>
          <p:nvPr/>
        </p:nvSpPr>
        <p:spPr>
          <a:xfrm>
            <a:off x="4421530" y="4024132"/>
            <a:ext cx="1420582" cy="369332"/>
          </a:xfrm>
          <a:prstGeom prst="rect">
            <a:avLst/>
          </a:prstGeom>
          <a:noFill/>
        </p:spPr>
        <p:txBody>
          <a:bodyPr wrap="none" rtlCol="0">
            <a:spAutoFit/>
          </a:bodyPr>
          <a:lstStyle/>
          <a:p>
            <a:r>
              <a:rPr lang="fr-FR" dirty="0" smtClean="0">
                <a:latin typeface="Bebas"/>
              </a:rPr>
              <a:t>DEVCON #3</a:t>
            </a:r>
            <a:endParaRPr lang="fr-FR" dirty="0">
              <a:latin typeface="Bebas"/>
            </a:endParaRPr>
          </a:p>
        </p:txBody>
      </p:sp>
    </p:spTree>
    <p:extLst>
      <p:ext uri="{BB962C8B-B14F-4D97-AF65-F5344CB8AC3E}">
        <p14:creationId xmlns:p14="http://schemas.microsoft.com/office/powerpoint/2010/main" val="1791208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anim calcmode="lin" valueType="num">
                                      <p:cBhvr>
                                        <p:cTn id="10" dur="500" fill="hold"/>
                                        <p:tgtEl>
                                          <p:spTgt spid="4"/>
                                        </p:tgtEl>
                                        <p:attrNameLst>
                                          <p:attrName>ppt_x</p:attrName>
                                        </p:attrNameLst>
                                      </p:cBhvr>
                                      <p:tavLst>
                                        <p:tav tm="0">
                                          <p:val>
                                            <p:fltVal val="0.5"/>
                                          </p:val>
                                        </p:tav>
                                        <p:tav tm="100000">
                                          <p:val>
                                            <p:strVal val="#ppt_x"/>
                                          </p:val>
                                        </p:tav>
                                      </p:tavLst>
                                    </p:anim>
                                    <p:anim calcmode="lin" valueType="num">
                                      <p:cBhvr>
                                        <p:cTn id="11" dur="500" fill="hold"/>
                                        <p:tgtEl>
                                          <p:spTgt spid="4"/>
                                        </p:tgtEl>
                                        <p:attrNameLst>
                                          <p:attrName>ppt_y</p:attrName>
                                        </p:attrNameLst>
                                      </p:cBhvr>
                                      <p:tavLst>
                                        <p:tav tm="0">
                                          <p:val>
                                            <p:fltVal val="0.5"/>
                                          </p:val>
                                        </p:tav>
                                        <p:tav tm="100000">
                                          <p:val>
                                            <p:strVal val="#ppt_y"/>
                                          </p:val>
                                        </p:tav>
                                      </p:tavLst>
                                    </p:anim>
                                  </p:childTnLst>
                                </p:cTn>
                              </p:par>
                            </p:childTnLst>
                          </p:cTn>
                        </p:par>
                        <p:par>
                          <p:cTn id="12" fill="hold">
                            <p:stCondLst>
                              <p:cond delay="500"/>
                            </p:stCondLst>
                            <p:childTnLst>
                              <p:par>
                                <p:cTn id="13" presetID="16" presetClass="entr" presetSubtype="37"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barn(outVertical)">
                                      <p:cBhvr>
                                        <p:cTn id="15" dur="500"/>
                                        <p:tgtEl>
                                          <p:spTgt spid="13"/>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par>
                          <p:cTn id="20" fill="hold">
                            <p:stCondLst>
                              <p:cond delay="1500"/>
                            </p:stCondLst>
                            <p:childTnLst>
                              <p:par>
                                <p:cTn id="21" presetID="53" presetClass="entr" presetSubtype="528" fill="hold" grpId="0" nodeType="afterEffect">
                                  <p:stCondLst>
                                    <p:cond delay="0"/>
                                  </p:stCondLst>
                                  <p:childTnLst>
                                    <p:set>
                                      <p:cBhvr>
                                        <p:cTn id="22" dur="1" fill="hold">
                                          <p:stCondLst>
                                            <p:cond delay="0"/>
                                          </p:stCondLst>
                                        </p:cTn>
                                        <p:tgtEl>
                                          <p:spTgt spid="120"/>
                                        </p:tgtEl>
                                        <p:attrNameLst>
                                          <p:attrName>style.visibility</p:attrName>
                                        </p:attrNameLst>
                                      </p:cBhvr>
                                      <p:to>
                                        <p:strVal val="visible"/>
                                      </p:to>
                                    </p:set>
                                    <p:anim calcmode="lin" valueType="num">
                                      <p:cBhvr>
                                        <p:cTn id="23" dur="500" fill="hold"/>
                                        <p:tgtEl>
                                          <p:spTgt spid="120"/>
                                        </p:tgtEl>
                                        <p:attrNameLst>
                                          <p:attrName>ppt_w</p:attrName>
                                        </p:attrNameLst>
                                      </p:cBhvr>
                                      <p:tavLst>
                                        <p:tav tm="0">
                                          <p:val>
                                            <p:fltVal val="0"/>
                                          </p:val>
                                        </p:tav>
                                        <p:tav tm="100000">
                                          <p:val>
                                            <p:strVal val="#ppt_w"/>
                                          </p:val>
                                        </p:tav>
                                      </p:tavLst>
                                    </p:anim>
                                    <p:anim calcmode="lin" valueType="num">
                                      <p:cBhvr>
                                        <p:cTn id="24" dur="500" fill="hold"/>
                                        <p:tgtEl>
                                          <p:spTgt spid="120"/>
                                        </p:tgtEl>
                                        <p:attrNameLst>
                                          <p:attrName>ppt_h</p:attrName>
                                        </p:attrNameLst>
                                      </p:cBhvr>
                                      <p:tavLst>
                                        <p:tav tm="0">
                                          <p:val>
                                            <p:fltVal val="0"/>
                                          </p:val>
                                        </p:tav>
                                        <p:tav tm="100000">
                                          <p:val>
                                            <p:strVal val="#ppt_h"/>
                                          </p:val>
                                        </p:tav>
                                      </p:tavLst>
                                    </p:anim>
                                    <p:animEffect transition="in" filter="fade">
                                      <p:cBhvr>
                                        <p:cTn id="25" dur="500"/>
                                        <p:tgtEl>
                                          <p:spTgt spid="120"/>
                                        </p:tgtEl>
                                      </p:cBhvr>
                                    </p:animEffect>
                                    <p:anim calcmode="lin" valueType="num">
                                      <p:cBhvr>
                                        <p:cTn id="26" dur="500" fill="hold"/>
                                        <p:tgtEl>
                                          <p:spTgt spid="120"/>
                                        </p:tgtEl>
                                        <p:attrNameLst>
                                          <p:attrName>ppt_x</p:attrName>
                                        </p:attrNameLst>
                                      </p:cBhvr>
                                      <p:tavLst>
                                        <p:tav tm="0">
                                          <p:val>
                                            <p:fltVal val="0.5"/>
                                          </p:val>
                                        </p:tav>
                                        <p:tav tm="100000">
                                          <p:val>
                                            <p:strVal val="#ppt_x"/>
                                          </p:val>
                                        </p:tav>
                                      </p:tavLst>
                                    </p:anim>
                                    <p:anim calcmode="lin" valueType="num">
                                      <p:cBhvr>
                                        <p:cTn id="27" dur="500" fill="hold"/>
                                        <p:tgtEl>
                                          <p:spTgt spid="120"/>
                                        </p:tgtEl>
                                        <p:attrNameLst>
                                          <p:attrName>ppt_y</p:attrName>
                                        </p:attrNameLst>
                                      </p:cBhvr>
                                      <p:tavLst>
                                        <p:tav tm="0">
                                          <p:val>
                                            <p:fltVal val="0.5"/>
                                          </p:val>
                                        </p:tav>
                                        <p:tav tm="100000">
                                          <p:val>
                                            <p:strVal val="#ppt_y"/>
                                          </p:val>
                                        </p:tav>
                                      </p:tavLst>
                                    </p:anim>
                                  </p:childTnLst>
                                </p:cTn>
                              </p:par>
                              <p:par>
                                <p:cTn id="28" presetID="53" presetClass="entr" presetSubtype="528" fill="hold" grpId="0" nodeType="withEffect">
                                  <p:stCondLst>
                                    <p:cond delay="0"/>
                                  </p:stCondLst>
                                  <p:childTnLst>
                                    <p:set>
                                      <p:cBhvr>
                                        <p:cTn id="29" dur="1" fill="hold">
                                          <p:stCondLst>
                                            <p:cond delay="0"/>
                                          </p:stCondLst>
                                        </p:cTn>
                                        <p:tgtEl>
                                          <p:spTgt spid="121"/>
                                        </p:tgtEl>
                                        <p:attrNameLst>
                                          <p:attrName>style.visibility</p:attrName>
                                        </p:attrNameLst>
                                      </p:cBhvr>
                                      <p:to>
                                        <p:strVal val="visible"/>
                                      </p:to>
                                    </p:set>
                                    <p:anim calcmode="lin" valueType="num">
                                      <p:cBhvr>
                                        <p:cTn id="30" dur="500" fill="hold"/>
                                        <p:tgtEl>
                                          <p:spTgt spid="121"/>
                                        </p:tgtEl>
                                        <p:attrNameLst>
                                          <p:attrName>ppt_w</p:attrName>
                                        </p:attrNameLst>
                                      </p:cBhvr>
                                      <p:tavLst>
                                        <p:tav tm="0">
                                          <p:val>
                                            <p:fltVal val="0"/>
                                          </p:val>
                                        </p:tav>
                                        <p:tav tm="100000">
                                          <p:val>
                                            <p:strVal val="#ppt_w"/>
                                          </p:val>
                                        </p:tav>
                                      </p:tavLst>
                                    </p:anim>
                                    <p:anim calcmode="lin" valueType="num">
                                      <p:cBhvr>
                                        <p:cTn id="31" dur="500" fill="hold"/>
                                        <p:tgtEl>
                                          <p:spTgt spid="121"/>
                                        </p:tgtEl>
                                        <p:attrNameLst>
                                          <p:attrName>ppt_h</p:attrName>
                                        </p:attrNameLst>
                                      </p:cBhvr>
                                      <p:tavLst>
                                        <p:tav tm="0">
                                          <p:val>
                                            <p:fltVal val="0"/>
                                          </p:val>
                                        </p:tav>
                                        <p:tav tm="100000">
                                          <p:val>
                                            <p:strVal val="#ppt_h"/>
                                          </p:val>
                                        </p:tav>
                                      </p:tavLst>
                                    </p:anim>
                                    <p:animEffect transition="in" filter="fade">
                                      <p:cBhvr>
                                        <p:cTn id="32" dur="500"/>
                                        <p:tgtEl>
                                          <p:spTgt spid="121"/>
                                        </p:tgtEl>
                                      </p:cBhvr>
                                    </p:animEffect>
                                    <p:anim calcmode="lin" valueType="num">
                                      <p:cBhvr>
                                        <p:cTn id="33" dur="500" fill="hold"/>
                                        <p:tgtEl>
                                          <p:spTgt spid="121"/>
                                        </p:tgtEl>
                                        <p:attrNameLst>
                                          <p:attrName>ppt_x</p:attrName>
                                        </p:attrNameLst>
                                      </p:cBhvr>
                                      <p:tavLst>
                                        <p:tav tm="0">
                                          <p:val>
                                            <p:fltVal val="0.5"/>
                                          </p:val>
                                        </p:tav>
                                        <p:tav tm="100000">
                                          <p:val>
                                            <p:strVal val="#ppt_x"/>
                                          </p:val>
                                        </p:tav>
                                      </p:tavLst>
                                    </p:anim>
                                    <p:anim calcmode="lin" valueType="num">
                                      <p:cBhvr>
                                        <p:cTn id="34" dur="500" fill="hold"/>
                                        <p:tgtEl>
                                          <p:spTgt spid="121"/>
                                        </p:tgtEl>
                                        <p:attrNameLst>
                                          <p:attrName>ppt_y</p:attrName>
                                        </p:attrNameLst>
                                      </p:cBhvr>
                                      <p:tavLst>
                                        <p:tav tm="0">
                                          <p:val>
                                            <p:fltVal val="0.5"/>
                                          </p:val>
                                        </p:tav>
                                        <p:tav tm="100000">
                                          <p:val>
                                            <p:strVal val="#ppt_y"/>
                                          </p:val>
                                        </p:tav>
                                      </p:tavLst>
                                    </p:anim>
                                  </p:childTnLst>
                                </p:cTn>
                              </p:par>
                              <p:par>
                                <p:cTn id="35" presetID="53" presetClass="entr" presetSubtype="528" fill="hold" grpId="0" nodeType="withEffect">
                                  <p:stCondLst>
                                    <p:cond delay="0"/>
                                  </p:stCondLst>
                                  <p:childTnLst>
                                    <p:set>
                                      <p:cBhvr>
                                        <p:cTn id="36" dur="1" fill="hold">
                                          <p:stCondLst>
                                            <p:cond delay="0"/>
                                          </p:stCondLst>
                                        </p:cTn>
                                        <p:tgtEl>
                                          <p:spTgt spid="114"/>
                                        </p:tgtEl>
                                        <p:attrNameLst>
                                          <p:attrName>style.visibility</p:attrName>
                                        </p:attrNameLst>
                                      </p:cBhvr>
                                      <p:to>
                                        <p:strVal val="visible"/>
                                      </p:to>
                                    </p:set>
                                    <p:anim calcmode="lin" valueType="num">
                                      <p:cBhvr>
                                        <p:cTn id="37" dur="500" fill="hold"/>
                                        <p:tgtEl>
                                          <p:spTgt spid="114"/>
                                        </p:tgtEl>
                                        <p:attrNameLst>
                                          <p:attrName>ppt_w</p:attrName>
                                        </p:attrNameLst>
                                      </p:cBhvr>
                                      <p:tavLst>
                                        <p:tav tm="0">
                                          <p:val>
                                            <p:fltVal val="0"/>
                                          </p:val>
                                        </p:tav>
                                        <p:tav tm="100000">
                                          <p:val>
                                            <p:strVal val="#ppt_w"/>
                                          </p:val>
                                        </p:tav>
                                      </p:tavLst>
                                    </p:anim>
                                    <p:anim calcmode="lin" valueType="num">
                                      <p:cBhvr>
                                        <p:cTn id="38" dur="500" fill="hold"/>
                                        <p:tgtEl>
                                          <p:spTgt spid="114"/>
                                        </p:tgtEl>
                                        <p:attrNameLst>
                                          <p:attrName>ppt_h</p:attrName>
                                        </p:attrNameLst>
                                      </p:cBhvr>
                                      <p:tavLst>
                                        <p:tav tm="0">
                                          <p:val>
                                            <p:fltVal val="0"/>
                                          </p:val>
                                        </p:tav>
                                        <p:tav tm="100000">
                                          <p:val>
                                            <p:strVal val="#ppt_h"/>
                                          </p:val>
                                        </p:tav>
                                      </p:tavLst>
                                    </p:anim>
                                    <p:animEffect transition="in" filter="fade">
                                      <p:cBhvr>
                                        <p:cTn id="39" dur="500"/>
                                        <p:tgtEl>
                                          <p:spTgt spid="114"/>
                                        </p:tgtEl>
                                      </p:cBhvr>
                                    </p:animEffect>
                                    <p:anim calcmode="lin" valueType="num">
                                      <p:cBhvr>
                                        <p:cTn id="40" dur="500" fill="hold"/>
                                        <p:tgtEl>
                                          <p:spTgt spid="114"/>
                                        </p:tgtEl>
                                        <p:attrNameLst>
                                          <p:attrName>ppt_x</p:attrName>
                                        </p:attrNameLst>
                                      </p:cBhvr>
                                      <p:tavLst>
                                        <p:tav tm="0">
                                          <p:val>
                                            <p:fltVal val="0.5"/>
                                          </p:val>
                                        </p:tav>
                                        <p:tav tm="100000">
                                          <p:val>
                                            <p:strVal val="#ppt_x"/>
                                          </p:val>
                                        </p:tav>
                                      </p:tavLst>
                                    </p:anim>
                                    <p:anim calcmode="lin" valueType="num">
                                      <p:cBhvr>
                                        <p:cTn id="41" dur="500" fill="hold"/>
                                        <p:tgtEl>
                                          <p:spTgt spid="114"/>
                                        </p:tgtEl>
                                        <p:attrNameLst>
                                          <p:attrName>ppt_y</p:attrName>
                                        </p:attrNameLst>
                                      </p:cBhvr>
                                      <p:tavLst>
                                        <p:tav tm="0">
                                          <p:val>
                                            <p:fltVal val="0.5"/>
                                          </p:val>
                                        </p:tav>
                                        <p:tav tm="100000">
                                          <p:val>
                                            <p:strVal val="#ppt_y"/>
                                          </p:val>
                                        </p:tav>
                                      </p:tavLst>
                                    </p:anim>
                                  </p:childTnLst>
                                </p:cTn>
                              </p:par>
                              <p:par>
                                <p:cTn id="42" presetID="53" presetClass="entr" presetSubtype="528" fill="hold" grpId="0" nodeType="withEffect">
                                  <p:stCondLst>
                                    <p:cond delay="0"/>
                                  </p:stCondLst>
                                  <p:childTnLst>
                                    <p:set>
                                      <p:cBhvr>
                                        <p:cTn id="43" dur="1" fill="hold">
                                          <p:stCondLst>
                                            <p:cond delay="0"/>
                                          </p:stCondLst>
                                        </p:cTn>
                                        <p:tgtEl>
                                          <p:spTgt spid="122"/>
                                        </p:tgtEl>
                                        <p:attrNameLst>
                                          <p:attrName>style.visibility</p:attrName>
                                        </p:attrNameLst>
                                      </p:cBhvr>
                                      <p:to>
                                        <p:strVal val="visible"/>
                                      </p:to>
                                    </p:set>
                                    <p:anim calcmode="lin" valueType="num">
                                      <p:cBhvr>
                                        <p:cTn id="44" dur="500" fill="hold"/>
                                        <p:tgtEl>
                                          <p:spTgt spid="122"/>
                                        </p:tgtEl>
                                        <p:attrNameLst>
                                          <p:attrName>ppt_w</p:attrName>
                                        </p:attrNameLst>
                                      </p:cBhvr>
                                      <p:tavLst>
                                        <p:tav tm="0">
                                          <p:val>
                                            <p:fltVal val="0"/>
                                          </p:val>
                                        </p:tav>
                                        <p:tav tm="100000">
                                          <p:val>
                                            <p:strVal val="#ppt_w"/>
                                          </p:val>
                                        </p:tav>
                                      </p:tavLst>
                                    </p:anim>
                                    <p:anim calcmode="lin" valueType="num">
                                      <p:cBhvr>
                                        <p:cTn id="45" dur="500" fill="hold"/>
                                        <p:tgtEl>
                                          <p:spTgt spid="122"/>
                                        </p:tgtEl>
                                        <p:attrNameLst>
                                          <p:attrName>ppt_h</p:attrName>
                                        </p:attrNameLst>
                                      </p:cBhvr>
                                      <p:tavLst>
                                        <p:tav tm="0">
                                          <p:val>
                                            <p:fltVal val="0"/>
                                          </p:val>
                                        </p:tav>
                                        <p:tav tm="100000">
                                          <p:val>
                                            <p:strVal val="#ppt_h"/>
                                          </p:val>
                                        </p:tav>
                                      </p:tavLst>
                                    </p:anim>
                                    <p:animEffect transition="in" filter="fade">
                                      <p:cBhvr>
                                        <p:cTn id="46" dur="500"/>
                                        <p:tgtEl>
                                          <p:spTgt spid="122"/>
                                        </p:tgtEl>
                                      </p:cBhvr>
                                    </p:animEffect>
                                    <p:anim calcmode="lin" valueType="num">
                                      <p:cBhvr>
                                        <p:cTn id="47" dur="500" fill="hold"/>
                                        <p:tgtEl>
                                          <p:spTgt spid="122"/>
                                        </p:tgtEl>
                                        <p:attrNameLst>
                                          <p:attrName>ppt_x</p:attrName>
                                        </p:attrNameLst>
                                      </p:cBhvr>
                                      <p:tavLst>
                                        <p:tav tm="0">
                                          <p:val>
                                            <p:fltVal val="0.5"/>
                                          </p:val>
                                        </p:tav>
                                        <p:tav tm="100000">
                                          <p:val>
                                            <p:strVal val="#ppt_x"/>
                                          </p:val>
                                        </p:tav>
                                      </p:tavLst>
                                    </p:anim>
                                    <p:anim calcmode="lin" valueType="num">
                                      <p:cBhvr>
                                        <p:cTn id="48" dur="500" fill="hold"/>
                                        <p:tgtEl>
                                          <p:spTgt spid="122"/>
                                        </p:tgtEl>
                                        <p:attrNameLst>
                                          <p:attrName>ppt_y</p:attrName>
                                        </p:attrNameLst>
                                      </p:cBhvr>
                                      <p:tavLst>
                                        <p:tav tm="0">
                                          <p:val>
                                            <p:fltVal val="0.5"/>
                                          </p:val>
                                        </p:tav>
                                        <p:tav tm="100000">
                                          <p:val>
                                            <p:strVal val="#ppt_y"/>
                                          </p:val>
                                        </p:tav>
                                      </p:tavLst>
                                    </p:anim>
                                  </p:childTnLst>
                                </p:cTn>
                              </p:par>
                              <p:par>
                                <p:cTn id="49" presetID="53" presetClass="entr" presetSubtype="528" fill="hold" grpId="0" nodeType="withEffect">
                                  <p:stCondLst>
                                    <p:cond delay="0"/>
                                  </p:stCondLst>
                                  <p:childTnLst>
                                    <p:set>
                                      <p:cBhvr>
                                        <p:cTn id="50" dur="1" fill="hold">
                                          <p:stCondLst>
                                            <p:cond delay="0"/>
                                          </p:stCondLst>
                                        </p:cTn>
                                        <p:tgtEl>
                                          <p:spTgt spid="125"/>
                                        </p:tgtEl>
                                        <p:attrNameLst>
                                          <p:attrName>style.visibility</p:attrName>
                                        </p:attrNameLst>
                                      </p:cBhvr>
                                      <p:to>
                                        <p:strVal val="visible"/>
                                      </p:to>
                                    </p:set>
                                    <p:anim calcmode="lin" valueType="num">
                                      <p:cBhvr>
                                        <p:cTn id="51" dur="500" fill="hold"/>
                                        <p:tgtEl>
                                          <p:spTgt spid="125"/>
                                        </p:tgtEl>
                                        <p:attrNameLst>
                                          <p:attrName>ppt_w</p:attrName>
                                        </p:attrNameLst>
                                      </p:cBhvr>
                                      <p:tavLst>
                                        <p:tav tm="0">
                                          <p:val>
                                            <p:fltVal val="0"/>
                                          </p:val>
                                        </p:tav>
                                        <p:tav tm="100000">
                                          <p:val>
                                            <p:strVal val="#ppt_w"/>
                                          </p:val>
                                        </p:tav>
                                      </p:tavLst>
                                    </p:anim>
                                    <p:anim calcmode="lin" valueType="num">
                                      <p:cBhvr>
                                        <p:cTn id="52" dur="500" fill="hold"/>
                                        <p:tgtEl>
                                          <p:spTgt spid="125"/>
                                        </p:tgtEl>
                                        <p:attrNameLst>
                                          <p:attrName>ppt_h</p:attrName>
                                        </p:attrNameLst>
                                      </p:cBhvr>
                                      <p:tavLst>
                                        <p:tav tm="0">
                                          <p:val>
                                            <p:fltVal val="0"/>
                                          </p:val>
                                        </p:tav>
                                        <p:tav tm="100000">
                                          <p:val>
                                            <p:strVal val="#ppt_h"/>
                                          </p:val>
                                        </p:tav>
                                      </p:tavLst>
                                    </p:anim>
                                    <p:animEffect transition="in" filter="fade">
                                      <p:cBhvr>
                                        <p:cTn id="53" dur="500"/>
                                        <p:tgtEl>
                                          <p:spTgt spid="125"/>
                                        </p:tgtEl>
                                      </p:cBhvr>
                                    </p:animEffect>
                                    <p:anim calcmode="lin" valueType="num">
                                      <p:cBhvr>
                                        <p:cTn id="54" dur="500" fill="hold"/>
                                        <p:tgtEl>
                                          <p:spTgt spid="125"/>
                                        </p:tgtEl>
                                        <p:attrNameLst>
                                          <p:attrName>ppt_x</p:attrName>
                                        </p:attrNameLst>
                                      </p:cBhvr>
                                      <p:tavLst>
                                        <p:tav tm="0">
                                          <p:val>
                                            <p:fltVal val="0.5"/>
                                          </p:val>
                                        </p:tav>
                                        <p:tav tm="100000">
                                          <p:val>
                                            <p:strVal val="#ppt_x"/>
                                          </p:val>
                                        </p:tav>
                                      </p:tavLst>
                                    </p:anim>
                                    <p:anim calcmode="lin" valueType="num">
                                      <p:cBhvr>
                                        <p:cTn id="55" dur="500" fill="hold"/>
                                        <p:tgtEl>
                                          <p:spTgt spid="125"/>
                                        </p:tgtEl>
                                        <p:attrNameLst>
                                          <p:attrName>ppt_y</p:attrName>
                                        </p:attrNameLst>
                                      </p:cBhvr>
                                      <p:tavLst>
                                        <p:tav tm="0">
                                          <p:val>
                                            <p:fltVal val="0.5"/>
                                          </p:val>
                                        </p:tav>
                                        <p:tav tm="100000">
                                          <p:val>
                                            <p:strVal val="#ppt_y"/>
                                          </p:val>
                                        </p:tav>
                                      </p:tavLst>
                                    </p:anim>
                                  </p:childTnLst>
                                </p:cTn>
                              </p:par>
                              <p:par>
                                <p:cTn id="56" presetID="53" presetClass="entr" presetSubtype="528" fill="hold" grpId="0" nodeType="withEffect">
                                  <p:stCondLst>
                                    <p:cond delay="0"/>
                                  </p:stCondLst>
                                  <p:childTnLst>
                                    <p:set>
                                      <p:cBhvr>
                                        <p:cTn id="57" dur="1" fill="hold">
                                          <p:stCondLst>
                                            <p:cond delay="0"/>
                                          </p:stCondLst>
                                        </p:cTn>
                                        <p:tgtEl>
                                          <p:spTgt spid="124"/>
                                        </p:tgtEl>
                                        <p:attrNameLst>
                                          <p:attrName>style.visibility</p:attrName>
                                        </p:attrNameLst>
                                      </p:cBhvr>
                                      <p:to>
                                        <p:strVal val="visible"/>
                                      </p:to>
                                    </p:set>
                                    <p:anim calcmode="lin" valueType="num">
                                      <p:cBhvr>
                                        <p:cTn id="58" dur="500" fill="hold"/>
                                        <p:tgtEl>
                                          <p:spTgt spid="124"/>
                                        </p:tgtEl>
                                        <p:attrNameLst>
                                          <p:attrName>ppt_w</p:attrName>
                                        </p:attrNameLst>
                                      </p:cBhvr>
                                      <p:tavLst>
                                        <p:tav tm="0">
                                          <p:val>
                                            <p:fltVal val="0"/>
                                          </p:val>
                                        </p:tav>
                                        <p:tav tm="100000">
                                          <p:val>
                                            <p:strVal val="#ppt_w"/>
                                          </p:val>
                                        </p:tav>
                                      </p:tavLst>
                                    </p:anim>
                                    <p:anim calcmode="lin" valueType="num">
                                      <p:cBhvr>
                                        <p:cTn id="59" dur="500" fill="hold"/>
                                        <p:tgtEl>
                                          <p:spTgt spid="124"/>
                                        </p:tgtEl>
                                        <p:attrNameLst>
                                          <p:attrName>ppt_h</p:attrName>
                                        </p:attrNameLst>
                                      </p:cBhvr>
                                      <p:tavLst>
                                        <p:tav tm="0">
                                          <p:val>
                                            <p:fltVal val="0"/>
                                          </p:val>
                                        </p:tav>
                                        <p:tav tm="100000">
                                          <p:val>
                                            <p:strVal val="#ppt_h"/>
                                          </p:val>
                                        </p:tav>
                                      </p:tavLst>
                                    </p:anim>
                                    <p:animEffect transition="in" filter="fade">
                                      <p:cBhvr>
                                        <p:cTn id="60" dur="500"/>
                                        <p:tgtEl>
                                          <p:spTgt spid="124"/>
                                        </p:tgtEl>
                                      </p:cBhvr>
                                    </p:animEffect>
                                    <p:anim calcmode="lin" valueType="num">
                                      <p:cBhvr>
                                        <p:cTn id="61" dur="500" fill="hold"/>
                                        <p:tgtEl>
                                          <p:spTgt spid="124"/>
                                        </p:tgtEl>
                                        <p:attrNameLst>
                                          <p:attrName>ppt_x</p:attrName>
                                        </p:attrNameLst>
                                      </p:cBhvr>
                                      <p:tavLst>
                                        <p:tav tm="0">
                                          <p:val>
                                            <p:fltVal val="0.5"/>
                                          </p:val>
                                        </p:tav>
                                        <p:tav tm="100000">
                                          <p:val>
                                            <p:strVal val="#ppt_x"/>
                                          </p:val>
                                        </p:tav>
                                      </p:tavLst>
                                    </p:anim>
                                    <p:anim calcmode="lin" valueType="num">
                                      <p:cBhvr>
                                        <p:cTn id="62" dur="500" fill="hold"/>
                                        <p:tgtEl>
                                          <p:spTgt spid="124"/>
                                        </p:tgtEl>
                                        <p:attrNameLst>
                                          <p:attrName>ppt_y</p:attrName>
                                        </p:attrNameLst>
                                      </p:cBhvr>
                                      <p:tavLst>
                                        <p:tav tm="0">
                                          <p:val>
                                            <p:fltVal val="0.5"/>
                                          </p:val>
                                        </p:tav>
                                        <p:tav tm="100000">
                                          <p:val>
                                            <p:strVal val="#ppt_y"/>
                                          </p:val>
                                        </p:tav>
                                      </p:tavLst>
                                    </p:anim>
                                  </p:childTnLst>
                                </p:cTn>
                              </p:par>
                              <p:par>
                                <p:cTn id="63" presetID="53" presetClass="entr" presetSubtype="528" fill="hold" grpId="0" nodeType="withEffect">
                                  <p:stCondLst>
                                    <p:cond delay="0"/>
                                  </p:stCondLst>
                                  <p:childTnLst>
                                    <p:set>
                                      <p:cBhvr>
                                        <p:cTn id="64" dur="1" fill="hold">
                                          <p:stCondLst>
                                            <p:cond delay="0"/>
                                          </p:stCondLst>
                                        </p:cTn>
                                        <p:tgtEl>
                                          <p:spTgt spid="113"/>
                                        </p:tgtEl>
                                        <p:attrNameLst>
                                          <p:attrName>style.visibility</p:attrName>
                                        </p:attrNameLst>
                                      </p:cBhvr>
                                      <p:to>
                                        <p:strVal val="visible"/>
                                      </p:to>
                                    </p:set>
                                    <p:anim calcmode="lin" valueType="num">
                                      <p:cBhvr>
                                        <p:cTn id="65" dur="500" fill="hold"/>
                                        <p:tgtEl>
                                          <p:spTgt spid="113"/>
                                        </p:tgtEl>
                                        <p:attrNameLst>
                                          <p:attrName>ppt_w</p:attrName>
                                        </p:attrNameLst>
                                      </p:cBhvr>
                                      <p:tavLst>
                                        <p:tav tm="0">
                                          <p:val>
                                            <p:fltVal val="0"/>
                                          </p:val>
                                        </p:tav>
                                        <p:tav tm="100000">
                                          <p:val>
                                            <p:strVal val="#ppt_w"/>
                                          </p:val>
                                        </p:tav>
                                      </p:tavLst>
                                    </p:anim>
                                    <p:anim calcmode="lin" valueType="num">
                                      <p:cBhvr>
                                        <p:cTn id="66" dur="500" fill="hold"/>
                                        <p:tgtEl>
                                          <p:spTgt spid="113"/>
                                        </p:tgtEl>
                                        <p:attrNameLst>
                                          <p:attrName>ppt_h</p:attrName>
                                        </p:attrNameLst>
                                      </p:cBhvr>
                                      <p:tavLst>
                                        <p:tav tm="0">
                                          <p:val>
                                            <p:fltVal val="0"/>
                                          </p:val>
                                        </p:tav>
                                        <p:tav tm="100000">
                                          <p:val>
                                            <p:strVal val="#ppt_h"/>
                                          </p:val>
                                        </p:tav>
                                      </p:tavLst>
                                    </p:anim>
                                    <p:animEffect transition="in" filter="fade">
                                      <p:cBhvr>
                                        <p:cTn id="67" dur="500"/>
                                        <p:tgtEl>
                                          <p:spTgt spid="113"/>
                                        </p:tgtEl>
                                      </p:cBhvr>
                                    </p:animEffect>
                                    <p:anim calcmode="lin" valueType="num">
                                      <p:cBhvr>
                                        <p:cTn id="68" dur="500" fill="hold"/>
                                        <p:tgtEl>
                                          <p:spTgt spid="113"/>
                                        </p:tgtEl>
                                        <p:attrNameLst>
                                          <p:attrName>ppt_x</p:attrName>
                                        </p:attrNameLst>
                                      </p:cBhvr>
                                      <p:tavLst>
                                        <p:tav tm="0">
                                          <p:val>
                                            <p:fltVal val="0.5"/>
                                          </p:val>
                                        </p:tav>
                                        <p:tav tm="100000">
                                          <p:val>
                                            <p:strVal val="#ppt_x"/>
                                          </p:val>
                                        </p:tav>
                                      </p:tavLst>
                                    </p:anim>
                                    <p:anim calcmode="lin" valueType="num">
                                      <p:cBhvr>
                                        <p:cTn id="69" dur="500" fill="hold"/>
                                        <p:tgtEl>
                                          <p:spTgt spid="113"/>
                                        </p:tgtEl>
                                        <p:attrNameLst>
                                          <p:attrName>ppt_y</p:attrName>
                                        </p:attrNameLst>
                                      </p:cBhvr>
                                      <p:tavLst>
                                        <p:tav tm="0">
                                          <p:val>
                                            <p:fltVal val="0.5"/>
                                          </p:val>
                                        </p:tav>
                                        <p:tav tm="100000">
                                          <p:val>
                                            <p:strVal val="#ppt_y"/>
                                          </p:val>
                                        </p:tav>
                                      </p:tavLst>
                                    </p:anim>
                                  </p:childTnLst>
                                </p:cTn>
                              </p:par>
                              <p:par>
                                <p:cTn id="70" presetID="53" presetClass="entr" presetSubtype="528" fill="hold" grpId="0" nodeType="withEffect">
                                  <p:stCondLst>
                                    <p:cond delay="0"/>
                                  </p:stCondLst>
                                  <p:childTnLst>
                                    <p:set>
                                      <p:cBhvr>
                                        <p:cTn id="71" dur="1" fill="hold">
                                          <p:stCondLst>
                                            <p:cond delay="0"/>
                                          </p:stCondLst>
                                        </p:cTn>
                                        <p:tgtEl>
                                          <p:spTgt spid="118"/>
                                        </p:tgtEl>
                                        <p:attrNameLst>
                                          <p:attrName>style.visibility</p:attrName>
                                        </p:attrNameLst>
                                      </p:cBhvr>
                                      <p:to>
                                        <p:strVal val="visible"/>
                                      </p:to>
                                    </p:set>
                                    <p:anim calcmode="lin" valueType="num">
                                      <p:cBhvr>
                                        <p:cTn id="72" dur="500" fill="hold"/>
                                        <p:tgtEl>
                                          <p:spTgt spid="118"/>
                                        </p:tgtEl>
                                        <p:attrNameLst>
                                          <p:attrName>ppt_w</p:attrName>
                                        </p:attrNameLst>
                                      </p:cBhvr>
                                      <p:tavLst>
                                        <p:tav tm="0">
                                          <p:val>
                                            <p:fltVal val="0"/>
                                          </p:val>
                                        </p:tav>
                                        <p:tav tm="100000">
                                          <p:val>
                                            <p:strVal val="#ppt_w"/>
                                          </p:val>
                                        </p:tav>
                                      </p:tavLst>
                                    </p:anim>
                                    <p:anim calcmode="lin" valueType="num">
                                      <p:cBhvr>
                                        <p:cTn id="73" dur="500" fill="hold"/>
                                        <p:tgtEl>
                                          <p:spTgt spid="118"/>
                                        </p:tgtEl>
                                        <p:attrNameLst>
                                          <p:attrName>ppt_h</p:attrName>
                                        </p:attrNameLst>
                                      </p:cBhvr>
                                      <p:tavLst>
                                        <p:tav tm="0">
                                          <p:val>
                                            <p:fltVal val="0"/>
                                          </p:val>
                                        </p:tav>
                                        <p:tav tm="100000">
                                          <p:val>
                                            <p:strVal val="#ppt_h"/>
                                          </p:val>
                                        </p:tav>
                                      </p:tavLst>
                                    </p:anim>
                                    <p:animEffect transition="in" filter="fade">
                                      <p:cBhvr>
                                        <p:cTn id="74" dur="500"/>
                                        <p:tgtEl>
                                          <p:spTgt spid="118"/>
                                        </p:tgtEl>
                                      </p:cBhvr>
                                    </p:animEffect>
                                    <p:anim calcmode="lin" valueType="num">
                                      <p:cBhvr>
                                        <p:cTn id="75" dur="500" fill="hold"/>
                                        <p:tgtEl>
                                          <p:spTgt spid="118"/>
                                        </p:tgtEl>
                                        <p:attrNameLst>
                                          <p:attrName>ppt_x</p:attrName>
                                        </p:attrNameLst>
                                      </p:cBhvr>
                                      <p:tavLst>
                                        <p:tav tm="0">
                                          <p:val>
                                            <p:fltVal val="0.5"/>
                                          </p:val>
                                        </p:tav>
                                        <p:tav tm="100000">
                                          <p:val>
                                            <p:strVal val="#ppt_x"/>
                                          </p:val>
                                        </p:tav>
                                      </p:tavLst>
                                    </p:anim>
                                    <p:anim calcmode="lin" valueType="num">
                                      <p:cBhvr>
                                        <p:cTn id="76" dur="500" fill="hold"/>
                                        <p:tgtEl>
                                          <p:spTgt spid="118"/>
                                        </p:tgtEl>
                                        <p:attrNameLst>
                                          <p:attrName>ppt_y</p:attrName>
                                        </p:attrNameLst>
                                      </p:cBhvr>
                                      <p:tavLst>
                                        <p:tav tm="0">
                                          <p:val>
                                            <p:fltVal val="0.5"/>
                                          </p:val>
                                        </p:tav>
                                        <p:tav tm="100000">
                                          <p:val>
                                            <p:strVal val="#ppt_y"/>
                                          </p:val>
                                        </p:tav>
                                      </p:tavLst>
                                    </p:anim>
                                  </p:childTnLst>
                                </p:cTn>
                              </p:par>
                              <p:par>
                                <p:cTn id="77" presetID="53" presetClass="entr" presetSubtype="528" fill="hold" grpId="0" nodeType="withEffect">
                                  <p:stCondLst>
                                    <p:cond delay="0"/>
                                  </p:stCondLst>
                                  <p:childTnLst>
                                    <p:set>
                                      <p:cBhvr>
                                        <p:cTn id="78" dur="1" fill="hold">
                                          <p:stCondLst>
                                            <p:cond delay="0"/>
                                          </p:stCondLst>
                                        </p:cTn>
                                        <p:tgtEl>
                                          <p:spTgt spid="119"/>
                                        </p:tgtEl>
                                        <p:attrNameLst>
                                          <p:attrName>style.visibility</p:attrName>
                                        </p:attrNameLst>
                                      </p:cBhvr>
                                      <p:to>
                                        <p:strVal val="visible"/>
                                      </p:to>
                                    </p:set>
                                    <p:anim calcmode="lin" valueType="num">
                                      <p:cBhvr>
                                        <p:cTn id="79" dur="500" fill="hold"/>
                                        <p:tgtEl>
                                          <p:spTgt spid="119"/>
                                        </p:tgtEl>
                                        <p:attrNameLst>
                                          <p:attrName>ppt_w</p:attrName>
                                        </p:attrNameLst>
                                      </p:cBhvr>
                                      <p:tavLst>
                                        <p:tav tm="0">
                                          <p:val>
                                            <p:fltVal val="0"/>
                                          </p:val>
                                        </p:tav>
                                        <p:tav tm="100000">
                                          <p:val>
                                            <p:strVal val="#ppt_w"/>
                                          </p:val>
                                        </p:tav>
                                      </p:tavLst>
                                    </p:anim>
                                    <p:anim calcmode="lin" valueType="num">
                                      <p:cBhvr>
                                        <p:cTn id="80" dur="500" fill="hold"/>
                                        <p:tgtEl>
                                          <p:spTgt spid="119"/>
                                        </p:tgtEl>
                                        <p:attrNameLst>
                                          <p:attrName>ppt_h</p:attrName>
                                        </p:attrNameLst>
                                      </p:cBhvr>
                                      <p:tavLst>
                                        <p:tav tm="0">
                                          <p:val>
                                            <p:fltVal val="0"/>
                                          </p:val>
                                        </p:tav>
                                        <p:tav tm="100000">
                                          <p:val>
                                            <p:strVal val="#ppt_h"/>
                                          </p:val>
                                        </p:tav>
                                      </p:tavLst>
                                    </p:anim>
                                    <p:animEffect transition="in" filter="fade">
                                      <p:cBhvr>
                                        <p:cTn id="81" dur="500"/>
                                        <p:tgtEl>
                                          <p:spTgt spid="119"/>
                                        </p:tgtEl>
                                      </p:cBhvr>
                                    </p:animEffect>
                                    <p:anim calcmode="lin" valueType="num">
                                      <p:cBhvr>
                                        <p:cTn id="82" dur="500" fill="hold"/>
                                        <p:tgtEl>
                                          <p:spTgt spid="119"/>
                                        </p:tgtEl>
                                        <p:attrNameLst>
                                          <p:attrName>ppt_x</p:attrName>
                                        </p:attrNameLst>
                                      </p:cBhvr>
                                      <p:tavLst>
                                        <p:tav tm="0">
                                          <p:val>
                                            <p:fltVal val="0.5"/>
                                          </p:val>
                                        </p:tav>
                                        <p:tav tm="100000">
                                          <p:val>
                                            <p:strVal val="#ppt_x"/>
                                          </p:val>
                                        </p:tav>
                                      </p:tavLst>
                                    </p:anim>
                                    <p:anim calcmode="lin" valueType="num">
                                      <p:cBhvr>
                                        <p:cTn id="83" dur="500" fill="hold"/>
                                        <p:tgtEl>
                                          <p:spTgt spid="119"/>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113" grpId="0" animBg="1"/>
      <p:bldP spid="114" grpId="0" animBg="1"/>
      <p:bldP spid="118" grpId="0" animBg="1"/>
      <p:bldP spid="119" grpId="0" animBg="1"/>
      <p:bldP spid="120" grpId="0" animBg="1"/>
      <p:bldP spid="121" grpId="0" animBg="1"/>
      <p:bldP spid="122" grpId="0" animBg="1"/>
      <p:bldP spid="124" grpId="0" animBg="1"/>
      <p:bldP spid="12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1610056" y="686490"/>
            <a:ext cx="10515600" cy="911682"/>
          </a:xfrm>
        </p:spPr>
        <p:txBody>
          <a:bodyPr>
            <a:normAutofit fontScale="90000"/>
          </a:bodyPr>
          <a:lstStyle/>
          <a:p>
            <a:r>
              <a:rPr lang="fr-FR" dirty="0" smtClean="0"/>
              <a:t>imprimante </a:t>
            </a:r>
            <a:r>
              <a:rPr lang="fr-FR" dirty="0"/>
              <a:t>3D</a:t>
            </a:r>
            <a:br>
              <a:rPr lang="fr-FR" dirty="0"/>
            </a:br>
            <a:endParaRPr lang="fr-FR" dirty="0"/>
          </a:p>
        </p:txBody>
      </p:sp>
      <p:sp>
        <p:nvSpPr>
          <p:cNvPr id="5" name="Espace réservé du texte 4"/>
          <p:cNvSpPr>
            <a:spLocks noGrp="1"/>
          </p:cNvSpPr>
          <p:nvPr>
            <p:ph type="body" sz="quarter" idx="13"/>
          </p:nvPr>
        </p:nvSpPr>
        <p:spPr/>
        <p:txBody>
          <a:bodyPr/>
          <a:lstStyle/>
          <a:p>
            <a:endParaRPr lang="fr-FR"/>
          </a:p>
        </p:txBody>
      </p:sp>
      <p:pic>
        <p:nvPicPr>
          <p:cNvPr id="4" name="Image 3"/>
          <p:cNvPicPr>
            <a:picLocks noChangeAspect="1"/>
          </p:cNvPicPr>
          <p:nvPr/>
        </p:nvPicPr>
        <p:blipFill rotWithShape="1">
          <a:blip r:embed="rId2">
            <a:extLst>
              <a:ext uri="{28A0092B-C50C-407E-A947-70E740481C1C}">
                <a14:useLocalDpi xmlns:a14="http://schemas.microsoft.com/office/drawing/2010/main" val="0"/>
              </a:ext>
            </a:extLst>
          </a:blip>
          <a:srcRect l="7350" t="16155"/>
          <a:stretch/>
        </p:blipFill>
        <p:spPr>
          <a:xfrm>
            <a:off x="961653" y="1481038"/>
            <a:ext cx="4422463" cy="5337655"/>
          </a:xfrm>
          <a:prstGeom prst="rect">
            <a:avLst/>
          </a:prstGeom>
          <a:ln>
            <a:noFill/>
          </a:ln>
          <a:effectLst>
            <a:softEdge rad="112500"/>
          </a:effectLst>
        </p:spPr>
      </p:pic>
      <p:sp>
        <p:nvSpPr>
          <p:cNvPr id="6" name="Right Arrow 3"/>
          <p:cNvSpPr/>
          <p:nvPr/>
        </p:nvSpPr>
        <p:spPr>
          <a:xfrm>
            <a:off x="5858197" y="3497262"/>
            <a:ext cx="360040" cy="79208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7" name="Image 6"/>
          <p:cNvPicPr>
            <a:picLocks noChangeAspect="1"/>
          </p:cNvPicPr>
          <p:nvPr/>
        </p:nvPicPr>
        <p:blipFill rotWithShape="1">
          <a:blip r:embed="rId3" cstate="print">
            <a:extLst>
              <a:ext uri="{28A0092B-C50C-407E-A947-70E740481C1C}">
                <a14:useLocalDpi xmlns:a14="http://schemas.microsoft.com/office/drawing/2010/main" val="0"/>
              </a:ext>
            </a:extLst>
          </a:blip>
          <a:srcRect l="8956" t="21824" r="19398" b="36207"/>
          <a:stretch/>
        </p:blipFill>
        <p:spPr>
          <a:xfrm>
            <a:off x="9607479" y="4315920"/>
            <a:ext cx="2736304" cy="2137738"/>
          </a:xfrm>
          <a:prstGeom prst="rect">
            <a:avLst/>
          </a:prstGeom>
        </p:spPr>
      </p:pic>
      <p:pic>
        <p:nvPicPr>
          <p:cNvPr id="8" name="Image 7"/>
          <p:cNvPicPr>
            <a:picLocks noChangeAspect="1"/>
          </p:cNvPicPr>
          <p:nvPr/>
        </p:nvPicPr>
        <p:blipFill rotWithShape="1">
          <a:blip r:embed="rId4">
            <a:extLst>
              <a:ext uri="{28A0092B-C50C-407E-A947-70E740481C1C}">
                <a14:useLocalDpi xmlns:a14="http://schemas.microsoft.com/office/drawing/2010/main" val="0"/>
              </a:ext>
            </a:extLst>
          </a:blip>
          <a:srcRect t="17951" b="16977"/>
          <a:stretch/>
        </p:blipFill>
        <p:spPr>
          <a:xfrm flipH="1">
            <a:off x="6248922" y="616942"/>
            <a:ext cx="2873749" cy="2494508"/>
          </a:xfrm>
          <a:prstGeom prst="rect">
            <a:avLst/>
          </a:prstGeom>
        </p:spPr>
      </p:pic>
      <p:pic>
        <p:nvPicPr>
          <p:cNvPr id="9" name="Image 8"/>
          <p:cNvPicPr>
            <a:picLocks noChangeAspect="1"/>
          </p:cNvPicPr>
          <p:nvPr/>
        </p:nvPicPr>
        <p:blipFill rotWithShape="1">
          <a:blip r:embed="rId5">
            <a:extLst>
              <a:ext uri="{28A0092B-C50C-407E-A947-70E740481C1C}">
                <a14:useLocalDpi xmlns:a14="http://schemas.microsoft.com/office/drawing/2010/main" val="0"/>
              </a:ext>
            </a:extLst>
          </a:blip>
          <a:srcRect l="18635" t="22076"/>
          <a:stretch/>
        </p:blipFill>
        <p:spPr>
          <a:xfrm>
            <a:off x="9607479" y="442760"/>
            <a:ext cx="2543297" cy="3249148"/>
          </a:xfrm>
          <a:prstGeom prst="rect">
            <a:avLst/>
          </a:prstGeom>
        </p:spPr>
      </p:pic>
      <p:pic>
        <p:nvPicPr>
          <p:cNvPr id="10" name="Imag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38217" y="4793406"/>
            <a:ext cx="1573642" cy="2099162"/>
          </a:xfrm>
          <a:prstGeom prst="rect">
            <a:avLst/>
          </a:prstGeom>
        </p:spPr>
      </p:pic>
      <p:pic>
        <p:nvPicPr>
          <p:cNvPr id="11" name="Image 10"/>
          <p:cNvPicPr>
            <a:picLocks noChangeAspect="1"/>
          </p:cNvPicPr>
          <p:nvPr/>
        </p:nvPicPr>
        <p:blipFill rotWithShape="1">
          <a:blip r:embed="rId7">
            <a:extLst>
              <a:ext uri="{28A0092B-C50C-407E-A947-70E740481C1C}">
                <a14:useLocalDpi xmlns:a14="http://schemas.microsoft.com/office/drawing/2010/main" val="0"/>
              </a:ext>
            </a:extLst>
          </a:blip>
          <a:srcRect l="47254" t="47941" r="12921"/>
          <a:stretch/>
        </p:blipFill>
        <p:spPr>
          <a:xfrm>
            <a:off x="7806406" y="3380279"/>
            <a:ext cx="1491845" cy="2601351"/>
          </a:xfrm>
          <a:prstGeom prst="rect">
            <a:avLst/>
          </a:prstGeom>
        </p:spPr>
      </p:pic>
    </p:spTree>
    <p:extLst>
      <p:ext uri="{BB962C8B-B14F-4D97-AF65-F5344CB8AC3E}">
        <p14:creationId xmlns:p14="http://schemas.microsoft.com/office/powerpoint/2010/main" val="21829593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texte 2"/>
          <p:cNvSpPr>
            <a:spLocks noGrp="1"/>
          </p:cNvSpPr>
          <p:nvPr>
            <p:ph type="body" sz="quarter" idx="13"/>
          </p:nvPr>
        </p:nvSpPr>
        <p:spPr/>
        <p:txBody>
          <a:bodyPr/>
          <a:lstStyle/>
          <a:p>
            <a:endParaRPr lang="fr-FR"/>
          </a:p>
        </p:txBody>
      </p:sp>
      <p:sp>
        <p:nvSpPr>
          <p:cNvPr id="4" name="Espace réservé pour une image  3"/>
          <p:cNvSpPr>
            <a:spLocks noGrp="1"/>
          </p:cNvSpPr>
          <p:nvPr>
            <p:ph type="pic" sz="quarter" idx="17"/>
          </p:nvPr>
        </p:nvSpPr>
        <p:spPr/>
      </p:sp>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7468" y="1028246"/>
            <a:ext cx="9433367" cy="5302780"/>
          </a:xfrm>
          <a:prstGeom prst="rect">
            <a:avLst/>
          </a:prstGeom>
        </p:spPr>
      </p:pic>
    </p:spTree>
    <p:extLst>
      <p:ext uri="{BB962C8B-B14F-4D97-AF65-F5344CB8AC3E}">
        <p14:creationId xmlns:p14="http://schemas.microsoft.com/office/powerpoint/2010/main" val="41484928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Objectif Robot connecté et intelligent </a:t>
            </a:r>
            <a:endParaRPr lang="fr-FR" dirty="0"/>
          </a:p>
        </p:txBody>
      </p:sp>
      <p:sp>
        <p:nvSpPr>
          <p:cNvPr id="3" name="Espace réservé du texte 2"/>
          <p:cNvSpPr>
            <a:spLocks noGrp="1"/>
          </p:cNvSpPr>
          <p:nvPr>
            <p:ph type="body" sz="quarter" idx="13"/>
          </p:nvPr>
        </p:nvSpPr>
        <p:spPr/>
        <p:txBody>
          <a:bodyPr/>
          <a:lstStyle/>
          <a:p>
            <a:endParaRPr lang="fr-FR"/>
          </a:p>
        </p:txBody>
      </p:sp>
      <p:pic>
        <p:nvPicPr>
          <p:cNvPr id="5" name="Espace réservé du contenu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2731" y="1765449"/>
            <a:ext cx="7202883" cy="4801921"/>
          </a:xfrm>
          <a:prstGeom prst="rect">
            <a:avLst/>
          </a:prstGeom>
        </p:spPr>
      </p:pic>
    </p:spTree>
    <p:extLst>
      <p:ext uri="{BB962C8B-B14F-4D97-AF65-F5344CB8AC3E}">
        <p14:creationId xmlns:p14="http://schemas.microsoft.com/office/powerpoint/2010/main" val="14474886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Espace réservé du texte 2"/>
          <p:cNvSpPr>
            <a:spLocks noGrp="1"/>
          </p:cNvSpPr>
          <p:nvPr>
            <p:ph type="body" sz="quarter" idx="13"/>
          </p:nvPr>
        </p:nvSpPr>
        <p:spPr/>
        <p:txBody>
          <a:bodyPr/>
          <a:lstStyle/>
          <a:p>
            <a:endParaRPr lang="fr-FR"/>
          </a:p>
        </p:txBody>
      </p:sp>
      <p:pic>
        <p:nvPicPr>
          <p:cNvPr id="5" name="Imag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3575" y="665987"/>
            <a:ext cx="8156448" cy="5435508"/>
          </a:xfrm>
          <a:prstGeom prst="rect">
            <a:avLst/>
          </a:prstGeom>
        </p:spPr>
      </p:pic>
    </p:spTree>
    <p:extLst>
      <p:ext uri="{BB962C8B-B14F-4D97-AF65-F5344CB8AC3E}">
        <p14:creationId xmlns:p14="http://schemas.microsoft.com/office/powerpoint/2010/main" val="12459454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ocial Robot</a:t>
            </a:r>
            <a:endParaRPr lang="fr-FR" dirty="0"/>
          </a:p>
        </p:txBody>
      </p:sp>
      <p:sp>
        <p:nvSpPr>
          <p:cNvPr id="3" name="Espace réservé du texte 2"/>
          <p:cNvSpPr>
            <a:spLocks noGrp="1"/>
          </p:cNvSpPr>
          <p:nvPr>
            <p:ph type="body" sz="quarter" idx="13"/>
          </p:nvPr>
        </p:nvSpPr>
        <p:spPr/>
        <p:txBody>
          <a:bodyPr/>
          <a:lstStyle/>
          <a:p>
            <a:endParaRPr lang="fr-FR"/>
          </a:p>
        </p:txBody>
      </p:sp>
      <p:pic>
        <p:nvPicPr>
          <p:cNvPr id="5" name="Espace réservé pour une image  4"/>
          <p:cNvPicPr>
            <a:picLocks noGrp="1" noChangeAspect="1"/>
          </p:cNvPicPr>
          <p:nvPr>
            <p:ph type="pic" sz="quarter" idx="17"/>
          </p:nvPr>
        </p:nvPicPr>
        <p:blipFill>
          <a:blip r:embed="rId2" cstate="print">
            <a:extLst>
              <a:ext uri="{28A0092B-C50C-407E-A947-70E740481C1C}">
                <a14:useLocalDpi xmlns:a14="http://schemas.microsoft.com/office/drawing/2010/main" val="0"/>
              </a:ext>
            </a:extLst>
          </a:blip>
          <a:srcRect l="21875" r="21875"/>
          <a:stretch>
            <a:fillRect/>
          </a:stretch>
        </p:blipFill>
        <p:spPr>
          <a:xfrm>
            <a:off x="4752350" y="1708687"/>
            <a:ext cx="2168529" cy="2168529"/>
          </a:xfrm>
        </p:spPr>
      </p:pic>
      <p:pic>
        <p:nvPicPr>
          <p:cNvPr id="6" name="Imag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869" y="3553096"/>
            <a:ext cx="4014871" cy="2790335"/>
          </a:xfrm>
          <a:prstGeom prst="rect">
            <a:avLst/>
          </a:prstGeom>
        </p:spPr>
      </p:pic>
      <p:pic>
        <p:nvPicPr>
          <p:cNvPr id="7" name="Imag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46126" y="2105135"/>
            <a:ext cx="4690001" cy="4690001"/>
          </a:xfrm>
          <a:prstGeom prst="rect">
            <a:avLst/>
          </a:prstGeom>
        </p:spPr>
      </p:pic>
    </p:spTree>
    <p:extLst>
      <p:ext uri="{BB962C8B-B14F-4D97-AF65-F5344CB8AC3E}">
        <p14:creationId xmlns:p14="http://schemas.microsoft.com/office/powerpoint/2010/main" val="28088207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10" name="Rectangle 9"/>
          <p:cNvSpPr/>
          <p:nvPr/>
        </p:nvSpPr>
        <p:spPr>
          <a:xfrm>
            <a:off x="-4401" y="0"/>
            <a:ext cx="12192000" cy="6858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30" name="Group 29"/>
          <p:cNvGrpSpPr/>
          <p:nvPr/>
        </p:nvGrpSpPr>
        <p:grpSpPr>
          <a:xfrm>
            <a:off x="6349" y="0"/>
            <a:ext cx="12181249" cy="6858000"/>
            <a:chOff x="6350" y="0"/>
            <a:chExt cx="7194550" cy="3600450"/>
          </a:xfrm>
          <a:gradFill>
            <a:gsLst>
              <a:gs pos="100000">
                <a:schemeClr val="bg1">
                  <a:alpha val="15000"/>
                </a:schemeClr>
              </a:gs>
              <a:gs pos="0">
                <a:schemeClr val="bg1">
                  <a:alpha val="0"/>
                </a:schemeClr>
              </a:gs>
            </a:gsLst>
            <a:path path="circle">
              <a:fillToRect l="50000" t="50000" r="50000" b="50000"/>
            </a:path>
          </a:gradFill>
        </p:grpSpPr>
        <p:sp>
          <p:nvSpPr>
            <p:cNvPr id="31"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0" name="Freeform 5"/>
          <p:cNvSpPr>
            <a:spLocks/>
          </p:cNvSpPr>
          <p:nvPr/>
        </p:nvSpPr>
        <p:spPr bwMode="auto">
          <a:xfrm>
            <a:off x="2566358" y="3692525"/>
            <a:ext cx="1012825" cy="617537"/>
          </a:xfrm>
          <a:custGeom>
            <a:avLst/>
            <a:gdLst>
              <a:gd name="T0" fmla="*/ 229 w 410"/>
              <a:gd name="T1" fmla="*/ 0 h 250"/>
              <a:gd name="T2" fmla="*/ 163 w 410"/>
              <a:gd name="T3" fmla="*/ 34 h 250"/>
              <a:gd name="T4" fmla="*/ 133 w 410"/>
              <a:gd name="T5" fmla="*/ 28 h 250"/>
              <a:gd name="T6" fmla="*/ 95 w 410"/>
              <a:gd name="T7" fmla="*/ 42 h 250"/>
              <a:gd name="T8" fmla="*/ 72 w 410"/>
              <a:gd name="T9" fmla="*/ 92 h 250"/>
              <a:gd name="T10" fmla="*/ 65 w 410"/>
              <a:gd name="T11" fmla="*/ 92 h 250"/>
              <a:gd name="T12" fmla="*/ 12 w 410"/>
              <a:gd name="T13" fmla="*/ 115 h 250"/>
              <a:gd name="T14" fmla="*/ 10 w 410"/>
              <a:gd name="T15" fmla="*/ 169 h 250"/>
              <a:gd name="T16" fmla="*/ 48 w 410"/>
              <a:gd name="T17" fmla="*/ 197 h 250"/>
              <a:gd name="T18" fmla="*/ 82 w 410"/>
              <a:gd name="T19" fmla="*/ 216 h 250"/>
              <a:gd name="T20" fmla="*/ 100 w 410"/>
              <a:gd name="T21" fmla="*/ 213 h 250"/>
              <a:gd name="T22" fmla="*/ 160 w 410"/>
              <a:gd name="T23" fmla="*/ 250 h 250"/>
              <a:gd name="T24" fmla="*/ 173 w 410"/>
              <a:gd name="T25" fmla="*/ 249 h 250"/>
              <a:gd name="T26" fmla="*/ 228 w 410"/>
              <a:gd name="T27" fmla="*/ 217 h 250"/>
              <a:gd name="T28" fmla="*/ 272 w 410"/>
              <a:gd name="T29" fmla="*/ 238 h 250"/>
              <a:gd name="T30" fmla="*/ 282 w 410"/>
              <a:gd name="T31" fmla="*/ 237 h 250"/>
              <a:gd name="T32" fmla="*/ 321 w 410"/>
              <a:gd name="T33" fmla="*/ 201 h 250"/>
              <a:gd name="T34" fmla="*/ 342 w 410"/>
              <a:gd name="T35" fmla="*/ 203 h 250"/>
              <a:gd name="T36" fmla="*/ 400 w 410"/>
              <a:gd name="T37" fmla="*/ 172 h 250"/>
              <a:gd name="T38" fmla="*/ 398 w 410"/>
              <a:gd name="T39" fmla="*/ 111 h 250"/>
              <a:gd name="T40" fmla="*/ 357 w 410"/>
              <a:gd name="T41" fmla="*/ 84 h 250"/>
              <a:gd name="T42" fmla="*/ 352 w 410"/>
              <a:gd name="T43" fmla="*/ 84 h 250"/>
              <a:gd name="T44" fmla="*/ 313 w 410"/>
              <a:gd name="T45" fmla="*/ 55 h 250"/>
              <a:gd name="T46" fmla="*/ 301 w 410"/>
              <a:gd name="T47" fmla="*/ 57 h 250"/>
              <a:gd name="T48" fmla="*/ 233 w 410"/>
              <a:gd name="T49" fmla="*/ 0 h 250"/>
              <a:gd name="T50" fmla="*/ 229 w 410"/>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0" h="250">
                <a:moveTo>
                  <a:pt x="229" y="0"/>
                </a:moveTo>
                <a:cubicBezTo>
                  <a:pt x="185" y="0"/>
                  <a:pt x="168" y="25"/>
                  <a:pt x="163" y="34"/>
                </a:cubicBezTo>
                <a:cubicBezTo>
                  <a:pt x="158" y="32"/>
                  <a:pt x="146" y="28"/>
                  <a:pt x="133" y="28"/>
                </a:cubicBezTo>
                <a:cubicBezTo>
                  <a:pt x="118" y="28"/>
                  <a:pt x="105" y="33"/>
                  <a:pt x="95" y="42"/>
                </a:cubicBezTo>
                <a:cubicBezTo>
                  <a:pt x="72" y="63"/>
                  <a:pt x="71" y="84"/>
                  <a:pt x="72" y="92"/>
                </a:cubicBezTo>
                <a:cubicBezTo>
                  <a:pt x="70" y="92"/>
                  <a:pt x="68" y="92"/>
                  <a:pt x="65" y="92"/>
                </a:cubicBezTo>
                <a:cubicBezTo>
                  <a:pt x="52" y="92"/>
                  <a:pt x="27" y="95"/>
                  <a:pt x="12" y="115"/>
                </a:cubicBezTo>
                <a:cubicBezTo>
                  <a:pt x="1" y="130"/>
                  <a:pt x="0" y="150"/>
                  <a:pt x="10" y="169"/>
                </a:cubicBezTo>
                <a:cubicBezTo>
                  <a:pt x="18" y="186"/>
                  <a:pt x="33" y="197"/>
                  <a:pt x="48" y="197"/>
                </a:cubicBezTo>
                <a:cubicBezTo>
                  <a:pt x="51" y="202"/>
                  <a:pt x="61" y="216"/>
                  <a:pt x="82" y="216"/>
                </a:cubicBezTo>
                <a:cubicBezTo>
                  <a:pt x="88" y="216"/>
                  <a:pt x="94" y="215"/>
                  <a:pt x="100" y="213"/>
                </a:cubicBezTo>
                <a:cubicBezTo>
                  <a:pt x="105" y="222"/>
                  <a:pt x="121" y="250"/>
                  <a:pt x="160" y="250"/>
                </a:cubicBezTo>
                <a:cubicBezTo>
                  <a:pt x="164" y="250"/>
                  <a:pt x="169" y="249"/>
                  <a:pt x="173" y="249"/>
                </a:cubicBezTo>
                <a:cubicBezTo>
                  <a:pt x="213" y="243"/>
                  <a:pt x="225" y="226"/>
                  <a:pt x="228" y="217"/>
                </a:cubicBezTo>
                <a:cubicBezTo>
                  <a:pt x="235" y="225"/>
                  <a:pt x="250" y="238"/>
                  <a:pt x="272" y="238"/>
                </a:cubicBezTo>
                <a:cubicBezTo>
                  <a:pt x="276" y="238"/>
                  <a:pt x="279" y="238"/>
                  <a:pt x="282" y="237"/>
                </a:cubicBezTo>
                <a:cubicBezTo>
                  <a:pt x="312" y="232"/>
                  <a:pt x="319" y="209"/>
                  <a:pt x="321" y="201"/>
                </a:cubicBezTo>
                <a:cubicBezTo>
                  <a:pt x="325" y="202"/>
                  <a:pt x="333" y="203"/>
                  <a:pt x="342" y="203"/>
                </a:cubicBezTo>
                <a:cubicBezTo>
                  <a:pt x="361" y="203"/>
                  <a:pt x="385" y="198"/>
                  <a:pt x="400" y="172"/>
                </a:cubicBezTo>
                <a:cubicBezTo>
                  <a:pt x="410" y="153"/>
                  <a:pt x="410" y="130"/>
                  <a:pt x="398" y="111"/>
                </a:cubicBezTo>
                <a:cubicBezTo>
                  <a:pt x="389" y="94"/>
                  <a:pt x="373" y="84"/>
                  <a:pt x="357" y="84"/>
                </a:cubicBezTo>
                <a:cubicBezTo>
                  <a:pt x="355" y="84"/>
                  <a:pt x="354" y="84"/>
                  <a:pt x="352" y="84"/>
                </a:cubicBezTo>
                <a:cubicBezTo>
                  <a:pt x="350" y="77"/>
                  <a:pt x="341" y="55"/>
                  <a:pt x="313" y="55"/>
                </a:cubicBezTo>
                <a:cubicBezTo>
                  <a:pt x="309" y="55"/>
                  <a:pt x="305" y="56"/>
                  <a:pt x="301" y="57"/>
                </a:cubicBezTo>
                <a:cubicBezTo>
                  <a:pt x="299" y="44"/>
                  <a:pt x="287" y="1"/>
                  <a:pt x="233" y="0"/>
                </a:cubicBezTo>
                <a:cubicBezTo>
                  <a:pt x="232" y="0"/>
                  <a:pt x="231" y="0"/>
                  <a:pt x="22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6"/>
          <p:cNvSpPr>
            <a:spLocks/>
          </p:cNvSpPr>
          <p:nvPr/>
        </p:nvSpPr>
        <p:spPr bwMode="auto">
          <a:xfrm>
            <a:off x="8257546" y="4527550"/>
            <a:ext cx="774700" cy="471487"/>
          </a:xfrm>
          <a:custGeom>
            <a:avLst/>
            <a:gdLst>
              <a:gd name="T0" fmla="*/ 139 w 314"/>
              <a:gd name="T1" fmla="*/ 0 h 191"/>
              <a:gd name="T2" fmla="*/ 136 w 314"/>
              <a:gd name="T3" fmla="*/ 0 h 191"/>
              <a:gd name="T4" fmla="*/ 84 w 314"/>
              <a:gd name="T5" fmla="*/ 44 h 191"/>
              <a:gd name="T6" fmla="*/ 74 w 314"/>
              <a:gd name="T7" fmla="*/ 43 h 191"/>
              <a:gd name="T8" fmla="*/ 45 w 314"/>
              <a:gd name="T9" fmla="*/ 65 h 191"/>
              <a:gd name="T10" fmla="*/ 41 w 314"/>
              <a:gd name="T11" fmla="*/ 65 h 191"/>
              <a:gd name="T12" fmla="*/ 10 w 314"/>
              <a:gd name="T13" fmla="*/ 85 h 191"/>
              <a:gd name="T14" fmla="*/ 8 w 314"/>
              <a:gd name="T15" fmla="*/ 132 h 191"/>
              <a:gd name="T16" fmla="*/ 52 w 314"/>
              <a:gd name="T17" fmla="*/ 156 h 191"/>
              <a:gd name="T18" fmla="*/ 69 w 314"/>
              <a:gd name="T19" fmla="*/ 154 h 191"/>
              <a:gd name="T20" fmla="*/ 98 w 314"/>
              <a:gd name="T21" fmla="*/ 181 h 191"/>
              <a:gd name="T22" fmla="*/ 106 w 314"/>
              <a:gd name="T23" fmla="*/ 182 h 191"/>
              <a:gd name="T24" fmla="*/ 139 w 314"/>
              <a:gd name="T25" fmla="*/ 166 h 191"/>
              <a:gd name="T26" fmla="*/ 181 w 314"/>
              <a:gd name="T27" fmla="*/ 190 h 191"/>
              <a:gd name="T28" fmla="*/ 191 w 314"/>
              <a:gd name="T29" fmla="*/ 191 h 191"/>
              <a:gd name="T30" fmla="*/ 237 w 314"/>
              <a:gd name="T31" fmla="*/ 163 h 191"/>
              <a:gd name="T32" fmla="*/ 251 w 314"/>
              <a:gd name="T33" fmla="*/ 165 h 191"/>
              <a:gd name="T34" fmla="*/ 277 w 314"/>
              <a:gd name="T35" fmla="*/ 151 h 191"/>
              <a:gd name="T36" fmla="*/ 306 w 314"/>
              <a:gd name="T37" fmla="*/ 130 h 191"/>
              <a:gd name="T38" fmla="*/ 305 w 314"/>
              <a:gd name="T39" fmla="*/ 89 h 191"/>
              <a:gd name="T40" fmla="*/ 264 w 314"/>
              <a:gd name="T41" fmla="*/ 71 h 191"/>
              <a:gd name="T42" fmla="*/ 258 w 314"/>
              <a:gd name="T43" fmla="*/ 71 h 191"/>
              <a:gd name="T44" fmla="*/ 241 w 314"/>
              <a:gd name="T45" fmla="*/ 33 h 191"/>
              <a:gd name="T46" fmla="*/ 212 w 314"/>
              <a:gd name="T47" fmla="*/ 22 h 191"/>
              <a:gd name="T48" fmla="*/ 189 w 314"/>
              <a:gd name="T49" fmla="*/ 27 h 191"/>
              <a:gd name="T50" fmla="*/ 139 w 314"/>
              <a:gd name="T51"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91">
                <a:moveTo>
                  <a:pt x="139" y="0"/>
                </a:moveTo>
                <a:cubicBezTo>
                  <a:pt x="138" y="0"/>
                  <a:pt x="137" y="0"/>
                  <a:pt x="136" y="0"/>
                </a:cubicBezTo>
                <a:cubicBezTo>
                  <a:pt x="95" y="2"/>
                  <a:pt x="85" y="34"/>
                  <a:pt x="84" y="44"/>
                </a:cubicBezTo>
                <a:cubicBezTo>
                  <a:pt x="80" y="43"/>
                  <a:pt x="77" y="43"/>
                  <a:pt x="74" y="43"/>
                </a:cubicBezTo>
                <a:cubicBezTo>
                  <a:pt x="53" y="43"/>
                  <a:pt x="46" y="59"/>
                  <a:pt x="45" y="65"/>
                </a:cubicBezTo>
                <a:cubicBezTo>
                  <a:pt x="43" y="65"/>
                  <a:pt x="42" y="65"/>
                  <a:pt x="41" y="65"/>
                </a:cubicBezTo>
                <a:cubicBezTo>
                  <a:pt x="29" y="65"/>
                  <a:pt x="17" y="72"/>
                  <a:pt x="10" y="85"/>
                </a:cubicBezTo>
                <a:cubicBezTo>
                  <a:pt x="1" y="100"/>
                  <a:pt x="0" y="117"/>
                  <a:pt x="8" y="132"/>
                </a:cubicBezTo>
                <a:cubicBezTo>
                  <a:pt x="19" y="151"/>
                  <a:pt x="38" y="156"/>
                  <a:pt x="52" y="156"/>
                </a:cubicBezTo>
                <a:cubicBezTo>
                  <a:pt x="59" y="156"/>
                  <a:pt x="65" y="154"/>
                  <a:pt x="69" y="154"/>
                </a:cubicBezTo>
                <a:cubicBezTo>
                  <a:pt x="70" y="160"/>
                  <a:pt x="75" y="177"/>
                  <a:pt x="98" y="181"/>
                </a:cubicBezTo>
                <a:cubicBezTo>
                  <a:pt x="101" y="182"/>
                  <a:pt x="103" y="182"/>
                  <a:pt x="106" y="182"/>
                </a:cubicBezTo>
                <a:cubicBezTo>
                  <a:pt x="123" y="182"/>
                  <a:pt x="134" y="172"/>
                  <a:pt x="139" y="166"/>
                </a:cubicBezTo>
                <a:cubicBezTo>
                  <a:pt x="142" y="173"/>
                  <a:pt x="151" y="186"/>
                  <a:pt x="181" y="190"/>
                </a:cubicBezTo>
                <a:cubicBezTo>
                  <a:pt x="185" y="191"/>
                  <a:pt x="188" y="191"/>
                  <a:pt x="191" y="191"/>
                </a:cubicBezTo>
                <a:cubicBezTo>
                  <a:pt x="221" y="191"/>
                  <a:pt x="234" y="170"/>
                  <a:pt x="237" y="163"/>
                </a:cubicBezTo>
                <a:cubicBezTo>
                  <a:pt x="242" y="165"/>
                  <a:pt x="246" y="165"/>
                  <a:pt x="251" y="165"/>
                </a:cubicBezTo>
                <a:cubicBezTo>
                  <a:pt x="267" y="165"/>
                  <a:pt x="275" y="155"/>
                  <a:pt x="277" y="151"/>
                </a:cubicBezTo>
                <a:cubicBezTo>
                  <a:pt x="289" y="151"/>
                  <a:pt x="300" y="143"/>
                  <a:pt x="306" y="130"/>
                </a:cubicBezTo>
                <a:cubicBezTo>
                  <a:pt x="314" y="115"/>
                  <a:pt x="313" y="100"/>
                  <a:pt x="305" y="89"/>
                </a:cubicBezTo>
                <a:cubicBezTo>
                  <a:pt x="293" y="73"/>
                  <a:pt x="274" y="71"/>
                  <a:pt x="264" y="71"/>
                </a:cubicBezTo>
                <a:cubicBezTo>
                  <a:pt x="262" y="71"/>
                  <a:pt x="260" y="71"/>
                  <a:pt x="258" y="71"/>
                </a:cubicBezTo>
                <a:cubicBezTo>
                  <a:pt x="259" y="64"/>
                  <a:pt x="259" y="48"/>
                  <a:pt x="241" y="33"/>
                </a:cubicBezTo>
                <a:cubicBezTo>
                  <a:pt x="234" y="26"/>
                  <a:pt x="224" y="22"/>
                  <a:pt x="212" y="22"/>
                </a:cubicBezTo>
                <a:cubicBezTo>
                  <a:pt x="202" y="22"/>
                  <a:pt x="193" y="25"/>
                  <a:pt x="189" y="27"/>
                </a:cubicBezTo>
                <a:cubicBezTo>
                  <a:pt x="185" y="20"/>
                  <a:pt x="172" y="0"/>
                  <a:pt x="13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7"/>
          <p:cNvSpPr>
            <a:spLocks/>
          </p:cNvSpPr>
          <p:nvPr/>
        </p:nvSpPr>
        <p:spPr bwMode="auto">
          <a:xfrm>
            <a:off x="8074983" y="5005388"/>
            <a:ext cx="338138" cy="207962"/>
          </a:xfrm>
          <a:custGeom>
            <a:avLst/>
            <a:gdLst>
              <a:gd name="T0" fmla="*/ 77 w 137"/>
              <a:gd name="T1" fmla="*/ 0 h 84"/>
              <a:gd name="T2" fmla="*/ 55 w 137"/>
              <a:gd name="T3" fmla="*/ 12 h 84"/>
              <a:gd name="T4" fmla="*/ 44 w 137"/>
              <a:gd name="T5" fmla="*/ 10 h 84"/>
              <a:gd name="T6" fmla="*/ 32 w 137"/>
              <a:gd name="T7" fmla="*/ 15 h 84"/>
              <a:gd name="T8" fmla="*/ 24 w 137"/>
              <a:gd name="T9" fmla="*/ 31 h 84"/>
              <a:gd name="T10" fmla="*/ 22 w 137"/>
              <a:gd name="T11" fmla="*/ 31 h 84"/>
              <a:gd name="T12" fmla="*/ 4 w 137"/>
              <a:gd name="T13" fmla="*/ 39 h 84"/>
              <a:gd name="T14" fmla="*/ 3 w 137"/>
              <a:gd name="T15" fmla="*/ 57 h 84"/>
              <a:gd name="T16" fmla="*/ 16 w 137"/>
              <a:gd name="T17" fmla="*/ 66 h 84"/>
              <a:gd name="T18" fmla="*/ 28 w 137"/>
              <a:gd name="T19" fmla="*/ 72 h 84"/>
              <a:gd name="T20" fmla="*/ 34 w 137"/>
              <a:gd name="T21" fmla="*/ 71 h 84"/>
              <a:gd name="T22" fmla="*/ 54 w 137"/>
              <a:gd name="T23" fmla="*/ 84 h 84"/>
              <a:gd name="T24" fmla="*/ 58 w 137"/>
              <a:gd name="T25" fmla="*/ 83 h 84"/>
              <a:gd name="T26" fmla="*/ 76 w 137"/>
              <a:gd name="T27" fmla="*/ 73 h 84"/>
              <a:gd name="T28" fmla="*/ 91 w 137"/>
              <a:gd name="T29" fmla="*/ 80 h 84"/>
              <a:gd name="T30" fmla="*/ 94 w 137"/>
              <a:gd name="T31" fmla="*/ 79 h 84"/>
              <a:gd name="T32" fmla="*/ 107 w 137"/>
              <a:gd name="T33" fmla="*/ 67 h 84"/>
              <a:gd name="T34" fmla="*/ 114 w 137"/>
              <a:gd name="T35" fmla="*/ 68 h 84"/>
              <a:gd name="T36" fmla="*/ 133 w 137"/>
              <a:gd name="T37" fmla="*/ 58 h 84"/>
              <a:gd name="T38" fmla="*/ 133 w 137"/>
              <a:gd name="T39" fmla="*/ 37 h 84"/>
              <a:gd name="T40" fmla="*/ 119 w 137"/>
              <a:gd name="T41" fmla="*/ 29 h 84"/>
              <a:gd name="T42" fmla="*/ 117 w 137"/>
              <a:gd name="T43" fmla="*/ 29 h 84"/>
              <a:gd name="T44" fmla="*/ 105 w 137"/>
              <a:gd name="T45" fmla="*/ 19 h 84"/>
              <a:gd name="T46" fmla="*/ 100 w 137"/>
              <a:gd name="T47" fmla="*/ 19 h 84"/>
              <a:gd name="T48" fmla="*/ 78 w 137"/>
              <a:gd name="T49" fmla="*/ 0 h 84"/>
              <a:gd name="T50" fmla="*/ 77 w 137"/>
              <a:gd name="T5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84">
                <a:moveTo>
                  <a:pt x="77" y="0"/>
                </a:moveTo>
                <a:cubicBezTo>
                  <a:pt x="62" y="0"/>
                  <a:pt x="56" y="9"/>
                  <a:pt x="55" y="12"/>
                </a:cubicBezTo>
                <a:cubicBezTo>
                  <a:pt x="53" y="11"/>
                  <a:pt x="49" y="10"/>
                  <a:pt x="44" y="10"/>
                </a:cubicBezTo>
                <a:cubicBezTo>
                  <a:pt x="39" y="10"/>
                  <a:pt x="35" y="11"/>
                  <a:pt x="32" y="15"/>
                </a:cubicBezTo>
                <a:cubicBezTo>
                  <a:pt x="24" y="21"/>
                  <a:pt x="24" y="28"/>
                  <a:pt x="24" y="31"/>
                </a:cubicBezTo>
                <a:cubicBezTo>
                  <a:pt x="24" y="31"/>
                  <a:pt x="23" y="31"/>
                  <a:pt x="22" y="31"/>
                </a:cubicBezTo>
                <a:cubicBezTo>
                  <a:pt x="17" y="31"/>
                  <a:pt x="9" y="32"/>
                  <a:pt x="4" y="39"/>
                </a:cubicBezTo>
                <a:cubicBezTo>
                  <a:pt x="1" y="44"/>
                  <a:pt x="0" y="51"/>
                  <a:pt x="3" y="57"/>
                </a:cubicBezTo>
                <a:cubicBezTo>
                  <a:pt x="6" y="62"/>
                  <a:pt x="11" y="66"/>
                  <a:pt x="16" y="66"/>
                </a:cubicBezTo>
                <a:cubicBezTo>
                  <a:pt x="17" y="68"/>
                  <a:pt x="20" y="72"/>
                  <a:pt x="28" y="72"/>
                </a:cubicBezTo>
                <a:cubicBezTo>
                  <a:pt x="30" y="72"/>
                  <a:pt x="32" y="72"/>
                  <a:pt x="34" y="71"/>
                </a:cubicBezTo>
                <a:cubicBezTo>
                  <a:pt x="35" y="74"/>
                  <a:pt x="41" y="84"/>
                  <a:pt x="54" y="84"/>
                </a:cubicBezTo>
                <a:cubicBezTo>
                  <a:pt x="55" y="84"/>
                  <a:pt x="56" y="83"/>
                  <a:pt x="58" y="83"/>
                </a:cubicBezTo>
                <a:cubicBezTo>
                  <a:pt x="71" y="81"/>
                  <a:pt x="75" y="76"/>
                  <a:pt x="76" y="73"/>
                </a:cubicBezTo>
                <a:cubicBezTo>
                  <a:pt x="78" y="75"/>
                  <a:pt x="83" y="80"/>
                  <a:pt x="91" y="80"/>
                </a:cubicBezTo>
                <a:cubicBezTo>
                  <a:pt x="92" y="80"/>
                  <a:pt x="93" y="80"/>
                  <a:pt x="94" y="79"/>
                </a:cubicBezTo>
                <a:cubicBezTo>
                  <a:pt x="104" y="78"/>
                  <a:pt x="106" y="70"/>
                  <a:pt x="107" y="67"/>
                </a:cubicBezTo>
                <a:cubicBezTo>
                  <a:pt x="108" y="68"/>
                  <a:pt x="111" y="68"/>
                  <a:pt x="114" y="68"/>
                </a:cubicBezTo>
                <a:cubicBezTo>
                  <a:pt x="120" y="68"/>
                  <a:pt x="128" y="66"/>
                  <a:pt x="133" y="58"/>
                </a:cubicBezTo>
                <a:cubicBezTo>
                  <a:pt x="137" y="51"/>
                  <a:pt x="137" y="44"/>
                  <a:pt x="133" y="37"/>
                </a:cubicBezTo>
                <a:cubicBezTo>
                  <a:pt x="130" y="32"/>
                  <a:pt x="124" y="29"/>
                  <a:pt x="119" y="29"/>
                </a:cubicBezTo>
                <a:cubicBezTo>
                  <a:pt x="119" y="29"/>
                  <a:pt x="118" y="29"/>
                  <a:pt x="117" y="29"/>
                </a:cubicBezTo>
                <a:cubicBezTo>
                  <a:pt x="117" y="26"/>
                  <a:pt x="114" y="19"/>
                  <a:pt x="105" y="19"/>
                </a:cubicBezTo>
                <a:cubicBezTo>
                  <a:pt x="103" y="19"/>
                  <a:pt x="102" y="19"/>
                  <a:pt x="100" y="19"/>
                </a:cubicBezTo>
                <a:cubicBezTo>
                  <a:pt x="100" y="15"/>
                  <a:pt x="96" y="1"/>
                  <a:pt x="78" y="0"/>
                </a:cubicBezTo>
                <a:cubicBezTo>
                  <a:pt x="77" y="0"/>
                  <a:pt x="77" y="0"/>
                  <a:pt x="77"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
          <p:cNvSpPr>
            <a:spLocks/>
          </p:cNvSpPr>
          <p:nvPr/>
        </p:nvSpPr>
        <p:spPr bwMode="auto">
          <a:xfrm>
            <a:off x="3828421" y="1000125"/>
            <a:ext cx="404813" cy="247650"/>
          </a:xfrm>
          <a:custGeom>
            <a:avLst/>
            <a:gdLst>
              <a:gd name="T0" fmla="*/ 73 w 164"/>
              <a:gd name="T1" fmla="*/ 0 h 100"/>
              <a:gd name="T2" fmla="*/ 71 w 164"/>
              <a:gd name="T3" fmla="*/ 0 h 100"/>
              <a:gd name="T4" fmla="*/ 44 w 164"/>
              <a:gd name="T5" fmla="*/ 23 h 100"/>
              <a:gd name="T6" fmla="*/ 39 w 164"/>
              <a:gd name="T7" fmla="*/ 22 h 100"/>
              <a:gd name="T8" fmla="*/ 23 w 164"/>
              <a:gd name="T9" fmla="*/ 34 h 100"/>
              <a:gd name="T10" fmla="*/ 21 w 164"/>
              <a:gd name="T11" fmla="*/ 34 h 100"/>
              <a:gd name="T12" fmla="*/ 5 w 164"/>
              <a:gd name="T13" fmla="*/ 44 h 100"/>
              <a:gd name="T14" fmla="*/ 4 w 164"/>
              <a:gd name="T15" fmla="*/ 69 h 100"/>
              <a:gd name="T16" fmla="*/ 27 w 164"/>
              <a:gd name="T17" fmla="*/ 81 h 100"/>
              <a:gd name="T18" fmla="*/ 36 w 164"/>
              <a:gd name="T19" fmla="*/ 80 h 100"/>
              <a:gd name="T20" fmla="*/ 51 w 164"/>
              <a:gd name="T21" fmla="*/ 95 h 100"/>
              <a:gd name="T22" fmla="*/ 55 w 164"/>
              <a:gd name="T23" fmla="*/ 95 h 100"/>
              <a:gd name="T24" fmla="*/ 73 w 164"/>
              <a:gd name="T25" fmla="*/ 87 h 100"/>
              <a:gd name="T26" fmla="*/ 95 w 164"/>
              <a:gd name="T27" fmla="*/ 99 h 100"/>
              <a:gd name="T28" fmla="*/ 100 w 164"/>
              <a:gd name="T29" fmla="*/ 100 h 100"/>
              <a:gd name="T30" fmla="*/ 124 w 164"/>
              <a:gd name="T31" fmla="*/ 85 h 100"/>
              <a:gd name="T32" fmla="*/ 131 w 164"/>
              <a:gd name="T33" fmla="*/ 86 h 100"/>
              <a:gd name="T34" fmla="*/ 145 w 164"/>
              <a:gd name="T35" fmla="*/ 79 h 100"/>
              <a:gd name="T36" fmla="*/ 160 w 164"/>
              <a:gd name="T37" fmla="*/ 68 h 100"/>
              <a:gd name="T38" fmla="*/ 160 w 164"/>
              <a:gd name="T39" fmla="*/ 46 h 100"/>
              <a:gd name="T40" fmla="*/ 138 w 164"/>
              <a:gd name="T41" fmla="*/ 37 h 100"/>
              <a:gd name="T42" fmla="*/ 135 w 164"/>
              <a:gd name="T43" fmla="*/ 37 h 100"/>
              <a:gd name="T44" fmla="*/ 126 w 164"/>
              <a:gd name="T45" fmla="*/ 17 h 100"/>
              <a:gd name="T46" fmla="*/ 111 w 164"/>
              <a:gd name="T47" fmla="*/ 11 h 100"/>
              <a:gd name="T48" fmla="*/ 99 w 164"/>
              <a:gd name="T49" fmla="*/ 14 h 100"/>
              <a:gd name="T50" fmla="*/ 73 w 164"/>
              <a:gd name="T5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100">
                <a:moveTo>
                  <a:pt x="73" y="0"/>
                </a:moveTo>
                <a:cubicBezTo>
                  <a:pt x="72" y="0"/>
                  <a:pt x="71" y="0"/>
                  <a:pt x="71" y="0"/>
                </a:cubicBezTo>
                <a:cubicBezTo>
                  <a:pt x="49" y="1"/>
                  <a:pt x="45" y="18"/>
                  <a:pt x="44" y="23"/>
                </a:cubicBezTo>
                <a:cubicBezTo>
                  <a:pt x="42" y="22"/>
                  <a:pt x="40" y="22"/>
                  <a:pt x="39" y="22"/>
                </a:cubicBezTo>
                <a:cubicBezTo>
                  <a:pt x="28" y="22"/>
                  <a:pt x="24" y="31"/>
                  <a:pt x="23" y="34"/>
                </a:cubicBezTo>
                <a:cubicBezTo>
                  <a:pt x="23" y="34"/>
                  <a:pt x="22" y="34"/>
                  <a:pt x="21" y="34"/>
                </a:cubicBezTo>
                <a:cubicBezTo>
                  <a:pt x="15" y="34"/>
                  <a:pt x="9" y="38"/>
                  <a:pt x="5" y="44"/>
                </a:cubicBezTo>
                <a:cubicBezTo>
                  <a:pt x="0" y="52"/>
                  <a:pt x="0" y="61"/>
                  <a:pt x="4" y="69"/>
                </a:cubicBezTo>
                <a:cubicBezTo>
                  <a:pt x="10" y="79"/>
                  <a:pt x="20" y="81"/>
                  <a:pt x="27" y="81"/>
                </a:cubicBezTo>
                <a:cubicBezTo>
                  <a:pt x="31" y="81"/>
                  <a:pt x="34" y="81"/>
                  <a:pt x="36" y="80"/>
                </a:cubicBezTo>
                <a:cubicBezTo>
                  <a:pt x="37" y="84"/>
                  <a:pt x="39" y="93"/>
                  <a:pt x="51" y="95"/>
                </a:cubicBezTo>
                <a:cubicBezTo>
                  <a:pt x="53" y="95"/>
                  <a:pt x="54" y="95"/>
                  <a:pt x="55" y="95"/>
                </a:cubicBezTo>
                <a:cubicBezTo>
                  <a:pt x="64" y="95"/>
                  <a:pt x="70" y="90"/>
                  <a:pt x="73" y="87"/>
                </a:cubicBezTo>
                <a:cubicBezTo>
                  <a:pt x="74" y="91"/>
                  <a:pt x="79" y="97"/>
                  <a:pt x="95" y="99"/>
                </a:cubicBezTo>
                <a:cubicBezTo>
                  <a:pt x="97" y="100"/>
                  <a:pt x="98" y="100"/>
                  <a:pt x="100" y="100"/>
                </a:cubicBezTo>
                <a:cubicBezTo>
                  <a:pt x="116" y="100"/>
                  <a:pt x="122" y="89"/>
                  <a:pt x="124" y="85"/>
                </a:cubicBezTo>
                <a:cubicBezTo>
                  <a:pt x="127" y="86"/>
                  <a:pt x="129" y="86"/>
                  <a:pt x="131" y="86"/>
                </a:cubicBezTo>
                <a:cubicBezTo>
                  <a:pt x="140" y="86"/>
                  <a:pt x="144" y="81"/>
                  <a:pt x="145" y="79"/>
                </a:cubicBezTo>
                <a:cubicBezTo>
                  <a:pt x="151" y="79"/>
                  <a:pt x="157" y="75"/>
                  <a:pt x="160" y="68"/>
                </a:cubicBezTo>
                <a:cubicBezTo>
                  <a:pt x="164" y="60"/>
                  <a:pt x="164" y="52"/>
                  <a:pt x="160" y="46"/>
                </a:cubicBezTo>
                <a:cubicBezTo>
                  <a:pt x="153" y="38"/>
                  <a:pt x="144" y="37"/>
                  <a:pt x="138" y="37"/>
                </a:cubicBezTo>
                <a:cubicBezTo>
                  <a:pt x="137" y="37"/>
                  <a:pt x="136" y="37"/>
                  <a:pt x="135" y="37"/>
                </a:cubicBezTo>
                <a:cubicBezTo>
                  <a:pt x="136" y="33"/>
                  <a:pt x="136" y="25"/>
                  <a:pt x="126" y="17"/>
                </a:cubicBezTo>
                <a:cubicBezTo>
                  <a:pt x="122" y="13"/>
                  <a:pt x="117" y="11"/>
                  <a:pt x="111" y="11"/>
                </a:cubicBezTo>
                <a:cubicBezTo>
                  <a:pt x="106" y="11"/>
                  <a:pt x="101" y="13"/>
                  <a:pt x="99" y="14"/>
                </a:cubicBezTo>
                <a:cubicBezTo>
                  <a:pt x="97" y="10"/>
                  <a:pt x="90" y="0"/>
                  <a:pt x="7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9"/>
          <p:cNvSpPr>
            <a:spLocks/>
          </p:cNvSpPr>
          <p:nvPr/>
        </p:nvSpPr>
        <p:spPr bwMode="auto">
          <a:xfrm>
            <a:off x="7100258" y="945669"/>
            <a:ext cx="1577975" cy="960437"/>
          </a:xfrm>
          <a:custGeom>
            <a:avLst/>
            <a:gdLst>
              <a:gd name="T0" fmla="*/ 282 w 639"/>
              <a:gd name="T1" fmla="*/ 0 h 389"/>
              <a:gd name="T2" fmla="*/ 276 w 639"/>
              <a:gd name="T3" fmla="*/ 0 h 389"/>
              <a:gd name="T4" fmla="*/ 170 w 639"/>
              <a:gd name="T5" fmla="*/ 89 h 389"/>
              <a:gd name="T6" fmla="*/ 151 w 639"/>
              <a:gd name="T7" fmla="*/ 87 h 389"/>
              <a:gd name="T8" fmla="*/ 90 w 639"/>
              <a:gd name="T9" fmla="*/ 132 h 389"/>
              <a:gd name="T10" fmla="*/ 83 w 639"/>
              <a:gd name="T11" fmla="*/ 131 h 389"/>
              <a:gd name="T12" fmla="*/ 19 w 639"/>
              <a:gd name="T13" fmla="*/ 173 h 389"/>
              <a:gd name="T14" fmla="*/ 16 w 639"/>
              <a:gd name="T15" fmla="*/ 268 h 389"/>
              <a:gd name="T16" fmla="*/ 105 w 639"/>
              <a:gd name="T17" fmla="*/ 317 h 389"/>
              <a:gd name="T18" fmla="*/ 105 w 639"/>
              <a:gd name="T19" fmla="*/ 317 h 389"/>
              <a:gd name="T20" fmla="*/ 139 w 639"/>
              <a:gd name="T21" fmla="*/ 313 h 389"/>
              <a:gd name="T22" fmla="*/ 199 w 639"/>
              <a:gd name="T23" fmla="*/ 370 h 389"/>
              <a:gd name="T24" fmla="*/ 215 w 639"/>
              <a:gd name="T25" fmla="*/ 371 h 389"/>
              <a:gd name="T26" fmla="*/ 283 w 639"/>
              <a:gd name="T27" fmla="*/ 338 h 389"/>
              <a:gd name="T28" fmla="*/ 369 w 639"/>
              <a:gd name="T29" fmla="*/ 388 h 389"/>
              <a:gd name="T30" fmla="*/ 390 w 639"/>
              <a:gd name="T31" fmla="*/ 389 h 389"/>
              <a:gd name="T32" fmla="*/ 483 w 639"/>
              <a:gd name="T33" fmla="*/ 332 h 389"/>
              <a:gd name="T34" fmla="*/ 511 w 639"/>
              <a:gd name="T35" fmla="*/ 336 h 389"/>
              <a:gd name="T36" fmla="*/ 565 w 639"/>
              <a:gd name="T37" fmla="*/ 307 h 389"/>
              <a:gd name="T38" fmla="*/ 625 w 639"/>
              <a:gd name="T39" fmla="*/ 264 h 389"/>
              <a:gd name="T40" fmla="*/ 621 w 639"/>
              <a:gd name="T41" fmla="*/ 180 h 389"/>
              <a:gd name="T42" fmla="*/ 538 w 639"/>
              <a:gd name="T43" fmla="*/ 144 h 389"/>
              <a:gd name="T44" fmla="*/ 526 w 639"/>
              <a:gd name="T45" fmla="*/ 144 h 389"/>
              <a:gd name="T46" fmla="*/ 492 w 639"/>
              <a:gd name="T47" fmla="*/ 66 h 389"/>
              <a:gd name="T48" fmla="*/ 433 w 639"/>
              <a:gd name="T49" fmla="*/ 44 h 389"/>
              <a:gd name="T50" fmla="*/ 385 w 639"/>
              <a:gd name="T51" fmla="*/ 53 h 389"/>
              <a:gd name="T52" fmla="*/ 282 w 639"/>
              <a:gd name="T53"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9" h="389">
                <a:moveTo>
                  <a:pt x="282" y="0"/>
                </a:moveTo>
                <a:cubicBezTo>
                  <a:pt x="280" y="0"/>
                  <a:pt x="278" y="0"/>
                  <a:pt x="276" y="0"/>
                </a:cubicBezTo>
                <a:cubicBezTo>
                  <a:pt x="192" y="2"/>
                  <a:pt x="174" y="69"/>
                  <a:pt x="170" y="89"/>
                </a:cubicBezTo>
                <a:cubicBezTo>
                  <a:pt x="163" y="87"/>
                  <a:pt x="157" y="87"/>
                  <a:pt x="151" y="87"/>
                </a:cubicBezTo>
                <a:cubicBezTo>
                  <a:pt x="108" y="87"/>
                  <a:pt x="94" y="120"/>
                  <a:pt x="90" y="132"/>
                </a:cubicBezTo>
                <a:cubicBezTo>
                  <a:pt x="88" y="131"/>
                  <a:pt x="85" y="131"/>
                  <a:pt x="83" y="131"/>
                </a:cubicBezTo>
                <a:cubicBezTo>
                  <a:pt x="58" y="131"/>
                  <a:pt x="34" y="147"/>
                  <a:pt x="19" y="173"/>
                </a:cubicBezTo>
                <a:cubicBezTo>
                  <a:pt x="1" y="203"/>
                  <a:pt x="0" y="238"/>
                  <a:pt x="16" y="268"/>
                </a:cubicBezTo>
                <a:cubicBezTo>
                  <a:pt x="39" y="308"/>
                  <a:pt x="77" y="317"/>
                  <a:pt x="105" y="317"/>
                </a:cubicBezTo>
                <a:cubicBezTo>
                  <a:pt x="105" y="317"/>
                  <a:pt x="105" y="317"/>
                  <a:pt x="105" y="317"/>
                </a:cubicBezTo>
                <a:cubicBezTo>
                  <a:pt x="120" y="317"/>
                  <a:pt x="133" y="314"/>
                  <a:pt x="139" y="313"/>
                </a:cubicBezTo>
                <a:cubicBezTo>
                  <a:pt x="142" y="327"/>
                  <a:pt x="152" y="361"/>
                  <a:pt x="199" y="370"/>
                </a:cubicBezTo>
                <a:cubicBezTo>
                  <a:pt x="204" y="371"/>
                  <a:pt x="210" y="371"/>
                  <a:pt x="215" y="371"/>
                </a:cubicBezTo>
                <a:cubicBezTo>
                  <a:pt x="250" y="371"/>
                  <a:pt x="273" y="350"/>
                  <a:pt x="283" y="338"/>
                </a:cubicBezTo>
                <a:cubicBezTo>
                  <a:pt x="289" y="353"/>
                  <a:pt x="307" y="378"/>
                  <a:pt x="369" y="388"/>
                </a:cubicBezTo>
                <a:cubicBezTo>
                  <a:pt x="376" y="389"/>
                  <a:pt x="383" y="389"/>
                  <a:pt x="390" y="389"/>
                </a:cubicBezTo>
                <a:cubicBezTo>
                  <a:pt x="450" y="389"/>
                  <a:pt x="476" y="346"/>
                  <a:pt x="483" y="332"/>
                </a:cubicBezTo>
                <a:cubicBezTo>
                  <a:pt x="493" y="335"/>
                  <a:pt x="502" y="336"/>
                  <a:pt x="511" y="336"/>
                </a:cubicBezTo>
                <a:cubicBezTo>
                  <a:pt x="545" y="336"/>
                  <a:pt x="560" y="315"/>
                  <a:pt x="565" y="307"/>
                </a:cubicBezTo>
                <a:cubicBezTo>
                  <a:pt x="589" y="307"/>
                  <a:pt x="611" y="290"/>
                  <a:pt x="625" y="264"/>
                </a:cubicBezTo>
                <a:cubicBezTo>
                  <a:pt x="639" y="234"/>
                  <a:pt x="638" y="202"/>
                  <a:pt x="621" y="180"/>
                </a:cubicBezTo>
                <a:cubicBezTo>
                  <a:pt x="598" y="148"/>
                  <a:pt x="559" y="144"/>
                  <a:pt x="538" y="144"/>
                </a:cubicBezTo>
                <a:cubicBezTo>
                  <a:pt x="534" y="144"/>
                  <a:pt x="530" y="144"/>
                  <a:pt x="526" y="144"/>
                </a:cubicBezTo>
                <a:cubicBezTo>
                  <a:pt x="528" y="130"/>
                  <a:pt x="528" y="98"/>
                  <a:pt x="492" y="66"/>
                </a:cubicBezTo>
                <a:cubicBezTo>
                  <a:pt x="476" y="51"/>
                  <a:pt x="456" y="44"/>
                  <a:pt x="433" y="44"/>
                </a:cubicBezTo>
                <a:cubicBezTo>
                  <a:pt x="411" y="44"/>
                  <a:pt x="393" y="50"/>
                  <a:pt x="385" y="53"/>
                </a:cubicBezTo>
                <a:cubicBezTo>
                  <a:pt x="378" y="40"/>
                  <a:pt x="351" y="0"/>
                  <a:pt x="282" y="0"/>
                </a:cubicBezTo>
              </a:path>
            </a:pathLst>
          </a:custGeom>
          <a:solidFill>
            <a:schemeClr val="bg1">
              <a:alpha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10"/>
          <p:cNvSpPr>
            <a:spLocks/>
          </p:cNvSpPr>
          <p:nvPr/>
        </p:nvSpPr>
        <p:spPr bwMode="auto">
          <a:xfrm>
            <a:off x="3334708" y="977900"/>
            <a:ext cx="122238" cy="109537"/>
          </a:xfrm>
          <a:custGeom>
            <a:avLst/>
            <a:gdLst>
              <a:gd name="T0" fmla="*/ 25 w 50"/>
              <a:gd name="T1" fmla="*/ 0 h 44"/>
              <a:gd name="T2" fmla="*/ 5 w 50"/>
              <a:gd name="T3" fmla="*/ 13 h 44"/>
              <a:gd name="T4" fmla="*/ 16 w 50"/>
              <a:gd name="T5" fmla="*/ 42 h 44"/>
              <a:gd name="T6" fmla="*/ 25 w 50"/>
              <a:gd name="T7" fmla="*/ 44 h 44"/>
              <a:gd name="T8" fmla="*/ 45 w 50"/>
              <a:gd name="T9" fmla="*/ 32 h 44"/>
              <a:gd name="T10" fmla="*/ 34 w 50"/>
              <a:gd name="T11" fmla="*/ 2 h 44"/>
              <a:gd name="T12" fmla="*/ 25 w 50"/>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50" h="44">
                <a:moveTo>
                  <a:pt x="25" y="0"/>
                </a:moveTo>
                <a:cubicBezTo>
                  <a:pt x="17" y="0"/>
                  <a:pt x="9" y="5"/>
                  <a:pt x="5" y="13"/>
                </a:cubicBezTo>
                <a:cubicBezTo>
                  <a:pt x="0" y="24"/>
                  <a:pt x="5" y="37"/>
                  <a:pt x="16" y="42"/>
                </a:cubicBezTo>
                <a:cubicBezTo>
                  <a:pt x="19" y="44"/>
                  <a:pt x="22" y="44"/>
                  <a:pt x="25" y="44"/>
                </a:cubicBezTo>
                <a:cubicBezTo>
                  <a:pt x="33" y="44"/>
                  <a:pt x="41" y="40"/>
                  <a:pt x="45" y="32"/>
                </a:cubicBezTo>
                <a:cubicBezTo>
                  <a:pt x="50" y="21"/>
                  <a:pt x="45" y="7"/>
                  <a:pt x="34" y="2"/>
                </a:cubicBezTo>
                <a:cubicBezTo>
                  <a:pt x="31" y="1"/>
                  <a:pt x="28" y="0"/>
                  <a:pt x="2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11"/>
          <p:cNvSpPr>
            <a:spLocks/>
          </p:cNvSpPr>
          <p:nvPr/>
        </p:nvSpPr>
        <p:spPr bwMode="auto">
          <a:xfrm>
            <a:off x="3523621" y="1111250"/>
            <a:ext cx="193675" cy="171450"/>
          </a:xfrm>
          <a:custGeom>
            <a:avLst/>
            <a:gdLst>
              <a:gd name="T0" fmla="*/ 39 w 78"/>
              <a:gd name="T1" fmla="*/ 0 h 69"/>
              <a:gd name="T2" fmla="*/ 8 w 78"/>
              <a:gd name="T3" fmla="*/ 20 h 69"/>
              <a:gd name="T4" fmla="*/ 24 w 78"/>
              <a:gd name="T5" fmla="*/ 66 h 69"/>
              <a:gd name="T6" fmla="*/ 39 w 78"/>
              <a:gd name="T7" fmla="*/ 69 h 69"/>
              <a:gd name="T8" fmla="*/ 70 w 78"/>
              <a:gd name="T9" fmla="*/ 49 h 69"/>
              <a:gd name="T10" fmla="*/ 53 w 78"/>
              <a:gd name="T11" fmla="*/ 3 h 69"/>
              <a:gd name="T12" fmla="*/ 39 w 78"/>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78" h="69">
                <a:moveTo>
                  <a:pt x="39" y="0"/>
                </a:moveTo>
                <a:cubicBezTo>
                  <a:pt x="26" y="0"/>
                  <a:pt x="13" y="7"/>
                  <a:pt x="8" y="20"/>
                </a:cubicBezTo>
                <a:cubicBezTo>
                  <a:pt x="0" y="37"/>
                  <a:pt x="7" y="58"/>
                  <a:pt x="24" y="66"/>
                </a:cubicBezTo>
                <a:cubicBezTo>
                  <a:pt x="29" y="68"/>
                  <a:pt x="34" y="69"/>
                  <a:pt x="39" y="69"/>
                </a:cubicBezTo>
                <a:cubicBezTo>
                  <a:pt x="52" y="69"/>
                  <a:pt x="64" y="61"/>
                  <a:pt x="70" y="49"/>
                </a:cubicBezTo>
                <a:cubicBezTo>
                  <a:pt x="78" y="32"/>
                  <a:pt x="71" y="11"/>
                  <a:pt x="53" y="3"/>
                </a:cubicBezTo>
                <a:cubicBezTo>
                  <a:pt x="49" y="1"/>
                  <a:pt x="44" y="0"/>
                  <a:pt x="3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12"/>
          <p:cNvSpPr>
            <a:spLocks/>
          </p:cNvSpPr>
          <p:nvPr/>
        </p:nvSpPr>
        <p:spPr bwMode="auto">
          <a:xfrm>
            <a:off x="2766383" y="3327400"/>
            <a:ext cx="123825" cy="111125"/>
          </a:xfrm>
          <a:custGeom>
            <a:avLst/>
            <a:gdLst>
              <a:gd name="T0" fmla="*/ 25 w 50"/>
              <a:gd name="T1" fmla="*/ 0 h 45"/>
              <a:gd name="T2" fmla="*/ 15 w 50"/>
              <a:gd name="T3" fmla="*/ 3 h 45"/>
              <a:gd name="T4" fmla="*/ 5 w 50"/>
              <a:gd name="T5" fmla="*/ 32 h 45"/>
              <a:gd name="T6" fmla="*/ 25 w 50"/>
              <a:gd name="T7" fmla="*/ 45 h 45"/>
              <a:gd name="T8" fmla="*/ 35 w 50"/>
              <a:gd name="T9" fmla="*/ 42 h 45"/>
              <a:gd name="T10" fmla="*/ 45 w 50"/>
              <a:gd name="T11" fmla="*/ 13 h 45"/>
              <a:gd name="T12" fmla="*/ 25 w 5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50" h="45">
                <a:moveTo>
                  <a:pt x="25" y="0"/>
                </a:moveTo>
                <a:cubicBezTo>
                  <a:pt x="22" y="0"/>
                  <a:pt x="18" y="1"/>
                  <a:pt x="15" y="3"/>
                </a:cubicBezTo>
                <a:cubicBezTo>
                  <a:pt x="4" y="8"/>
                  <a:pt x="0" y="21"/>
                  <a:pt x="5" y="32"/>
                </a:cubicBezTo>
                <a:cubicBezTo>
                  <a:pt x="9" y="40"/>
                  <a:pt x="17" y="45"/>
                  <a:pt x="25" y="45"/>
                </a:cubicBezTo>
                <a:cubicBezTo>
                  <a:pt x="28" y="45"/>
                  <a:pt x="32" y="44"/>
                  <a:pt x="35" y="42"/>
                </a:cubicBezTo>
                <a:cubicBezTo>
                  <a:pt x="46" y="37"/>
                  <a:pt x="50" y="23"/>
                  <a:pt x="45" y="13"/>
                </a:cubicBezTo>
                <a:cubicBezTo>
                  <a:pt x="41" y="5"/>
                  <a:pt x="33" y="0"/>
                  <a:pt x="2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13"/>
          <p:cNvSpPr>
            <a:spLocks/>
          </p:cNvSpPr>
          <p:nvPr/>
        </p:nvSpPr>
        <p:spPr bwMode="auto">
          <a:xfrm>
            <a:off x="2747333" y="3576638"/>
            <a:ext cx="82550" cy="71437"/>
          </a:xfrm>
          <a:custGeom>
            <a:avLst/>
            <a:gdLst>
              <a:gd name="T0" fmla="*/ 17 w 34"/>
              <a:gd name="T1" fmla="*/ 0 h 29"/>
              <a:gd name="T2" fmla="*/ 10 w 34"/>
              <a:gd name="T3" fmla="*/ 1 h 29"/>
              <a:gd name="T4" fmla="*/ 4 w 34"/>
              <a:gd name="T5" fmla="*/ 21 h 29"/>
              <a:gd name="T6" fmla="*/ 17 w 34"/>
              <a:gd name="T7" fmla="*/ 29 h 29"/>
              <a:gd name="T8" fmla="*/ 24 w 34"/>
              <a:gd name="T9" fmla="*/ 28 h 29"/>
              <a:gd name="T10" fmla="*/ 30 w 34"/>
              <a:gd name="T11" fmla="*/ 8 h 29"/>
              <a:gd name="T12" fmla="*/ 17 w 34"/>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4" h="29">
                <a:moveTo>
                  <a:pt x="17" y="0"/>
                </a:moveTo>
                <a:cubicBezTo>
                  <a:pt x="15" y="0"/>
                  <a:pt x="12" y="0"/>
                  <a:pt x="10" y="1"/>
                </a:cubicBezTo>
                <a:cubicBezTo>
                  <a:pt x="3" y="5"/>
                  <a:pt x="0" y="14"/>
                  <a:pt x="4" y="21"/>
                </a:cubicBezTo>
                <a:cubicBezTo>
                  <a:pt x="6" y="26"/>
                  <a:pt x="11" y="29"/>
                  <a:pt x="17" y="29"/>
                </a:cubicBezTo>
                <a:cubicBezTo>
                  <a:pt x="19" y="29"/>
                  <a:pt x="21" y="29"/>
                  <a:pt x="24" y="28"/>
                </a:cubicBezTo>
                <a:cubicBezTo>
                  <a:pt x="31" y="24"/>
                  <a:pt x="34" y="15"/>
                  <a:pt x="30" y="8"/>
                </a:cubicBezTo>
                <a:cubicBezTo>
                  <a:pt x="28" y="3"/>
                  <a:pt x="22" y="0"/>
                  <a:pt x="17"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14"/>
          <p:cNvSpPr>
            <a:spLocks/>
          </p:cNvSpPr>
          <p:nvPr/>
        </p:nvSpPr>
        <p:spPr bwMode="auto">
          <a:xfrm>
            <a:off x="5939796" y="6151563"/>
            <a:ext cx="120650" cy="109537"/>
          </a:xfrm>
          <a:custGeom>
            <a:avLst/>
            <a:gdLst>
              <a:gd name="T0" fmla="*/ 24 w 49"/>
              <a:gd name="T1" fmla="*/ 0 h 44"/>
              <a:gd name="T2" fmla="*/ 8 w 49"/>
              <a:gd name="T3" fmla="*/ 7 h 44"/>
              <a:gd name="T4" fmla="*/ 9 w 49"/>
              <a:gd name="T5" fmla="*/ 38 h 44"/>
              <a:gd name="T6" fmla="*/ 24 w 49"/>
              <a:gd name="T7" fmla="*/ 44 h 44"/>
              <a:gd name="T8" fmla="*/ 40 w 49"/>
              <a:gd name="T9" fmla="*/ 37 h 44"/>
              <a:gd name="T10" fmla="*/ 39 w 49"/>
              <a:gd name="T11" fmla="*/ 6 h 44"/>
              <a:gd name="T12" fmla="*/ 24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24" y="0"/>
                </a:moveTo>
                <a:cubicBezTo>
                  <a:pt x="18" y="0"/>
                  <a:pt x="12" y="2"/>
                  <a:pt x="8" y="7"/>
                </a:cubicBezTo>
                <a:cubicBezTo>
                  <a:pt x="0" y="16"/>
                  <a:pt x="0" y="30"/>
                  <a:pt x="9" y="38"/>
                </a:cubicBezTo>
                <a:cubicBezTo>
                  <a:pt x="13" y="42"/>
                  <a:pt x="19" y="44"/>
                  <a:pt x="24" y="44"/>
                </a:cubicBezTo>
                <a:cubicBezTo>
                  <a:pt x="30" y="44"/>
                  <a:pt x="36" y="42"/>
                  <a:pt x="40" y="37"/>
                </a:cubicBezTo>
                <a:cubicBezTo>
                  <a:pt x="49" y="28"/>
                  <a:pt x="48" y="14"/>
                  <a:pt x="39" y="6"/>
                </a:cubicBezTo>
                <a:cubicBezTo>
                  <a:pt x="35" y="2"/>
                  <a:pt x="30" y="0"/>
                  <a:pt x="24"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15"/>
          <p:cNvSpPr>
            <a:spLocks/>
          </p:cNvSpPr>
          <p:nvPr/>
        </p:nvSpPr>
        <p:spPr bwMode="auto">
          <a:xfrm>
            <a:off x="5914396" y="5938838"/>
            <a:ext cx="80963" cy="74612"/>
          </a:xfrm>
          <a:custGeom>
            <a:avLst/>
            <a:gdLst>
              <a:gd name="T0" fmla="*/ 16 w 33"/>
              <a:gd name="T1" fmla="*/ 0 h 30"/>
              <a:gd name="T2" fmla="*/ 5 w 33"/>
              <a:gd name="T3" fmla="*/ 5 h 30"/>
              <a:gd name="T4" fmla="*/ 6 w 33"/>
              <a:gd name="T5" fmla="*/ 26 h 30"/>
              <a:gd name="T6" fmla="*/ 16 w 33"/>
              <a:gd name="T7" fmla="*/ 30 h 30"/>
              <a:gd name="T8" fmla="*/ 27 w 33"/>
              <a:gd name="T9" fmla="*/ 26 h 30"/>
              <a:gd name="T10" fmla="*/ 27 w 33"/>
              <a:gd name="T11" fmla="*/ 4 h 30"/>
              <a:gd name="T12" fmla="*/ 16 w 3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3" h="30">
                <a:moveTo>
                  <a:pt x="16" y="0"/>
                </a:moveTo>
                <a:cubicBezTo>
                  <a:pt x="12" y="0"/>
                  <a:pt x="8" y="2"/>
                  <a:pt x="5" y="5"/>
                </a:cubicBezTo>
                <a:cubicBezTo>
                  <a:pt x="0" y="11"/>
                  <a:pt x="0" y="21"/>
                  <a:pt x="6" y="26"/>
                </a:cubicBezTo>
                <a:cubicBezTo>
                  <a:pt x="9" y="29"/>
                  <a:pt x="13" y="30"/>
                  <a:pt x="16" y="30"/>
                </a:cubicBezTo>
                <a:cubicBezTo>
                  <a:pt x="20" y="30"/>
                  <a:pt x="24" y="29"/>
                  <a:pt x="27" y="26"/>
                </a:cubicBezTo>
                <a:cubicBezTo>
                  <a:pt x="33" y="19"/>
                  <a:pt x="33" y="10"/>
                  <a:pt x="27" y="4"/>
                </a:cubicBezTo>
                <a:cubicBezTo>
                  <a:pt x="24" y="2"/>
                  <a:pt x="20" y="0"/>
                  <a:pt x="1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16"/>
          <p:cNvSpPr>
            <a:spLocks/>
          </p:cNvSpPr>
          <p:nvPr/>
        </p:nvSpPr>
        <p:spPr bwMode="auto">
          <a:xfrm>
            <a:off x="6128708" y="5959475"/>
            <a:ext cx="188913" cy="168275"/>
          </a:xfrm>
          <a:custGeom>
            <a:avLst/>
            <a:gdLst>
              <a:gd name="T0" fmla="*/ 38 w 76"/>
              <a:gd name="T1" fmla="*/ 0 h 68"/>
              <a:gd name="T2" fmla="*/ 13 w 76"/>
              <a:gd name="T3" fmla="*/ 11 h 68"/>
              <a:gd name="T4" fmla="*/ 15 w 76"/>
              <a:gd name="T5" fmla="*/ 59 h 68"/>
              <a:gd name="T6" fmla="*/ 38 w 76"/>
              <a:gd name="T7" fmla="*/ 68 h 68"/>
              <a:gd name="T8" fmla="*/ 63 w 76"/>
              <a:gd name="T9" fmla="*/ 57 h 68"/>
              <a:gd name="T10" fmla="*/ 61 w 76"/>
              <a:gd name="T11" fmla="*/ 9 h 68"/>
              <a:gd name="T12" fmla="*/ 38 w 7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76" h="68">
                <a:moveTo>
                  <a:pt x="38" y="0"/>
                </a:moveTo>
                <a:cubicBezTo>
                  <a:pt x="29" y="0"/>
                  <a:pt x="19" y="3"/>
                  <a:pt x="13" y="11"/>
                </a:cubicBezTo>
                <a:cubicBezTo>
                  <a:pt x="0" y="25"/>
                  <a:pt x="1" y="46"/>
                  <a:pt x="15" y="59"/>
                </a:cubicBezTo>
                <a:cubicBezTo>
                  <a:pt x="21" y="65"/>
                  <a:pt x="30" y="68"/>
                  <a:pt x="38" y="68"/>
                </a:cubicBezTo>
                <a:cubicBezTo>
                  <a:pt x="47" y="68"/>
                  <a:pt x="56" y="65"/>
                  <a:pt x="63" y="57"/>
                </a:cubicBezTo>
                <a:cubicBezTo>
                  <a:pt x="76" y="43"/>
                  <a:pt x="75" y="22"/>
                  <a:pt x="61" y="9"/>
                </a:cubicBezTo>
                <a:cubicBezTo>
                  <a:pt x="55" y="3"/>
                  <a:pt x="46" y="0"/>
                  <a:pt x="38"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17"/>
          <p:cNvSpPr>
            <a:spLocks/>
          </p:cNvSpPr>
          <p:nvPr/>
        </p:nvSpPr>
        <p:spPr bwMode="auto">
          <a:xfrm>
            <a:off x="9076696" y="4497388"/>
            <a:ext cx="115888" cy="107950"/>
          </a:xfrm>
          <a:custGeom>
            <a:avLst/>
            <a:gdLst>
              <a:gd name="T0" fmla="*/ 23 w 47"/>
              <a:gd name="T1" fmla="*/ 0 h 44"/>
              <a:gd name="T2" fmla="*/ 1 w 47"/>
              <a:gd name="T3" fmla="*/ 19 h 44"/>
              <a:gd name="T4" fmla="*/ 21 w 47"/>
              <a:gd name="T5" fmla="*/ 44 h 44"/>
              <a:gd name="T6" fmla="*/ 23 w 47"/>
              <a:gd name="T7" fmla="*/ 44 h 44"/>
              <a:gd name="T8" fmla="*/ 45 w 47"/>
              <a:gd name="T9" fmla="*/ 25 h 44"/>
              <a:gd name="T10" fmla="*/ 26 w 47"/>
              <a:gd name="T11" fmla="*/ 0 h 44"/>
              <a:gd name="T12" fmla="*/ 23 w 47"/>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7" h="44">
                <a:moveTo>
                  <a:pt x="23" y="0"/>
                </a:moveTo>
                <a:cubicBezTo>
                  <a:pt x="12" y="0"/>
                  <a:pt x="3" y="8"/>
                  <a:pt x="1" y="19"/>
                </a:cubicBezTo>
                <a:cubicBezTo>
                  <a:pt x="0" y="32"/>
                  <a:pt x="8" y="43"/>
                  <a:pt x="21" y="44"/>
                </a:cubicBezTo>
                <a:cubicBezTo>
                  <a:pt x="21" y="44"/>
                  <a:pt x="22" y="44"/>
                  <a:pt x="23" y="44"/>
                </a:cubicBezTo>
                <a:cubicBezTo>
                  <a:pt x="34" y="44"/>
                  <a:pt x="44" y="36"/>
                  <a:pt x="45" y="25"/>
                </a:cubicBezTo>
                <a:cubicBezTo>
                  <a:pt x="47" y="13"/>
                  <a:pt x="38" y="2"/>
                  <a:pt x="26" y="0"/>
                </a:cubicBezTo>
                <a:cubicBezTo>
                  <a:pt x="25" y="0"/>
                  <a:pt x="24" y="0"/>
                  <a:pt x="2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18"/>
          <p:cNvSpPr>
            <a:spLocks/>
          </p:cNvSpPr>
          <p:nvPr/>
        </p:nvSpPr>
        <p:spPr bwMode="auto">
          <a:xfrm>
            <a:off x="8927471" y="4354513"/>
            <a:ext cx="77788" cy="73025"/>
          </a:xfrm>
          <a:custGeom>
            <a:avLst/>
            <a:gdLst>
              <a:gd name="T0" fmla="*/ 16 w 32"/>
              <a:gd name="T1" fmla="*/ 0 h 30"/>
              <a:gd name="T2" fmla="*/ 1 w 32"/>
              <a:gd name="T3" fmla="*/ 13 h 30"/>
              <a:gd name="T4" fmla="*/ 14 w 32"/>
              <a:gd name="T5" fmla="*/ 30 h 30"/>
              <a:gd name="T6" fmla="*/ 16 w 32"/>
              <a:gd name="T7" fmla="*/ 30 h 30"/>
              <a:gd name="T8" fmla="*/ 31 w 32"/>
              <a:gd name="T9" fmla="*/ 17 h 30"/>
              <a:gd name="T10" fmla="*/ 18 w 32"/>
              <a:gd name="T11" fmla="*/ 0 h 30"/>
              <a:gd name="T12" fmla="*/ 16 w 3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2" h="30">
                <a:moveTo>
                  <a:pt x="16" y="0"/>
                </a:moveTo>
                <a:cubicBezTo>
                  <a:pt x="9" y="0"/>
                  <a:pt x="2" y="6"/>
                  <a:pt x="1" y="13"/>
                </a:cubicBezTo>
                <a:cubicBezTo>
                  <a:pt x="0" y="21"/>
                  <a:pt x="6" y="29"/>
                  <a:pt x="14" y="30"/>
                </a:cubicBezTo>
                <a:cubicBezTo>
                  <a:pt x="15" y="30"/>
                  <a:pt x="16" y="30"/>
                  <a:pt x="16" y="30"/>
                </a:cubicBezTo>
                <a:cubicBezTo>
                  <a:pt x="24" y="30"/>
                  <a:pt x="30" y="24"/>
                  <a:pt x="31" y="17"/>
                </a:cubicBezTo>
                <a:cubicBezTo>
                  <a:pt x="32" y="9"/>
                  <a:pt x="26" y="1"/>
                  <a:pt x="18" y="0"/>
                </a:cubicBezTo>
                <a:cubicBezTo>
                  <a:pt x="17" y="0"/>
                  <a:pt x="17" y="0"/>
                  <a:pt x="1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19"/>
          <p:cNvSpPr>
            <a:spLocks/>
          </p:cNvSpPr>
          <p:nvPr/>
        </p:nvSpPr>
        <p:spPr bwMode="auto">
          <a:xfrm>
            <a:off x="9133846" y="4203700"/>
            <a:ext cx="180975" cy="169862"/>
          </a:xfrm>
          <a:custGeom>
            <a:avLst/>
            <a:gdLst>
              <a:gd name="T0" fmla="*/ 36 w 73"/>
              <a:gd name="T1" fmla="*/ 0 h 69"/>
              <a:gd name="T2" fmla="*/ 2 w 73"/>
              <a:gd name="T3" fmla="*/ 30 h 69"/>
              <a:gd name="T4" fmla="*/ 32 w 73"/>
              <a:gd name="T5" fmla="*/ 69 h 69"/>
              <a:gd name="T6" fmla="*/ 36 w 73"/>
              <a:gd name="T7" fmla="*/ 69 h 69"/>
              <a:gd name="T8" fmla="*/ 70 w 73"/>
              <a:gd name="T9" fmla="*/ 39 h 69"/>
              <a:gd name="T10" fmla="*/ 41 w 73"/>
              <a:gd name="T11" fmla="*/ 1 h 69"/>
              <a:gd name="T12" fmla="*/ 36 w 73"/>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73" h="69">
                <a:moveTo>
                  <a:pt x="36" y="0"/>
                </a:moveTo>
                <a:cubicBezTo>
                  <a:pt x="19" y="0"/>
                  <a:pt x="4" y="13"/>
                  <a:pt x="2" y="30"/>
                </a:cubicBezTo>
                <a:cubicBezTo>
                  <a:pt x="0" y="49"/>
                  <a:pt x="13" y="67"/>
                  <a:pt x="32" y="69"/>
                </a:cubicBezTo>
                <a:cubicBezTo>
                  <a:pt x="33" y="69"/>
                  <a:pt x="35" y="69"/>
                  <a:pt x="36" y="69"/>
                </a:cubicBezTo>
                <a:cubicBezTo>
                  <a:pt x="53" y="69"/>
                  <a:pt x="68" y="57"/>
                  <a:pt x="70" y="39"/>
                </a:cubicBezTo>
                <a:cubicBezTo>
                  <a:pt x="73" y="20"/>
                  <a:pt x="59" y="3"/>
                  <a:pt x="41" y="1"/>
                </a:cubicBezTo>
                <a:cubicBezTo>
                  <a:pt x="39" y="1"/>
                  <a:pt x="38" y="0"/>
                  <a:pt x="3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20"/>
          <p:cNvSpPr>
            <a:spLocks/>
          </p:cNvSpPr>
          <p:nvPr/>
        </p:nvSpPr>
        <p:spPr bwMode="auto">
          <a:xfrm>
            <a:off x="5838196" y="736600"/>
            <a:ext cx="112713" cy="107950"/>
          </a:xfrm>
          <a:custGeom>
            <a:avLst/>
            <a:gdLst>
              <a:gd name="T0" fmla="*/ 23 w 46"/>
              <a:gd name="T1" fmla="*/ 0 h 44"/>
              <a:gd name="T2" fmla="*/ 21 w 46"/>
              <a:gd name="T3" fmla="*/ 0 h 44"/>
              <a:gd name="T4" fmla="*/ 1 w 46"/>
              <a:gd name="T5" fmla="*/ 25 h 44"/>
              <a:gd name="T6" fmla="*/ 23 w 46"/>
              <a:gd name="T7" fmla="*/ 44 h 44"/>
              <a:gd name="T8" fmla="*/ 25 w 46"/>
              <a:gd name="T9" fmla="*/ 44 h 44"/>
              <a:gd name="T10" fmla="*/ 45 w 46"/>
              <a:gd name="T11" fmla="*/ 20 h 44"/>
              <a:gd name="T12" fmla="*/ 23 w 46"/>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6" h="44">
                <a:moveTo>
                  <a:pt x="23" y="0"/>
                </a:moveTo>
                <a:cubicBezTo>
                  <a:pt x="22" y="0"/>
                  <a:pt x="21" y="0"/>
                  <a:pt x="21" y="0"/>
                </a:cubicBezTo>
                <a:cubicBezTo>
                  <a:pt x="8" y="2"/>
                  <a:pt x="0" y="13"/>
                  <a:pt x="1" y="25"/>
                </a:cubicBezTo>
                <a:cubicBezTo>
                  <a:pt x="2" y="36"/>
                  <a:pt x="12" y="44"/>
                  <a:pt x="23" y="44"/>
                </a:cubicBezTo>
                <a:cubicBezTo>
                  <a:pt x="24" y="44"/>
                  <a:pt x="25" y="44"/>
                  <a:pt x="25" y="44"/>
                </a:cubicBezTo>
                <a:cubicBezTo>
                  <a:pt x="38" y="43"/>
                  <a:pt x="46" y="32"/>
                  <a:pt x="45" y="20"/>
                </a:cubicBezTo>
                <a:cubicBezTo>
                  <a:pt x="44" y="9"/>
                  <a:pt x="34" y="0"/>
                  <a:pt x="2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21"/>
          <p:cNvSpPr>
            <a:spLocks/>
          </p:cNvSpPr>
          <p:nvPr/>
        </p:nvSpPr>
        <p:spPr bwMode="auto">
          <a:xfrm>
            <a:off x="5973133" y="554038"/>
            <a:ext cx="77788" cy="74612"/>
          </a:xfrm>
          <a:custGeom>
            <a:avLst/>
            <a:gdLst>
              <a:gd name="T0" fmla="*/ 15 w 31"/>
              <a:gd name="T1" fmla="*/ 0 h 30"/>
              <a:gd name="T2" fmla="*/ 14 w 31"/>
              <a:gd name="T3" fmla="*/ 0 h 30"/>
              <a:gd name="T4" fmla="*/ 1 w 31"/>
              <a:gd name="T5" fmla="*/ 16 h 30"/>
              <a:gd name="T6" fmla="*/ 15 w 31"/>
              <a:gd name="T7" fmla="*/ 30 h 30"/>
              <a:gd name="T8" fmla="*/ 17 w 31"/>
              <a:gd name="T9" fmla="*/ 29 h 30"/>
              <a:gd name="T10" fmla="*/ 30 w 31"/>
              <a:gd name="T11" fmla="*/ 13 h 30"/>
              <a:gd name="T12" fmla="*/ 15 w 3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15" y="0"/>
                </a:moveTo>
                <a:cubicBezTo>
                  <a:pt x="15" y="0"/>
                  <a:pt x="14" y="0"/>
                  <a:pt x="14" y="0"/>
                </a:cubicBezTo>
                <a:cubicBezTo>
                  <a:pt x="6" y="1"/>
                  <a:pt x="0" y="8"/>
                  <a:pt x="1" y="16"/>
                </a:cubicBezTo>
                <a:cubicBezTo>
                  <a:pt x="1" y="24"/>
                  <a:pt x="8" y="30"/>
                  <a:pt x="15" y="30"/>
                </a:cubicBezTo>
                <a:cubicBezTo>
                  <a:pt x="16" y="30"/>
                  <a:pt x="16" y="30"/>
                  <a:pt x="17" y="29"/>
                </a:cubicBezTo>
                <a:cubicBezTo>
                  <a:pt x="25" y="29"/>
                  <a:pt x="31" y="21"/>
                  <a:pt x="30" y="13"/>
                </a:cubicBezTo>
                <a:cubicBezTo>
                  <a:pt x="29" y="5"/>
                  <a:pt x="23" y="0"/>
                  <a:pt x="1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22"/>
          <p:cNvSpPr>
            <a:spLocks/>
          </p:cNvSpPr>
          <p:nvPr/>
        </p:nvSpPr>
        <p:spPr bwMode="auto">
          <a:xfrm>
            <a:off x="6082671" y="728663"/>
            <a:ext cx="177800" cy="171450"/>
          </a:xfrm>
          <a:custGeom>
            <a:avLst/>
            <a:gdLst>
              <a:gd name="T0" fmla="*/ 36 w 72"/>
              <a:gd name="T1" fmla="*/ 1 h 69"/>
              <a:gd name="T2" fmla="*/ 32 w 72"/>
              <a:gd name="T3" fmla="*/ 1 h 69"/>
              <a:gd name="T4" fmla="*/ 2 w 72"/>
              <a:gd name="T5" fmla="*/ 39 h 69"/>
              <a:gd name="T6" fmla="*/ 36 w 72"/>
              <a:gd name="T7" fmla="*/ 69 h 69"/>
              <a:gd name="T8" fmla="*/ 40 w 72"/>
              <a:gd name="T9" fmla="*/ 69 h 69"/>
              <a:gd name="T10" fmla="*/ 70 w 72"/>
              <a:gd name="T11" fmla="*/ 31 h 69"/>
              <a:gd name="T12" fmla="*/ 36 w 72"/>
              <a:gd name="T13" fmla="*/ 1 h 69"/>
            </a:gdLst>
            <a:ahLst/>
            <a:cxnLst>
              <a:cxn ang="0">
                <a:pos x="T0" y="T1"/>
              </a:cxn>
              <a:cxn ang="0">
                <a:pos x="T2" y="T3"/>
              </a:cxn>
              <a:cxn ang="0">
                <a:pos x="T4" y="T5"/>
              </a:cxn>
              <a:cxn ang="0">
                <a:pos x="T6" y="T7"/>
              </a:cxn>
              <a:cxn ang="0">
                <a:pos x="T8" y="T9"/>
              </a:cxn>
              <a:cxn ang="0">
                <a:pos x="T10" y="T11"/>
              </a:cxn>
              <a:cxn ang="0">
                <a:pos x="T12" y="T13"/>
              </a:cxn>
            </a:cxnLst>
            <a:rect l="0" t="0" r="r" b="b"/>
            <a:pathLst>
              <a:path w="72" h="69">
                <a:moveTo>
                  <a:pt x="36" y="1"/>
                </a:moveTo>
                <a:cubicBezTo>
                  <a:pt x="35" y="1"/>
                  <a:pt x="33" y="1"/>
                  <a:pt x="32" y="1"/>
                </a:cubicBezTo>
                <a:cubicBezTo>
                  <a:pt x="13" y="3"/>
                  <a:pt x="0" y="20"/>
                  <a:pt x="2" y="39"/>
                </a:cubicBezTo>
                <a:cubicBezTo>
                  <a:pt x="4" y="56"/>
                  <a:pt x="19" y="69"/>
                  <a:pt x="36" y="69"/>
                </a:cubicBezTo>
                <a:cubicBezTo>
                  <a:pt x="37" y="69"/>
                  <a:pt x="38" y="69"/>
                  <a:pt x="40" y="69"/>
                </a:cubicBezTo>
                <a:cubicBezTo>
                  <a:pt x="59" y="67"/>
                  <a:pt x="72" y="50"/>
                  <a:pt x="70" y="31"/>
                </a:cubicBezTo>
                <a:cubicBezTo>
                  <a:pt x="68" y="14"/>
                  <a:pt x="53" y="0"/>
                  <a:pt x="36" y="1"/>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23"/>
          <p:cNvSpPr>
            <a:spLocks/>
          </p:cNvSpPr>
          <p:nvPr/>
        </p:nvSpPr>
        <p:spPr bwMode="auto">
          <a:xfrm>
            <a:off x="7078033" y="2033588"/>
            <a:ext cx="2700338" cy="2454275"/>
          </a:xfrm>
          <a:custGeom>
            <a:avLst/>
            <a:gdLst>
              <a:gd name="T0" fmla="*/ 1048 w 1094"/>
              <a:gd name="T1" fmla="*/ 460 h 994"/>
              <a:gd name="T2" fmla="*/ 837 w 1094"/>
              <a:gd name="T3" fmla="*/ 368 h 994"/>
              <a:gd name="T4" fmla="*/ 806 w 1094"/>
              <a:gd name="T5" fmla="*/ 369 h 994"/>
              <a:gd name="T6" fmla="*/ 718 w 1094"/>
              <a:gd name="T7" fmla="*/ 169 h 994"/>
              <a:gd name="T8" fmla="*/ 567 w 1094"/>
              <a:gd name="T9" fmla="*/ 113 h 994"/>
              <a:gd name="T10" fmla="*/ 445 w 1094"/>
              <a:gd name="T11" fmla="*/ 138 h 994"/>
              <a:gd name="T12" fmla="*/ 183 w 1094"/>
              <a:gd name="T13" fmla="*/ 0 h 994"/>
              <a:gd name="T14" fmla="*/ 167 w 1094"/>
              <a:gd name="T15" fmla="*/ 1 h 994"/>
              <a:gd name="T16" fmla="*/ 0 w 1094"/>
              <a:gd name="T17" fmla="*/ 54 h 994"/>
              <a:gd name="T18" fmla="*/ 35 w 1094"/>
              <a:gd name="T19" fmla="*/ 154 h 994"/>
              <a:gd name="T20" fmla="*/ 93 w 1094"/>
              <a:gd name="T21" fmla="*/ 149 h 994"/>
              <a:gd name="T22" fmla="*/ 317 w 1094"/>
              <a:gd name="T23" fmla="*/ 308 h 994"/>
              <a:gd name="T24" fmla="*/ 335 w 1094"/>
              <a:gd name="T25" fmla="*/ 308 h 994"/>
              <a:gd name="T26" fmla="*/ 573 w 1094"/>
              <a:gd name="T27" fmla="*/ 460 h 994"/>
              <a:gd name="T28" fmla="*/ 581 w 1094"/>
              <a:gd name="T29" fmla="*/ 809 h 994"/>
              <a:gd name="T30" fmla="*/ 350 w 1094"/>
              <a:gd name="T31" fmla="*/ 979 h 994"/>
              <a:gd name="T32" fmla="*/ 406 w 1094"/>
              <a:gd name="T33" fmla="*/ 990 h 994"/>
              <a:gd name="T34" fmla="*/ 458 w 1094"/>
              <a:gd name="T35" fmla="*/ 994 h 994"/>
              <a:gd name="T36" fmla="*/ 696 w 1094"/>
              <a:gd name="T37" fmla="*/ 848 h 994"/>
              <a:gd name="T38" fmla="*/ 767 w 1094"/>
              <a:gd name="T39" fmla="*/ 860 h 994"/>
              <a:gd name="T40" fmla="*/ 904 w 1094"/>
              <a:gd name="T41" fmla="*/ 786 h 994"/>
              <a:gd name="T42" fmla="*/ 1056 w 1094"/>
              <a:gd name="T43" fmla="*/ 675 h 994"/>
              <a:gd name="T44" fmla="*/ 1048 w 1094"/>
              <a:gd name="T45" fmla="*/ 46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4" h="994">
                <a:moveTo>
                  <a:pt x="1048" y="460"/>
                </a:moveTo>
                <a:cubicBezTo>
                  <a:pt x="987" y="380"/>
                  <a:pt x="890" y="368"/>
                  <a:pt x="837" y="368"/>
                </a:cubicBezTo>
                <a:cubicBezTo>
                  <a:pt x="824" y="368"/>
                  <a:pt x="814" y="368"/>
                  <a:pt x="806" y="369"/>
                </a:cubicBezTo>
                <a:cubicBezTo>
                  <a:pt x="811" y="334"/>
                  <a:pt x="809" y="252"/>
                  <a:pt x="718" y="169"/>
                </a:cubicBezTo>
                <a:cubicBezTo>
                  <a:pt x="677" y="132"/>
                  <a:pt x="626" y="113"/>
                  <a:pt x="567" y="113"/>
                </a:cubicBezTo>
                <a:cubicBezTo>
                  <a:pt x="512" y="113"/>
                  <a:pt x="465" y="130"/>
                  <a:pt x="445" y="138"/>
                </a:cubicBezTo>
                <a:cubicBezTo>
                  <a:pt x="427" y="103"/>
                  <a:pt x="359" y="0"/>
                  <a:pt x="183" y="0"/>
                </a:cubicBezTo>
                <a:cubicBezTo>
                  <a:pt x="178" y="0"/>
                  <a:pt x="172" y="0"/>
                  <a:pt x="167" y="1"/>
                </a:cubicBezTo>
                <a:cubicBezTo>
                  <a:pt x="94" y="3"/>
                  <a:pt x="40" y="25"/>
                  <a:pt x="0" y="54"/>
                </a:cubicBezTo>
                <a:cubicBezTo>
                  <a:pt x="20" y="93"/>
                  <a:pt x="30" y="130"/>
                  <a:pt x="35" y="154"/>
                </a:cubicBezTo>
                <a:cubicBezTo>
                  <a:pt x="55" y="151"/>
                  <a:pt x="75" y="149"/>
                  <a:pt x="93" y="149"/>
                </a:cubicBezTo>
                <a:cubicBezTo>
                  <a:pt x="244" y="149"/>
                  <a:pt x="300" y="261"/>
                  <a:pt x="317" y="308"/>
                </a:cubicBezTo>
                <a:cubicBezTo>
                  <a:pt x="323" y="308"/>
                  <a:pt x="329" y="308"/>
                  <a:pt x="335" y="308"/>
                </a:cubicBezTo>
                <a:cubicBezTo>
                  <a:pt x="426" y="308"/>
                  <a:pt x="517" y="366"/>
                  <a:pt x="573" y="460"/>
                </a:cubicBezTo>
                <a:cubicBezTo>
                  <a:pt x="638" y="570"/>
                  <a:pt x="641" y="701"/>
                  <a:pt x="581" y="809"/>
                </a:cubicBezTo>
                <a:cubicBezTo>
                  <a:pt x="523" y="915"/>
                  <a:pt x="434" y="961"/>
                  <a:pt x="350" y="979"/>
                </a:cubicBezTo>
                <a:cubicBezTo>
                  <a:pt x="367" y="983"/>
                  <a:pt x="385" y="987"/>
                  <a:pt x="406" y="990"/>
                </a:cubicBezTo>
                <a:cubicBezTo>
                  <a:pt x="423" y="992"/>
                  <a:pt x="441" y="994"/>
                  <a:pt x="458" y="994"/>
                </a:cubicBezTo>
                <a:cubicBezTo>
                  <a:pt x="611" y="994"/>
                  <a:pt x="678" y="883"/>
                  <a:pt x="696" y="848"/>
                </a:cubicBezTo>
                <a:cubicBezTo>
                  <a:pt x="721" y="856"/>
                  <a:pt x="745" y="860"/>
                  <a:pt x="767" y="860"/>
                </a:cubicBezTo>
                <a:cubicBezTo>
                  <a:pt x="852" y="860"/>
                  <a:pt x="893" y="805"/>
                  <a:pt x="904" y="786"/>
                </a:cubicBezTo>
                <a:cubicBezTo>
                  <a:pt x="965" y="784"/>
                  <a:pt x="1023" y="742"/>
                  <a:pt x="1056" y="675"/>
                </a:cubicBezTo>
                <a:cubicBezTo>
                  <a:pt x="1094" y="599"/>
                  <a:pt x="1091" y="517"/>
                  <a:pt x="1048" y="4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24"/>
          <p:cNvSpPr>
            <a:spLocks/>
          </p:cNvSpPr>
          <p:nvPr/>
        </p:nvSpPr>
        <p:spPr bwMode="auto">
          <a:xfrm>
            <a:off x="4012571" y="833438"/>
            <a:ext cx="2476500" cy="1300162"/>
          </a:xfrm>
          <a:custGeom>
            <a:avLst/>
            <a:gdLst>
              <a:gd name="T0" fmla="*/ 118 w 1003"/>
              <a:gd name="T1" fmla="*/ 487 h 527"/>
              <a:gd name="T2" fmla="*/ 168 w 1003"/>
              <a:gd name="T3" fmla="*/ 527 h 527"/>
              <a:gd name="T4" fmla="*/ 335 w 1003"/>
              <a:gd name="T5" fmla="*/ 484 h 527"/>
              <a:gd name="T6" fmla="*/ 500 w 1003"/>
              <a:gd name="T7" fmla="*/ 515 h 527"/>
              <a:gd name="T8" fmla="*/ 870 w 1003"/>
              <a:gd name="T9" fmla="*/ 327 h 527"/>
              <a:gd name="T10" fmla="*/ 892 w 1003"/>
              <a:gd name="T11" fmla="*/ 327 h 527"/>
              <a:gd name="T12" fmla="*/ 1003 w 1003"/>
              <a:gd name="T13" fmla="*/ 343 h 527"/>
              <a:gd name="T14" fmla="*/ 981 w 1003"/>
              <a:gd name="T15" fmla="*/ 273 h 527"/>
              <a:gd name="T16" fmla="*/ 880 w 1003"/>
              <a:gd name="T17" fmla="*/ 208 h 527"/>
              <a:gd name="T18" fmla="*/ 868 w 1003"/>
              <a:gd name="T19" fmla="*/ 209 h 527"/>
              <a:gd name="T20" fmla="*/ 772 w 1003"/>
              <a:gd name="T21" fmla="*/ 138 h 527"/>
              <a:gd name="T22" fmla="*/ 742 w 1003"/>
              <a:gd name="T23" fmla="*/ 141 h 527"/>
              <a:gd name="T24" fmla="*/ 574 w 1003"/>
              <a:gd name="T25" fmla="*/ 0 h 527"/>
              <a:gd name="T26" fmla="*/ 565 w 1003"/>
              <a:gd name="T27" fmla="*/ 0 h 527"/>
              <a:gd name="T28" fmla="*/ 402 w 1003"/>
              <a:gd name="T29" fmla="*/ 85 h 527"/>
              <a:gd name="T30" fmla="*/ 327 w 1003"/>
              <a:gd name="T31" fmla="*/ 70 h 527"/>
              <a:gd name="T32" fmla="*/ 233 w 1003"/>
              <a:gd name="T33" fmla="*/ 105 h 527"/>
              <a:gd name="T34" fmla="*/ 178 w 1003"/>
              <a:gd name="T35" fmla="*/ 228 h 527"/>
              <a:gd name="T36" fmla="*/ 160 w 1003"/>
              <a:gd name="T37" fmla="*/ 228 h 527"/>
              <a:gd name="T38" fmla="*/ 29 w 1003"/>
              <a:gd name="T39" fmla="*/ 285 h 527"/>
              <a:gd name="T40" fmla="*/ 23 w 1003"/>
              <a:gd name="T41" fmla="*/ 418 h 527"/>
              <a:gd name="T42" fmla="*/ 118 w 1003"/>
              <a:gd name="T43" fmla="*/ 48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03" h="527">
                <a:moveTo>
                  <a:pt x="118" y="487"/>
                </a:moveTo>
                <a:cubicBezTo>
                  <a:pt x="123" y="496"/>
                  <a:pt x="138" y="517"/>
                  <a:pt x="168" y="527"/>
                </a:cubicBezTo>
                <a:cubicBezTo>
                  <a:pt x="217" y="498"/>
                  <a:pt x="273" y="484"/>
                  <a:pt x="335" y="484"/>
                </a:cubicBezTo>
                <a:cubicBezTo>
                  <a:pt x="405" y="484"/>
                  <a:pt x="465" y="502"/>
                  <a:pt x="500" y="515"/>
                </a:cubicBezTo>
                <a:cubicBezTo>
                  <a:pt x="531" y="460"/>
                  <a:pt x="631" y="327"/>
                  <a:pt x="870" y="327"/>
                </a:cubicBezTo>
                <a:cubicBezTo>
                  <a:pt x="877" y="327"/>
                  <a:pt x="884" y="327"/>
                  <a:pt x="892" y="327"/>
                </a:cubicBezTo>
                <a:cubicBezTo>
                  <a:pt x="933" y="328"/>
                  <a:pt x="970" y="334"/>
                  <a:pt x="1003" y="343"/>
                </a:cubicBezTo>
                <a:cubicBezTo>
                  <a:pt x="1001" y="319"/>
                  <a:pt x="994" y="295"/>
                  <a:pt x="981" y="273"/>
                </a:cubicBezTo>
                <a:cubicBezTo>
                  <a:pt x="957" y="233"/>
                  <a:pt x="919" y="208"/>
                  <a:pt x="880" y="208"/>
                </a:cubicBezTo>
                <a:cubicBezTo>
                  <a:pt x="876" y="208"/>
                  <a:pt x="872" y="208"/>
                  <a:pt x="868" y="209"/>
                </a:cubicBezTo>
                <a:cubicBezTo>
                  <a:pt x="862" y="190"/>
                  <a:pt x="840" y="138"/>
                  <a:pt x="772" y="138"/>
                </a:cubicBezTo>
                <a:cubicBezTo>
                  <a:pt x="763" y="138"/>
                  <a:pt x="753" y="139"/>
                  <a:pt x="742" y="141"/>
                </a:cubicBezTo>
                <a:cubicBezTo>
                  <a:pt x="736" y="110"/>
                  <a:pt x="707" y="4"/>
                  <a:pt x="574" y="0"/>
                </a:cubicBezTo>
                <a:cubicBezTo>
                  <a:pt x="571" y="0"/>
                  <a:pt x="568" y="0"/>
                  <a:pt x="565" y="0"/>
                </a:cubicBezTo>
                <a:cubicBezTo>
                  <a:pt x="455" y="0"/>
                  <a:pt x="413" y="64"/>
                  <a:pt x="402" y="85"/>
                </a:cubicBezTo>
                <a:cubicBezTo>
                  <a:pt x="390" y="80"/>
                  <a:pt x="361" y="70"/>
                  <a:pt x="327" y="70"/>
                </a:cubicBezTo>
                <a:cubicBezTo>
                  <a:pt x="290" y="70"/>
                  <a:pt x="258" y="82"/>
                  <a:pt x="233" y="105"/>
                </a:cubicBezTo>
                <a:cubicBezTo>
                  <a:pt x="177" y="156"/>
                  <a:pt x="176" y="207"/>
                  <a:pt x="178" y="228"/>
                </a:cubicBezTo>
                <a:cubicBezTo>
                  <a:pt x="173" y="228"/>
                  <a:pt x="167" y="228"/>
                  <a:pt x="160" y="228"/>
                </a:cubicBezTo>
                <a:cubicBezTo>
                  <a:pt x="127" y="228"/>
                  <a:pt x="66" y="235"/>
                  <a:pt x="29" y="285"/>
                </a:cubicBezTo>
                <a:cubicBezTo>
                  <a:pt x="2" y="320"/>
                  <a:pt x="0" y="371"/>
                  <a:pt x="23" y="418"/>
                </a:cubicBezTo>
                <a:cubicBezTo>
                  <a:pt x="44" y="460"/>
                  <a:pt x="80" y="486"/>
                  <a:pt x="118" y="4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25"/>
          <p:cNvSpPr>
            <a:spLocks/>
          </p:cNvSpPr>
          <p:nvPr/>
        </p:nvSpPr>
        <p:spPr bwMode="auto">
          <a:xfrm>
            <a:off x="2480633" y="1860550"/>
            <a:ext cx="1949450" cy="1423987"/>
          </a:xfrm>
          <a:custGeom>
            <a:avLst/>
            <a:gdLst>
              <a:gd name="T0" fmla="*/ 268 w 790"/>
              <a:gd name="T1" fmla="*/ 571 h 577"/>
              <a:gd name="T2" fmla="*/ 279 w 790"/>
              <a:gd name="T3" fmla="*/ 555 h 577"/>
              <a:gd name="T4" fmla="*/ 582 w 790"/>
              <a:gd name="T5" fmla="*/ 421 h 577"/>
              <a:gd name="T6" fmla="*/ 611 w 790"/>
              <a:gd name="T7" fmla="*/ 422 h 577"/>
              <a:gd name="T8" fmla="*/ 738 w 790"/>
              <a:gd name="T9" fmla="*/ 149 h 577"/>
              <a:gd name="T10" fmla="*/ 790 w 790"/>
              <a:gd name="T11" fmla="*/ 110 h 577"/>
              <a:gd name="T12" fmla="*/ 622 w 790"/>
              <a:gd name="T13" fmla="*/ 0 h 577"/>
              <a:gd name="T14" fmla="*/ 612 w 790"/>
              <a:gd name="T15" fmla="*/ 0 h 577"/>
              <a:gd name="T16" fmla="*/ 435 w 790"/>
              <a:gd name="T17" fmla="*/ 93 h 577"/>
              <a:gd name="T18" fmla="*/ 353 w 790"/>
              <a:gd name="T19" fmla="*/ 76 h 577"/>
              <a:gd name="T20" fmla="*/ 252 w 790"/>
              <a:gd name="T21" fmla="*/ 114 h 577"/>
              <a:gd name="T22" fmla="*/ 193 w 790"/>
              <a:gd name="T23" fmla="*/ 248 h 577"/>
              <a:gd name="T24" fmla="*/ 172 w 790"/>
              <a:gd name="T25" fmla="*/ 247 h 577"/>
              <a:gd name="T26" fmla="*/ 31 w 790"/>
              <a:gd name="T27" fmla="*/ 309 h 577"/>
              <a:gd name="T28" fmla="*/ 25 w 790"/>
              <a:gd name="T29" fmla="*/ 453 h 577"/>
              <a:gd name="T30" fmla="*/ 127 w 790"/>
              <a:gd name="T31" fmla="*/ 528 h 577"/>
              <a:gd name="T32" fmla="*/ 219 w 790"/>
              <a:gd name="T33" fmla="*/ 577 h 577"/>
              <a:gd name="T34" fmla="*/ 267 w 790"/>
              <a:gd name="T35" fmla="*/ 570 h 577"/>
              <a:gd name="T36" fmla="*/ 268 w 790"/>
              <a:gd name="T37" fmla="*/ 57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0" h="577">
                <a:moveTo>
                  <a:pt x="268" y="571"/>
                </a:moveTo>
                <a:cubicBezTo>
                  <a:pt x="271" y="565"/>
                  <a:pt x="275" y="560"/>
                  <a:pt x="279" y="555"/>
                </a:cubicBezTo>
                <a:cubicBezTo>
                  <a:pt x="366" y="439"/>
                  <a:pt x="506" y="421"/>
                  <a:pt x="582" y="421"/>
                </a:cubicBezTo>
                <a:cubicBezTo>
                  <a:pt x="591" y="421"/>
                  <a:pt x="601" y="421"/>
                  <a:pt x="611" y="422"/>
                </a:cubicBezTo>
                <a:cubicBezTo>
                  <a:pt x="607" y="368"/>
                  <a:pt x="618" y="257"/>
                  <a:pt x="738" y="149"/>
                </a:cubicBezTo>
                <a:cubicBezTo>
                  <a:pt x="754" y="134"/>
                  <a:pt x="772" y="121"/>
                  <a:pt x="790" y="110"/>
                </a:cubicBezTo>
                <a:cubicBezTo>
                  <a:pt x="771" y="65"/>
                  <a:pt x="725" y="4"/>
                  <a:pt x="622" y="0"/>
                </a:cubicBezTo>
                <a:cubicBezTo>
                  <a:pt x="618" y="0"/>
                  <a:pt x="615" y="0"/>
                  <a:pt x="612" y="0"/>
                </a:cubicBezTo>
                <a:cubicBezTo>
                  <a:pt x="493" y="0"/>
                  <a:pt x="447" y="69"/>
                  <a:pt x="435" y="93"/>
                </a:cubicBezTo>
                <a:cubicBezTo>
                  <a:pt x="422" y="87"/>
                  <a:pt x="390" y="76"/>
                  <a:pt x="353" y="76"/>
                </a:cubicBezTo>
                <a:cubicBezTo>
                  <a:pt x="313" y="76"/>
                  <a:pt x="279" y="89"/>
                  <a:pt x="252" y="114"/>
                </a:cubicBezTo>
                <a:cubicBezTo>
                  <a:pt x="191" y="169"/>
                  <a:pt x="190" y="224"/>
                  <a:pt x="193" y="248"/>
                </a:cubicBezTo>
                <a:cubicBezTo>
                  <a:pt x="188" y="247"/>
                  <a:pt x="181" y="247"/>
                  <a:pt x="172" y="247"/>
                </a:cubicBezTo>
                <a:cubicBezTo>
                  <a:pt x="137" y="247"/>
                  <a:pt x="71" y="255"/>
                  <a:pt x="31" y="309"/>
                </a:cubicBezTo>
                <a:cubicBezTo>
                  <a:pt x="2" y="347"/>
                  <a:pt x="0" y="403"/>
                  <a:pt x="25" y="453"/>
                </a:cubicBezTo>
                <a:cubicBezTo>
                  <a:pt x="47" y="498"/>
                  <a:pt x="86" y="526"/>
                  <a:pt x="127" y="528"/>
                </a:cubicBezTo>
                <a:cubicBezTo>
                  <a:pt x="135" y="541"/>
                  <a:pt x="162" y="577"/>
                  <a:pt x="219" y="577"/>
                </a:cubicBezTo>
                <a:cubicBezTo>
                  <a:pt x="234" y="577"/>
                  <a:pt x="250" y="575"/>
                  <a:pt x="267" y="570"/>
                </a:cubicBezTo>
                <a:lnTo>
                  <a:pt x="268" y="571"/>
                </a:ln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26"/>
          <p:cNvSpPr>
            <a:spLocks/>
          </p:cNvSpPr>
          <p:nvPr/>
        </p:nvSpPr>
        <p:spPr bwMode="auto">
          <a:xfrm>
            <a:off x="6922458" y="4411663"/>
            <a:ext cx="1228725" cy="606425"/>
          </a:xfrm>
          <a:custGeom>
            <a:avLst/>
            <a:gdLst>
              <a:gd name="T0" fmla="*/ 468 w 498"/>
              <a:gd name="T1" fmla="*/ 0 h 246"/>
              <a:gd name="T2" fmla="*/ 317 w 498"/>
              <a:gd name="T3" fmla="*/ 26 h 246"/>
              <a:gd name="T4" fmla="*/ 206 w 498"/>
              <a:gd name="T5" fmla="*/ 14 h 246"/>
              <a:gd name="T6" fmla="*/ 0 w 498"/>
              <a:gd name="T7" fmla="*/ 211 h 246"/>
              <a:gd name="T8" fmla="*/ 82 w 498"/>
              <a:gd name="T9" fmla="*/ 246 h 246"/>
              <a:gd name="T10" fmla="*/ 103 w 498"/>
              <a:gd name="T11" fmla="*/ 244 h 246"/>
              <a:gd name="T12" fmla="*/ 195 w 498"/>
              <a:gd name="T13" fmla="*/ 191 h 246"/>
              <a:gd name="T14" fmla="*/ 268 w 498"/>
              <a:gd name="T15" fmla="*/ 226 h 246"/>
              <a:gd name="T16" fmla="*/ 285 w 498"/>
              <a:gd name="T17" fmla="*/ 225 h 246"/>
              <a:gd name="T18" fmla="*/ 349 w 498"/>
              <a:gd name="T19" fmla="*/ 164 h 246"/>
              <a:gd name="T20" fmla="*/ 385 w 498"/>
              <a:gd name="T21" fmla="*/ 168 h 246"/>
              <a:gd name="T22" fmla="*/ 481 w 498"/>
              <a:gd name="T23" fmla="*/ 116 h 246"/>
              <a:gd name="T24" fmla="*/ 478 w 498"/>
              <a:gd name="T25" fmla="*/ 14 h 246"/>
              <a:gd name="T26" fmla="*/ 468 w 498"/>
              <a:gd name="T2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46">
                <a:moveTo>
                  <a:pt x="468" y="0"/>
                </a:moveTo>
                <a:cubicBezTo>
                  <a:pt x="416" y="20"/>
                  <a:pt x="363" y="26"/>
                  <a:pt x="317" y="26"/>
                </a:cubicBezTo>
                <a:cubicBezTo>
                  <a:pt x="271" y="26"/>
                  <a:pt x="231" y="20"/>
                  <a:pt x="206" y="14"/>
                </a:cubicBezTo>
                <a:cubicBezTo>
                  <a:pt x="194" y="71"/>
                  <a:pt x="150" y="179"/>
                  <a:pt x="0" y="211"/>
                </a:cubicBezTo>
                <a:cubicBezTo>
                  <a:pt x="16" y="228"/>
                  <a:pt x="42" y="246"/>
                  <a:pt x="82" y="246"/>
                </a:cubicBezTo>
                <a:cubicBezTo>
                  <a:pt x="89" y="246"/>
                  <a:pt x="96" y="245"/>
                  <a:pt x="103" y="244"/>
                </a:cubicBezTo>
                <a:cubicBezTo>
                  <a:pt x="170" y="234"/>
                  <a:pt x="189" y="207"/>
                  <a:pt x="195" y="191"/>
                </a:cubicBezTo>
                <a:cubicBezTo>
                  <a:pt x="206" y="204"/>
                  <a:pt x="231" y="226"/>
                  <a:pt x="268" y="226"/>
                </a:cubicBezTo>
                <a:cubicBezTo>
                  <a:pt x="274" y="226"/>
                  <a:pt x="280" y="226"/>
                  <a:pt x="285" y="225"/>
                </a:cubicBezTo>
                <a:cubicBezTo>
                  <a:pt x="335" y="216"/>
                  <a:pt x="346" y="179"/>
                  <a:pt x="349" y="164"/>
                </a:cubicBezTo>
                <a:cubicBezTo>
                  <a:pt x="356" y="166"/>
                  <a:pt x="369" y="168"/>
                  <a:pt x="385" y="168"/>
                </a:cubicBezTo>
                <a:cubicBezTo>
                  <a:pt x="416" y="168"/>
                  <a:pt x="457" y="159"/>
                  <a:pt x="481" y="116"/>
                </a:cubicBezTo>
                <a:cubicBezTo>
                  <a:pt x="498" y="85"/>
                  <a:pt x="497" y="46"/>
                  <a:pt x="478" y="14"/>
                </a:cubicBezTo>
                <a:cubicBezTo>
                  <a:pt x="475" y="9"/>
                  <a:pt x="472" y="5"/>
                  <a:pt x="468" y="0"/>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27"/>
          <p:cNvSpPr>
            <a:spLocks/>
          </p:cNvSpPr>
          <p:nvPr/>
        </p:nvSpPr>
        <p:spPr bwMode="auto">
          <a:xfrm>
            <a:off x="5584196" y="4675188"/>
            <a:ext cx="2305050" cy="1096962"/>
          </a:xfrm>
          <a:custGeom>
            <a:avLst/>
            <a:gdLst>
              <a:gd name="T0" fmla="*/ 813 w 934"/>
              <a:gd name="T1" fmla="*/ 66 h 444"/>
              <a:gd name="T2" fmla="*/ 802 w 934"/>
              <a:gd name="T3" fmla="*/ 67 h 444"/>
              <a:gd name="T4" fmla="*/ 713 w 934"/>
              <a:gd name="T5" fmla="*/ 0 h 444"/>
              <a:gd name="T6" fmla="*/ 708 w 934"/>
              <a:gd name="T7" fmla="*/ 1 h 444"/>
              <a:gd name="T8" fmla="*/ 529 w 934"/>
              <a:gd name="T9" fmla="*/ 106 h 444"/>
              <a:gd name="T10" fmla="*/ 472 w 934"/>
              <a:gd name="T11" fmla="*/ 111 h 444"/>
              <a:gd name="T12" fmla="*/ 232 w 934"/>
              <a:gd name="T13" fmla="*/ 5 h 444"/>
              <a:gd name="T14" fmla="*/ 163 w 934"/>
              <a:gd name="T15" fmla="*/ 85 h 444"/>
              <a:gd name="T16" fmla="*/ 163 w 934"/>
              <a:gd name="T17" fmla="*/ 85 h 444"/>
              <a:gd name="T18" fmla="*/ 163 w 934"/>
              <a:gd name="T19" fmla="*/ 85 h 444"/>
              <a:gd name="T20" fmla="*/ 15 w 934"/>
              <a:gd name="T21" fmla="*/ 152 h 444"/>
              <a:gd name="T22" fmla="*/ 19 w 934"/>
              <a:gd name="T23" fmla="*/ 260 h 444"/>
              <a:gd name="T24" fmla="*/ 107 w 934"/>
              <a:gd name="T25" fmla="*/ 324 h 444"/>
              <a:gd name="T26" fmla="*/ 186 w 934"/>
              <a:gd name="T27" fmla="*/ 367 h 444"/>
              <a:gd name="T28" fmla="*/ 227 w 934"/>
              <a:gd name="T29" fmla="*/ 360 h 444"/>
              <a:gd name="T30" fmla="*/ 363 w 934"/>
              <a:gd name="T31" fmla="*/ 444 h 444"/>
              <a:gd name="T32" fmla="*/ 393 w 934"/>
              <a:gd name="T33" fmla="*/ 441 h 444"/>
              <a:gd name="T34" fmla="*/ 519 w 934"/>
              <a:gd name="T35" fmla="*/ 369 h 444"/>
              <a:gd name="T36" fmla="*/ 619 w 934"/>
              <a:gd name="T37" fmla="*/ 417 h 444"/>
              <a:gd name="T38" fmla="*/ 642 w 934"/>
              <a:gd name="T39" fmla="*/ 415 h 444"/>
              <a:gd name="T40" fmla="*/ 730 w 934"/>
              <a:gd name="T41" fmla="*/ 332 h 444"/>
              <a:gd name="T42" fmla="*/ 780 w 934"/>
              <a:gd name="T43" fmla="*/ 337 h 444"/>
              <a:gd name="T44" fmla="*/ 910 w 934"/>
              <a:gd name="T45" fmla="*/ 266 h 444"/>
              <a:gd name="T46" fmla="*/ 907 w 934"/>
              <a:gd name="T47" fmla="*/ 126 h 444"/>
              <a:gd name="T48" fmla="*/ 813 w 934"/>
              <a:gd name="T49" fmla="*/ 6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34" h="444">
                <a:moveTo>
                  <a:pt x="813" y="66"/>
                </a:moveTo>
                <a:cubicBezTo>
                  <a:pt x="809" y="66"/>
                  <a:pt x="806" y="66"/>
                  <a:pt x="802" y="67"/>
                </a:cubicBezTo>
                <a:cubicBezTo>
                  <a:pt x="797" y="49"/>
                  <a:pt x="776" y="0"/>
                  <a:pt x="713" y="0"/>
                </a:cubicBezTo>
                <a:cubicBezTo>
                  <a:pt x="711" y="0"/>
                  <a:pt x="709" y="1"/>
                  <a:pt x="708" y="1"/>
                </a:cubicBezTo>
                <a:cubicBezTo>
                  <a:pt x="676" y="46"/>
                  <a:pt x="621" y="90"/>
                  <a:pt x="529" y="106"/>
                </a:cubicBezTo>
                <a:cubicBezTo>
                  <a:pt x="510" y="110"/>
                  <a:pt x="490" y="111"/>
                  <a:pt x="472" y="111"/>
                </a:cubicBezTo>
                <a:cubicBezTo>
                  <a:pt x="356" y="111"/>
                  <a:pt x="276" y="50"/>
                  <a:pt x="232" y="5"/>
                </a:cubicBezTo>
                <a:cubicBezTo>
                  <a:pt x="220" y="29"/>
                  <a:pt x="200" y="57"/>
                  <a:pt x="163" y="85"/>
                </a:cubicBezTo>
                <a:cubicBezTo>
                  <a:pt x="163" y="85"/>
                  <a:pt x="163" y="85"/>
                  <a:pt x="163" y="85"/>
                </a:cubicBezTo>
                <a:cubicBezTo>
                  <a:pt x="163" y="85"/>
                  <a:pt x="163" y="85"/>
                  <a:pt x="163" y="85"/>
                </a:cubicBezTo>
                <a:cubicBezTo>
                  <a:pt x="129" y="110"/>
                  <a:pt x="82" y="134"/>
                  <a:pt x="15" y="152"/>
                </a:cubicBezTo>
                <a:cubicBezTo>
                  <a:pt x="0" y="183"/>
                  <a:pt x="1" y="223"/>
                  <a:pt x="19" y="260"/>
                </a:cubicBezTo>
                <a:cubicBezTo>
                  <a:pt x="39" y="299"/>
                  <a:pt x="72" y="323"/>
                  <a:pt x="107" y="324"/>
                </a:cubicBezTo>
                <a:cubicBezTo>
                  <a:pt x="113" y="335"/>
                  <a:pt x="137" y="367"/>
                  <a:pt x="186" y="367"/>
                </a:cubicBezTo>
                <a:cubicBezTo>
                  <a:pt x="198" y="367"/>
                  <a:pt x="212" y="364"/>
                  <a:pt x="227" y="360"/>
                </a:cubicBezTo>
                <a:cubicBezTo>
                  <a:pt x="236" y="380"/>
                  <a:pt x="275" y="444"/>
                  <a:pt x="363" y="444"/>
                </a:cubicBezTo>
                <a:cubicBezTo>
                  <a:pt x="373" y="444"/>
                  <a:pt x="383" y="443"/>
                  <a:pt x="393" y="441"/>
                </a:cubicBezTo>
                <a:cubicBezTo>
                  <a:pt x="484" y="428"/>
                  <a:pt x="511" y="391"/>
                  <a:pt x="519" y="369"/>
                </a:cubicBezTo>
                <a:cubicBezTo>
                  <a:pt x="534" y="387"/>
                  <a:pt x="568" y="417"/>
                  <a:pt x="619" y="417"/>
                </a:cubicBezTo>
                <a:cubicBezTo>
                  <a:pt x="627" y="417"/>
                  <a:pt x="635" y="416"/>
                  <a:pt x="642" y="415"/>
                </a:cubicBezTo>
                <a:cubicBezTo>
                  <a:pt x="711" y="403"/>
                  <a:pt x="726" y="352"/>
                  <a:pt x="730" y="332"/>
                </a:cubicBezTo>
                <a:cubicBezTo>
                  <a:pt x="740" y="334"/>
                  <a:pt x="758" y="337"/>
                  <a:pt x="780" y="337"/>
                </a:cubicBezTo>
                <a:cubicBezTo>
                  <a:pt x="821" y="337"/>
                  <a:pt x="878" y="325"/>
                  <a:pt x="910" y="266"/>
                </a:cubicBezTo>
                <a:cubicBezTo>
                  <a:pt x="934" y="223"/>
                  <a:pt x="933" y="170"/>
                  <a:pt x="907" y="126"/>
                </a:cubicBezTo>
                <a:cubicBezTo>
                  <a:pt x="885" y="89"/>
                  <a:pt x="849" y="66"/>
                  <a:pt x="813" y="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28"/>
          <p:cNvSpPr>
            <a:spLocks/>
          </p:cNvSpPr>
          <p:nvPr/>
        </p:nvSpPr>
        <p:spPr bwMode="auto">
          <a:xfrm>
            <a:off x="3018796" y="4538663"/>
            <a:ext cx="3370263" cy="1595437"/>
          </a:xfrm>
          <a:custGeom>
            <a:avLst/>
            <a:gdLst>
              <a:gd name="T0" fmla="*/ 1215 w 1365"/>
              <a:gd name="T1" fmla="*/ 129 h 646"/>
              <a:gd name="T2" fmla="*/ 965 w 1365"/>
              <a:gd name="T3" fmla="*/ 225 h 646"/>
              <a:gd name="T4" fmla="*/ 891 w 1365"/>
              <a:gd name="T5" fmla="*/ 231 h 646"/>
              <a:gd name="T6" fmla="*/ 554 w 1365"/>
              <a:gd name="T7" fmla="*/ 31 h 646"/>
              <a:gd name="T8" fmla="*/ 461 w 1365"/>
              <a:gd name="T9" fmla="*/ 44 h 646"/>
              <a:gd name="T10" fmla="*/ 319 w 1365"/>
              <a:gd name="T11" fmla="*/ 0 h 646"/>
              <a:gd name="T12" fmla="*/ 192 w 1365"/>
              <a:gd name="T13" fmla="*/ 97 h 646"/>
              <a:gd name="T14" fmla="*/ 177 w 1365"/>
              <a:gd name="T15" fmla="*/ 96 h 646"/>
              <a:gd name="T16" fmla="*/ 39 w 1365"/>
              <a:gd name="T17" fmla="*/ 184 h 646"/>
              <a:gd name="T18" fmla="*/ 34 w 1365"/>
              <a:gd name="T19" fmla="*/ 387 h 646"/>
              <a:gd name="T20" fmla="*/ 225 w 1365"/>
              <a:gd name="T21" fmla="*/ 492 h 646"/>
              <a:gd name="T22" fmla="*/ 297 w 1365"/>
              <a:gd name="T23" fmla="*/ 483 h 646"/>
              <a:gd name="T24" fmla="*/ 425 w 1365"/>
              <a:gd name="T25" fmla="*/ 605 h 646"/>
              <a:gd name="T26" fmla="*/ 459 w 1365"/>
              <a:gd name="T27" fmla="*/ 608 h 646"/>
              <a:gd name="T28" fmla="*/ 605 w 1365"/>
              <a:gd name="T29" fmla="*/ 538 h 646"/>
              <a:gd name="T30" fmla="*/ 789 w 1365"/>
              <a:gd name="T31" fmla="*/ 643 h 646"/>
              <a:gd name="T32" fmla="*/ 832 w 1365"/>
              <a:gd name="T33" fmla="*/ 646 h 646"/>
              <a:gd name="T34" fmla="*/ 1032 w 1365"/>
              <a:gd name="T35" fmla="*/ 524 h 646"/>
              <a:gd name="T36" fmla="*/ 1091 w 1365"/>
              <a:gd name="T37" fmla="*/ 534 h 646"/>
              <a:gd name="T38" fmla="*/ 1206 w 1365"/>
              <a:gd name="T39" fmla="*/ 472 h 646"/>
              <a:gd name="T40" fmla="*/ 1334 w 1365"/>
              <a:gd name="T41" fmla="*/ 379 h 646"/>
              <a:gd name="T42" fmla="*/ 1327 w 1365"/>
              <a:gd name="T43" fmla="*/ 199 h 646"/>
              <a:gd name="T44" fmla="*/ 1215 w 1365"/>
              <a:gd name="T45" fmla="*/ 12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5" h="646">
                <a:moveTo>
                  <a:pt x="1215" y="129"/>
                </a:moveTo>
                <a:cubicBezTo>
                  <a:pt x="1168" y="169"/>
                  <a:pt x="1091" y="206"/>
                  <a:pt x="965" y="225"/>
                </a:cubicBezTo>
                <a:cubicBezTo>
                  <a:pt x="939" y="229"/>
                  <a:pt x="914" y="231"/>
                  <a:pt x="891" y="231"/>
                </a:cubicBezTo>
                <a:cubicBezTo>
                  <a:pt x="682" y="231"/>
                  <a:pt x="584" y="88"/>
                  <a:pt x="554" y="31"/>
                </a:cubicBezTo>
                <a:cubicBezTo>
                  <a:pt x="521" y="40"/>
                  <a:pt x="490" y="44"/>
                  <a:pt x="461" y="44"/>
                </a:cubicBezTo>
                <a:cubicBezTo>
                  <a:pt x="398" y="44"/>
                  <a:pt x="352" y="24"/>
                  <a:pt x="319" y="0"/>
                </a:cubicBezTo>
                <a:cubicBezTo>
                  <a:pt x="230" y="2"/>
                  <a:pt x="200" y="71"/>
                  <a:pt x="192" y="97"/>
                </a:cubicBezTo>
                <a:cubicBezTo>
                  <a:pt x="187" y="96"/>
                  <a:pt x="182" y="96"/>
                  <a:pt x="177" y="96"/>
                </a:cubicBezTo>
                <a:cubicBezTo>
                  <a:pt x="124" y="96"/>
                  <a:pt x="71" y="129"/>
                  <a:pt x="39" y="184"/>
                </a:cubicBezTo>
                <a:cubicBezTo>
                  <a:pt x="1" y="248"/>
                  <a:pt x="0" y="324"/>
                  <a:pt x="34" y="387"/>
                </a:cubicBezTo>
                <a:cubicBezTo>
                  <a:pt x="82" y="473"/>
                  <a:pt x="164" y="492"/>
                  <a:pt x="225" y="492"/>
                </a:cubicBezTo>
                <a:cubicBezTo>
                  <a:pt x="257" y="492"/>
                  <a:pt x="283" y="487"/>
                  <a:pt x="297" y="483"/>
                </a:cubicBezTo>
                <a:cubicBezTo>
                  <a:pt x="303" y="513"/>
                  <a:pt x="325" y="587"/>
                  <a:pt x="425" y="605"/>
                </a:cubicBezTo>
                <a:cubicBezTo>
                  <a:pt x="436" y="607"/>
                  <a:pt x="448" y="608"/>
                  <a:pt x="459" y="608"/>
                </a:cubicBezTo>
                <a:cubicBezTo>
                  <a:pt x="533" y="608"/>
                  <a:pt x="583" y="563"/>
                  <a:pt x="605" y="538"/>
                </a:cubicBezTo>
                <a:cubicBezTo>
                  <a:pt x="617" y="569"/>
                  <a:pt x="656" y="624"/>
                  <a:pt x="789" y="643"/>
                </a:cubicBezTo>
                <a:cubicBezTo>
                  <a:pt x="804" y="645"/>
                  <a:pt x="818" y="646"/>
                  <a:pt x="832" y="646"/>
                </a:cubicBezTo>
                <a:cubicBezTo>
                  <a:pt x="961" y="646"/>
                  <a:pt x="1017" y="554"/>
                  <a:pt x="1032" y="524"/>
                </a:cubicBezTo>
                <a:cubicBezTo>
                  <a:pt x="1053" y="531"/>
                  <a:pt x="1073" y="534"/>
                  <a:pt x="1091" y="534"/>
                </a:cubicBezTo>
                <a:cubicBezTo>
                  <a:pt x="1163" y="534"/>
                  <a:pt x="1197" y="488"/>
                  <a:pt x="1206" y="472"/>
                </a:cubicBezTo>
                <a:cubicBezTo>
                  <a:pt x="1257" y="471"/>
                  <a:pt x="1306" y="435"/>
                  <a:pt x="1334" y="379"/>
                </a:cubicBezTo>
                <a:cubicBezTo>
                  <a:pt x="1365" y="316"/>
                  <a:pt x="1363" y="247"/>
                  <a:pt x="1327" y="199"/>
                </a:cubicBezTo>
                <a:cubicBezTo>
                  <a:pt x="1296" y="158"/>
                  <a:pt x="1254" y="139"/>
                  <a:pt x="1215" y="129"/>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Subtitle 4"/>
          <p:cNvSpPr txBox="1">
            <a:spLocks/>
          </p:cNvSpPr>
          <p:nvPr/>
        </p:nvSpPr>
        <p:spPr>
          <a:xfrm>
            <a:off x="3747853" y="2666831"/>
            <a:ext cx="4739483" cy="487837"/>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smtClean="0">
                <a:solidFill>
                  <a:schemeClr val="bg1"/>
                </a:solidFill>
                <a:latin typeface="Bebas" pitchFamily="2" charset="0"/>
              </a:rPr>
              <a:t>Azure </a:t>
            </a:r>
            <a:r>
              <a:rPr lang="en-US" dirty="0" err="1" smtClean="0">
                <a:solidFill>
                  <a:schemeClr val="bg1"/>
                </a:solidFill>
                <a:latin typeface="Bebas" pitchFamily="2" charset="0"/>
              </a:rPr>
              <a:t>IoT</a:t>
            </a:r>
            <a:endParaRPr lang="id-ID" dirty="0">
              <a:solidFill>
                <a:schemeClr val="bg1"/>
              </a:solidFill>
              <a:latin typeface="Bebas" pitchFamily="2" charset="0"/>
            </a:endParaRPr>
          </a:p>
        </p:txBody>
      </p:sp>
      <p:cxnSp>
        <p:nvCxnSpPr>
          <p:cNvPr id="89" name="Straight Connector 88"/>
          <p:cNvCxnSpPr/>
          <p:nvPr/>
        </p:nvCxnSpPr>
        <p:spPr>
          <a:xfrm>
            <a:off x="5096230" y="3203819"/>
            <a:ext cx="2042729" cy="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940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53" presetClass="entr" presetSubtype="16"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 calcmode="lin" valueType="num">
                                      <p:cBhvr>
                                        <p:cTn id="10" dur="500" fill="hold"/>
                                        <p:tgtEl>
                                          <p:spTgt spid="30"/>
                                        </p:tgtEl>
                                        <p:attrNameLst>
                                          <p:attrName>ppt_w</p:attrName>
                                        </p:attrNameLst>
                                      </p:cBhvr>
                                      <p:tavLst>
                                        <p:tav tm="0">
                                          <p:val>
                                            <p:fltVal val="0"/>
                                          </p:val>
                                        </p:tav>
                                        <p:tav tm="100000">
                                          <p:val>
                                            <p:strVal val="#ppt_w"/>
                                          </p:val>
                                        </p:tav>
                                      </p:tavLst>
                                    </p:anim>
                                    <p:anim calcmode="lin" valueType="num">
                                      <p:cBhvr>
                                        <p:cTn id="11" dur="500" fill="hold"/>
                                        <p:tgtEl>
                                          <p:spTgt spid="30"/>
                                        </p:tgtEl>
                                        <p:attrNameLst>
                                          <p:attrName>ppt_h</p:attrName>
                                        </p:attrNameLst>
                                      </p:cBhvr>
                                      <p:tavLst>
                                        <p:tav tm="0">
                                          <p:val>
                                            <p:fltVal val="0"/>
                                          </p:val>
                                        </p:tav>
                                        <p:tav tm="100000">
                                          <p:val>
                                            <p:strVal val="#ppt_h"/>
                                          </p:val>
                                        </p:tav>
                                      </p:tavLst>
                                    </p:anim>
                                    <p:animEffect transition="in" filter="fade">
                                      <p:cBhvr>
                                        <p:cTn id="12" dur="500"/>
                                        <p:tgtEl>
                                          <p:spTgt spid="30"/>
                                        </p:tgtEl>
                                      </p:cBhvr>
                                    </p:animEffect>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50"/>
                                        </p:tgtEl>
                                        <p:attrNameLst>
                                          <p:attrName>style.visibility</p:attrName>
                                        </p:attrNameLst>
                                      </p:cBhvr>
                                      <p:to>
                                        <p:strVal val="visible"/>
                                      </p:to>
                                    </p:set>
                                    <p:anim calcmode="lin" valueType="num">
                                      <p:cBhvr>
                                        <p:cTn id="16" dur="500" fill="hold"/>
                                        <p:tgtEl>
                                          <p:spTgt spid="50"/>
                                        </p:tgtEl>
                                        <p:attrNameLst>
                                          <p:attrName>ppt_w</p:attrName>
                                        </p:attrNameLst>
                                      </p:cBhvr>
                                      <p:tavLst>
                                        <p:tav tm="0">
                                          <p:val>
                                            <p:fltVal val="0"/>
                                          </p:val>
                                        </p:tav>
                                        <p:tav tm="100000">
                                          <p:val>
                                            <p:strVal val="#ppt_w"/>
                                          </p:val>
                                        </p:tav>
                                      </p:tavLst>
                                    </p:anim>
                                    <p:anim calcmode="lin" valueType="num">
                                      <p:cBhvr>
                                        <p:cTn id="17" dur="500" fill="hold"/>
                                        <p:tgtEl>
                                          <p:spTgt spid="50"/>
                                        </p:tgtEl>
                                        <p:attrNameLst>
                                          <p:attrName>ppt_h</p:attrName>
                                        </p:attrNameLst>
                                      </p:cBhvr>
                                      <p:tavLst>
                                        <p:tav tm="0">
                                          <p:val>
                                            <p:fltVal val="0"/>
                                          </p:val>
                                        </p:tav>
                                        <p:tav tm="100000">
                                          <p:val>
                                            <p:strVal val="#ppt_h"/>
                                          </p:val>
                                        </p:tav>
                                      </p:tavLst>
                                    </p:anim>
                                    <p:animEffect transition="in" filter="fade">
                                      <p:cBhvr>
                                        <p:cTn id="18" dur="500"/>
                                        <p:tgtEl>
                                          <p:spTgt spid="50"/>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anim calcmode="lin" valueType="num">
                                      <p:cBhvr>
                                        <p:cTn id="21" dur="500" fill="hold"/>
                                        <p:tgtEl>
                                          <p:spTgt spid="51"/>
                                        </p:tgtEl>
                                        <p:attrNameLst>
                                          <p:attrName>ppt_w</p:attrName>
                                        </p:attrNameLst>
                                      </p:cBhvr>
                                      <p:tavLst>
                                        <p:tav tm="0">
                                          <p:val>
                                            <p:fltVal val="0"/>
                                          </p:val>
                                        </p:tav>
                                        <p:tav tm="100000">
                                          <p:val>
                                            <p:strVal val="#ppt_w"/>
                                          </p:val>
                                        </p:tav>
                                      </p:tavLst>
                                    </p:anim>
                                    <p:anim calcmode="lin" valueType="num">
                                      <p:cBhvr>
                                        <p:cTn id="22" dur="500" fill="hold"/>
                                        <p:tgtEl>
                                          <p:spTgt spid="51"/>
                                        </p:tgtEl>
                                        <p:attrNameLst>
                                          <p:attrName>ppt_h</p:attrName>
                                        </p:attrNameLst>
                                      </p:cBhvr>
                                      <p:tavLst>
                                        <p:tav tm="0">
                                          <p:val>
                                            <p:fltVal val="0"/>
                                          </p:val>
                                        </p:tav>
                                        <p:tav tm="100000">
                                          <p:val>
                                            <p:strVal val="#ppt_h"/>
                                          </p:val>
                                        </p:tav>
                                      </p:tavLst>
                                    </p:anim>
                                    <p:animEffect transition="in" filter="fade">
                                      <p:cBhvr>
                                        <p:cTn id="23" dur="500"/>
                                        <p:tgtEl>
                                          <p:spTgt spid="51"/>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64"/>
                                        </p:tgtEl>
                                        <p:attrNameLst>
                                          <p:attrName>style.visibility</p:attrName>
                                        </p:attrNameLst>
                                      </p:cBhvr>
                                      <p:to>
                                        <p:strVal val="visible"/>
                                      </p:to>
                                    </p:set>
                                    <p:anim calcmode="lin" valueType="num">
                                      <p:cBhvr>
                                        <p:cTn id="26" dur="500" fill="hold"/>
                                        <p:tgtEl>
                                          <p:spTgt spid="64"/>
                                        </p:tgtEl>
                                        <p:attrNameLst>
                                          <p:attrName>ppt_w</p:attrName>
                                        </p:attrNameLst>
                                      </p:cBhvr>
                                      <p:tavLst>
                                        <p:tav tm="0">
                                          <p:val>
                                            <p:fltVal val="0"/>
                                          </p:val>
                                        </p:tav>
                                        <p:tav tm="100000">
                                          <p:val>
                                            <p:strVal val="#ppt_w"/>
                                          </p:val>
                                        </p:tav>
                                      </p:tavLst>
                                    </p:anim>
                                    <p:anim calcmode="lin" valueType="num">
                                      <p:cBhvr>
                                        <p:cTn id="27" dur="500" fill="hold"/>
                                        <p:tgtEl>
                                          <p:spTgt spid="64"/>
                                        </p:tgtEl>
                                        <p:attrNameLst>
                                          <p:attrName>ppt_h</p:attrName>
                                        </p:attrNameLst>
                                      </p:cBhvr>
                                      <p:tavLst>
                                        <p:tav tm="0">
                                          <p:val>
                                            <p:fltVal val="0"/>
                                          </p:val>
                                        </p:tav>
                                        <p:tav tm="100000">
                                          <p:val>
                                            <p:strVal val="#ppt_h"/>
                                          </p:val>
                                        </p:tav>
                                      </p:tavLst>
                                    </p:anim>
                                    <p:animEffect transition="in" filter="fade">
                                      <p:cBhvr>
                                        <p:cTn id="28" dur="500"/>
                                        <p:tgtEl>
                                          <p:spTgt spid="64"/>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65"/>
                                        </p:tgtEl>
                                        <p:attrNameLst>
                                          <p:attrName>style.visibility</p:attrName>
                                        </p:attrNameLst>
                                      </p:cBhvr>
                                      <p:to>
                                        <p:strVal val="visible"/>
                                      </p:to>
                                    </p:set>
                                    <p:anim calcmode="lin" valueType="num">
                                      <p:cBhvr>
                                        <p:cTn id="31" dur="500" fill="hold"/>
                                        <p:tgtEl>
                                          <p:spTgt spid="65"/>
                                        </p:tgtEl>
                                        <p:attrNameLst>
                                          <p:attrName>ppt_w</p:attrName>
                                        </p:attrNameLst>
                                      </p:cBhvr>
                                      <p:tavLst>
                                        <p:tav tm="0">
                                          <p:val>
                                            <p:fltVal val="0"/>
                                          </p:val>
                                        </p:tav>
                                        <p:tav tm="100000">
                                          <p:val>
                                            <p:strVal val="#ppt_w"/>
                                          </p:val>
                                        </p:tav>
                                      </p:tavLst>
                                    </p:anim>
                                    <p:anim calcmode="lin" valueType="num">
                                      <p:cBhvr>
                                        <p:cTn id="32" dur="500" fill="hold"/>
                                        <p:tgtEl>
                                          <p:spTgt spid="65"/>
                                        </p:tgtEl>
                                        <p:attrNameLst>
                                          <p:attrName>ppt_h</p:attrName>
                                        </p:attrNameLst>
                                      </p:cBhvr>
                                      <p:tavLst>
                                        <p:tav tm="0">
                                          <p:val>
                                            <p:fltVal val="0"/>
                                          </p:val>
                                        </p:tav>
                                        <p:tav tm="100000">
                                          <p:val>
                                            <p:strVal val="#ppt_h"/>
                                          </p:val>
                                        </p:tav>
                                      </p:tavLst>
                                    </p:anim>
                                    <p:animEffect transition="in" filter="fade">
                                      <p:cBhvr>
                                        <p:cTn id="33" dur="500"/>
                                        <p:tgtEl>
                                          <p:spTgt spid="65"/>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66"/>
                                        </p:tgtEl>
                                        <p:attrNameLst>
                                          <p:attrName>style.visibility</p:attrName>
                                        </p:attrNameLst>
                                      </p:cBhvr>
                                      <p:to>
                                        <p:strVal val="visible"/>
                                      </p:to>
                                    </p:set>
                                    <p:anim calcmode="lin" valueType="num">
                                      <p:cBhvr>
                                        <p:cTn id="36" dur="500" fill="hold"/>
                                        <p:tgtEl>
                                          <p:spTgt spid="66"/>
                                        </p:tgtEl>
                                        <p:attrNameLst>
                                          <p:attrName>ppt_w</p:attrName>
                                        </p:attrNameLst>
                                      </p:cBhvr>
                                      <p:tavLst>
                                        <p:tav tm="0">
                                          <p:val>
                                            <p:fltVal val="0"/>
                                          </p:val>
                                        </p:tav>
                                        <p:tav tm="100000">
                                          <p:val>
                                            <p:strVal val="#ppt_w"/>
                                          </p:val>
                                        </p:tav>
                                      </p:tavLst>
                                    </p:anim>
                                    <p:anim calcmode="lin" valueType="num">
                                      <p:cBhvr>
                                        <p:cTn id="37" dur="500" fill="hold"/>
                                        <p:tgtEl>
                                          <p:spTgt spid="66"/>
                                        </p:tgtEl>
                                        <p:attrNameLst>
                                          <p:attrName>ppt_h</p:attrName>
                                        </p:attrNameLst>
                                      </p:cBhvr>
                                      <p:tavLst>
                                        <p:tav tm="0">
                                          <p:val>
                                            <p:fltVal val="0"/>
                                          </p:val>
                                        </p:tav>
                                        <p:tav tm="100000">
                                          <p:val>
                                            <p:strVal val="#ppt_h"/>
                                          </p:val>
                                        </p:tav>
                                      </p:tavLst>
                                    </p:anim>
                                    <p:animEffect transition="in" filter="fade">
                                      <p:cBhvr>
                                        <p:cTn id="38" dur="500"/>
                                        <p:tgtEl>
                                          <p:spTgt spid="66"/>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67"/>
                                        </p:tgtEl>
                                        <p:attrNameLst>
                                          <p:attrName>style.visibility</p:attrName>
                                        </p:attrNameLst>
                                      </p:cBhvr>
                                      <p:to>
                                        <p:strVal val="visible"/>
                                      </p:to>
                                    </p:set>
                                    <p:anim calcmode="lin" valueType="num">
                                      <p:cBhvr>
                                        <p:cTn id="41" dur="500" fill="hold"/>
                                        <p:tgtEl>
                                          <p:spTgt spid="67"/>
                                        </p:tgtEl>
                                        <p:attrNameLst>
                                          <p:attrName>ppt_w</p:attrName>
                                        </p:attrNameLst>
                                      </p:cBhvr>
                                      <p:tavLst>
                                        <p:tav tm="0">
                                          <p:val>
                                            <p:fltVal val="0"/>
                                          </p:val>
                                        </p:tav>
                                        <p:tav tm="100000">
                                          <p:val>
                                            <p:strVal val="#ppt_w"/>
                                          </p:val>
                                        </p:tav>
                                      </p:tavLst>
                                    </p:anim>
                                    <p:anim calcmode="lin" valueType="num">
                                      <p:cBhvr>
                                        <p:cTn id="42" dur="500" fill="hold"/>
                                        <p:tgtEl>
                                          <p:spTgt spid="67"/>
                                        </p:tgtEl>
                                        <p:attrNameLst>
                                          <p:attrName>ppt_h</p:attrName>
                                        </p:attrNameLst>
                                      </p:cBhvr>
                                      <p:tavLst>
                                        <p:tav tm="0">
                                          <p:val>
                                            <p:fltVal val="0"/>
                                          </p:val>
                                        </p:tav>
                                        <p:tav tm="100000">
                                          <p:val>
                                            <p:strVal val="#ppt_h"/>
                                          </p:val>
                                        </p:tav>
                                      </p:tavLst>
                                    </p:anim>
                                    <p:animEffect transition="in" filter="fade">
                                      <p:cBhvr>
                                        <p:cTn id="43" dur="500"/>
                                        <p:tgtEl>
                                          <p:spTgt spid="67"/>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68"/>
                                        </p:tgtEl>
                                        <p:attrNameLst>
                                          <p:attrName>style.visibility</p:attrName>
                                        </p:attrNameLst>
                                      </p:cBhvr>
                                      <p:to>
                                        <p:strVal val="visible"/>
                                      </p:to>
                                    </p:set>
                                    <p:anim calcmode="lin" valueType="num">
                                      <p:cBhvr>
                                        <p:cTn id="46" dur="500" fill="hold"/>
                                        <p:tgtEl>
                                          <p:spTgt spid="68"/>
                                        </p:tgtEl>
                                        <p:attrNameLst>
                                          <p:attrName>ppt_w</p:attrName>
                                        </p:attrNameLst>
                                      </p:cBhvr>
                                      <p:tavLst>
                                        <p:tav tm="0">
                                          <p:val>
                                            <p:fltVal val="0"/>
                                          </p:val>
                                        </p:tav>
                                        <p:tav tm="100000">
                                          <p:val>
                                            <p:strVal val="#ppt_w"/>
                                          </p:val>
                                        </p:tav>
                                      </p:tavLst>
                                    </p:anim>
                                    <p:anim calcmode="lin" valueType="num">
                                      <p:cBhvr>
                                        <p:cTn id="47" dur="500" fill="hold"/>
                                        <p:tgtEl>
                                          <p:spTgt spid="68"/>
                                        </p:tgtEl>
                                        <p:attrNameLst>
                                          <p:attrName>ppt_h</p:attrName>
                                        </p:attrNameLst>
                                      </p:cBhvr>
                                      <p:tavLst>
                                        <p:tav tm="0">
                                          <p:val>
                                            <p:fltVal val="0"/>
                                          </p:val>
                                        </p:tav>
                                        <p:tav tm="100000">
                                          <p:val>
                                            <p:strVal val="#ppt_h"/>
                                          </p:val>
                                        </p:tav>
                                      </p:tavLst>
                                    </p:anim>
                                    <p:animEffect transition="in" filter="fade">
                                      <p:cBhvr>
                                        <p:cTn id="48" dur="500"/>
                                        <p:tgtEl>
                                          <p:spTgt spid="68"/>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69"/>
                                        </p:tgtEl>
                                        <p:attrNameLst>
                                          <p:attrName>style.visibility</p:attrName>
                                        </p:attrNameLst>
                                      </p:cBhvr>
                                      <p:to>
                                        <p:strVal val="visible"/>
                                      </p:to>
                                    </p:set>
                                    <p:anim calcmode="lin" valueType="num">
                                      <p:cBhvr>
                                        <p:cTn id="51" dur="500" fill="hold"/>
                                        <p:tgtEl>
                                          <p:spTgt spid="69"/>
                                        </p:tgtEl>
                                        <p:attrNameLst>
                                          <p:attrName>ppt_w</p:attrName>
                                        </p:attrNameLst>
                                      </p:cBhvr>
                                      <p:tavLst>
                                        <p:tav tm="0">
                                          <p:val>
                                            <p:fltVal val="0"/>
                                          </p:val>
                                        </p:tav>
                                        <p:tav tm="100000">
                                          <p:val>
                                            <p:strVal val="#ppt_w"/>
                                          </p:val>
                                        </p:tav>
                                      </p:tavLst>
                                    </p:anim>
                                    <p:anim calcmode="lin" valueType="num">
                                      <p:cBhvr>
                                        <p:cTn id="52" dur="500" fill="hold"/>
                                        <p:tgtEl>
                                          <p:spTgt spid="69"/>
                                        </p:tgtEl>
                                        <p:attrNameLst>
                                          <p:attrName>ppt_h</p:attrName>
                                        </p:attrNameLst>
                                      </p:cBhvr>
                                      <p:tavLst>
                                        <p:tav tm="0">
                                          <p:val>
                                            <p:fltVal val="0"/>
                                          </p:val>
                                        </p:tav>
                                        <p:tav tm="100000">
                                          <p:val>
                                            <p:strVal val="#ppt_h"/>
                                          </p:val>
                                        </p:tav>
                                      </p:tavLst>
                                    </p:anim>
                                    <p:animEffect transition="in" filter="fade">
                                      <p:cBhvr>
                                        <p:cTn id="53" dur="500"/>
                                        <p:tgtEl>
                                          <p:spTgt spid="69"/>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 calcmode="lin" valueType="num">
                                      <p:cBhvr>
                                        <p:cTn id="56" dur="500" fill="hold"/>
                                        <p:tgtEl>
                                          <p:spTgt spid="70"/>
                                        </p:tgtEl>
                                        <p:attrNameLst>
                                          <p:attrName>ppt_w</p:attrName>
                                        </p:attrNameLst>
                                      </p:cBhvr>
                                      <p:tavLst>
                                        <p:tav tm="0">
                                          <p:val>
                                            <p:fltVal val="0"/>
                                          </p:val>
                                        </p:tav>
                                        <p:tav tm="100000">
                                          <p:val>
                                            <p:strVal val="#ppt_w"/>
                                          </p:val>
                                        </p:tav>
                                      </p:tavLst>
                                    </p:anim>
                                    <p:anim calcmode="lin" valueType="num">
                                      <p:cBhvr>
                                        <p:cTn id="57" dur="500" fill="hold"/>
                                        <p:tgtEl>
                                          <p:spTgt spid="70"/>
                                        </p:tgtEl>
                                        <p:attrNameLst>
                                          <p:attrName>ppt_h</p:attrName>
                                        </p:attrNameLst>
                                      </p:cBhvr>
                                      <p:tavLst>
                                        <p:tav tm="0">
                                          <p:val>
                                            <p:fltVal val="0"/>
                                          </p:val>
                                        </p:tav>
                                        <p:tav tm="100000">
                                          <p:val>
                                            <p:strVal val="#ppt_h"/>
                                          </p:val>
                                        </p:tav>
                                      </p:tavLst>
                                    </p:anim>
                                    <p:animEffect transition="in" filter="fade">
                                      <p:cBhvr>
                                        <p:cTn id="58" dur="500"/>
                                        <p:tgtEl>
                                          <p:spTgt spid="70"/>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71"/>
                                        </p:tgtEl>
                                        <p:attrNameLst>
                                          <p:attrName>style.visibility</p:attrName>
                                        </p:attrNameLst>
                                      </p:cBhvr>
                                      <p:to>
                                        <p:strVal val="visible"/>
                                      </p:to>
                                    </p:set>
                                    <p:anim calcmode="lin" valueType="num">
                                      <p:cBhvr>
                                        <p:cTn id="61" dur="500" fill="hold"/>
                                        <p:tgtEl>
                                          <p:spTgt spid="71"/>
                                        </p:tgtEl>
                                        <p:attrNameLst>
                                          <p:attrName>ppt_w</p:attrName>
                                        </p:attrNameLst>
                                      </p:cBhvr>
                                      <p:tavLst>
                                        <p:tav tm="0">
                                          <p:val>
                                            <p:fltVal val="0"/>
                                          </p:val>
                                        </p:tav>
                                        <p:tav tm="100000">
                                          <p:val>
                                            <p:strVal val="#ppt_w"/>
                                          </p:val>
                                        </p:tav>
                                      </p:tavLst>
                                    </p:anim>
                                    <p:anim calcmode="lin" valueType="num">
                                      <p:cBhvr>
                                        <p:cTn id="62" dur="500" fill="hold"/>
                                        <p:tgtEl>
                                          <p:spTgt spid="71"/>
                                        </p:tgtEl>
                                        <p:attrNameLst>
                                          <p:attrName>ppt_h</p:attrName>
                                        </p:attrNameLst>
                                      </p:cBhvr>
                                      <p:tavLst>
                                        <p:tav tm="0">
                                          <p:val>
                                            <p:fltVal val="0"/>
                                          </p:val>
                                        </p:tav>
                                        <p:tav tm="100000">
                                          <p:val>
                                            <p:strVal val="#ppt_h"/>
                                          </p:val>
                                        </p:tav>
                                      </p:tavLst>
                                    </p:anim>
                                    <p:animEffect transition="in" filter="fade">
                                      <p:cBhvr>
                                        <p:cTn id="63" dur="500"/>
                                        <p:tgtEl>
                                          <p:spTgt spid="71"/>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w</p:attrName>
                                        </p:attrNameLst>
                                      </p:cBhvr>
                                      <p:tavLst>
                                        <p:tav tm="0">
                                          <p:val>
                                            <p:fltVal val="0"/>
                                          </p:val>
                                        </p:tav>
                                        <p:tav tm="100000">
                                          <p:val>
                                            <p:strVal val="#ppt_w"/>
                                          </p:val>
                                        </p:tav>
                                      </p:tavLst>
                                    </p:anim>
                                    <p:anim calcmode="lin" valueType="num">
                                      <p:cBhvr>
                                        <p:cTn id="67" dur="500" fill="hold"/>
                                        <p:tgtEl>
                                          <p:spTgt spid="72"/>
                                        </p:tgtEl>
                                        <p:attrNameLst>
                                          <p:attrName>ppt_h</p:attrName>
                                        </p:attrNameLst>
                                      </p:cBhvr>
                                      <p:tavLst>
                                        <p:tav tm="0">
                                          <p:val>
                                            <p:fltVal val="0"/>
                                          </p:val>
                                        </p:tav>
                                        <p:tav tm="100000">
                                          <p:val>
                                            <p:strVal val="#ppt_h"/>
                                          </p:val>
                                        </p:tav>
                                      </p:tavLst>
                                    </p:anim>
                                    <p:animEffect transition="in" filter="fade">
                                      <p:cBhvr>
                                        <p:cTn id="68" dur="500"/>
                                        <p:tgtEl>
                                          <p:spTgt spid="72"/>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73"/>
                                        </p:tgtEl>
                                        <p:attrNameLst>
                                          <p:attrName>style.visibility</p:attrName>
                                        </p:attrNameLst>
                                      </p:cBhvr>
                                      <p:to>
                                        <p:strVal val="visible"/>
                                      </p:to>
                                    </p:set>
                                    <p:anim calcmode="lin" valueType="num">
                                      <p:cBhvr>
                                        <p:cTn id="71" dur="500" fill="hold"/>
                                        <p:tgtEl>
                                          <p:spTgt spid="73"/>
                                        </p:tgtEl>
                                        <p:attrNameLst>
                                          <p:attrName>ppt_w</p:attrName>
                                        </p:attrNameLst>
                                      </p:cBhvr>
                                      <p:tavLst>
                                        <p:tav tm="0">
                                          <p:val>
                                            <p:fltVal val="0"/>
                                          </p:val>
                                        </p:tav>
                                        <p:tav tm="100000">
                                          <p:val>
                                            <p:strVal val="#ppt_w"/>
                                          </p:val>
                                        </p:tav>
                                      </p:tavLst>
                                    </p:anim>
                                    <p:anim calcmode="lin" valueType="num">
                                      <p:cBhvr>
                                        <p:cTn id="72" dur="500" fill="hold"/>
                                        <p:tgtEl>
                                          <p:spTgt spid="73"/>
                                        </p:tgtEl>
                                        <p:attrNameLst>
                                          <p:attrName>ppt_h</p:attrName>
                                        </p:attrNameLst>
                                      </p:cBhvr>
                                      <p:tavLst>
                                        <p:tav tm="0">
                                          <p:val>
                                            <p:fltVal val="0"/>
                                          </p:val>
                                        </p:tav>
                                        <p:tav tm="100000">
                                          <p:val>
                                            <p:strVal val="#ppt_h"/>
                                          </p:val>
                                        </p:tav>
                                      </p:tavLst>
                                    </p:anim>
                                    <p:animEffect transition="in" filter="fade">
                                      <p:cBhvr>
                                        <p:cTn id="73" dur="500"/>
                                        <p:tgtEl>
                                          <p:spTgt spid="73"/>
                                        </p:tgtEl>
                                      </p:cBhvr>
                                    </p:animEffect>
                                  </p:childTnLst>
                                </p:cTn>
                              </p:par>
                              <p:par>
                                <p:cTn id="74" presetID="53" presetClass="entr" presetSubtype="16" fill="hold" grpId="0" nodeType="withEffect">
                                  <p:stCondLst>
                                    <p:cond delay="0"/>
                                  </p:stCondLst>
                                  <p:childTnLst>
                                    <p:set>
                                      <p:cBhvr>
                                        <p:cTn id="75" dur="1" fill="hold">
                                          <p:stCondLst>
                                            <p:cond delay="0"/>
                                          </p:stCondLst>
                                        </p:cTn>
                                        <p:tgtEl>
                                          <p:spTgt spid="74"/>
                                        </p:tgtEl>
                                        <p:attrNameLst>
                                          <p:attrName>style.visibility</p:attrName>
                                        </p:attrNameLst>
                                      </p:cBhvr>
                                      <p:to>
                                        <p:strVal val="visible"/>
                                      </p:to>
                                    </p:set>
                                    <p:anim calcmode="lin" valueType="num">
                                      <p:cBhvr>
                                        <p:cTn id="76" dur="500" fill="hold"/>
                                        <p:tgtEl>
                                          <p:spTgt spid="74"/>
                                        </p:tgtEl>
                                        <p:attrNameLst>
                                          <p:attrName>ppt_w</p:attrName>
                                        </p:attrNameLst>
                                      </p:cBhvr>
                                      <p:tavLst>
                                        <p:tav tm="0">
                                          <p:val>
                                            <p:fltVal val="0"/>
                                          </p:val>
                                        </p:tav>
                                        <p:tav tm="100000">
                                          <p:val>
                                            <p:strVal val="#ppt_w"/>
                                          </p:val>
                                        </p:tav>
                                      </p:tavLst>
                                    </p:anim>
                                    <p:anim calcmode="lin" valueType="num">
                                      <p:cBhvr>
                                        <p:cTn id="77" dur="500" fill="hold"/>
                                        <p:tgtEl>
                                          <p:spTgt spid="74"/>
                                        </p:tgtEl>
                                        <p:attrNameLst>
                                          <p:attrName>ppt_h</p:attrName>
                                        </p:attrNameLst>
                                      </p:cBhvr>
                                      <p:tavLst>
                                        <p:tav tm="0">
                                          <p:val>
                                            <p:fltVal val="0"/>
                                          </p:val>
                                        </p:tav>
                                        <p:tav tm="100000">
                                          <p:val>
                                            <p:strVal val="#ppt_h"/>
                                          </p:val>
                                        </p:tav>
                                      </p:tavLst>
                                    </p:anim>
                                    <p:animEffect transition="in" filter="fade">
                                      <p:cBhvr>
                                        <p:cTn id="78" dur="500"/>
                                        <p:tgtEl>
                                          <p:spTgt spid="74"/>
                                        </p:tgtEl>
                                      </p:cBhvr>
                                    </p:animEffect>
                                  </p:childTnLst>
                                </p:cTn>
                              </p:par>
                              <p:par>
                                <p:cTn id="79" presetID="53" presetClass="entr" presetSubtype="16" fill="hold" grpId="0" nodeType="withEffect">
                                  <p:stCondLst>
                                    <p:cond delay="0"/>
                                  </p:stCondLst>
                                  <p:childTnLst>
                                    <p:set>
                                      <p:cBhvr>
                                        <p:cTn id="80" dur="1" fill="hold">
                                          <p:stCondLst>
                                            <p:cond delay="0"/>
                                          </p:stCondLst>
                                        </p:cTn>
                                        <p:tgtEl>
                                          <p:spTgt spid="75"/>
                                        </p:tgtEl>
                                        <p:attrNameLst>
                                          <p:attrName>style.visibility</p:attrName>
                                        </p:attrNameLst>
                                      </p:cBhvr>
                                      <p:to>
                                        <p:strVal val="visible"/>
                                      </p:to>
                                    </p:set>
                                    <p:anim calcmode="lin" valueType="num">
                                      <p:cBhvr>
                                        <p:cTn id="81" dur="500" fill="hold"/>
                                        <p:tgtEl>
                                          <p:spTgt spid="75"/>
                                        </p:tgtEl>
                                        <p:attrNameLst>
                                          <p:attrName>ppt_w</p:attrName>
                                        </p:attrNameLst>
                                      </p:cBhvr>
                                      <p:tavLst>
                                        <p:tav tm="0">
                                          <p:val>
                                            <p:fltVal val="0"/>
                                          </p:val>
                                        </p:tav>
                                        <p:tav tm="100000">
                                          <p:val>
                                            <p:strVal val="#ppt_w"/>
                                          </p:val>
                                        </p:tav>
                                      </p:tavLst>
                                    </p:anim>
                                    <p:anim calcmode="lin" valueType="num">
                                      <p:cBhvr>
                                        <p:cTn id="82" dur="500" fill="hold"/>
                                        <p:tgtEl>
                                          <p:spTgt spid="75"/>
                                        </p:tgtEl>
                                        <p:attrNameLst>
                                          <p:attrName>ppt_h</p:attrName>
                                        </p:attrNameLst>
                                      </p:cBhvr>
                                      <p:tavLst>
                                        <p:tav tm="0">
                                          <p:val>
                                            <p:fltVal val="0"/>
                                          </p:val>
                                        </p:tav>
                                        <p:tav tm="100000">
                                          <p:val>
                                            <p:strVal val="#ppt_h"/>
                                          </p:val>
                                        </p:tav>
                                      </p:tavLst>
                                    </p:anim>
                                    <p:animEffect transition="in" filter="fade">
                                      <p:cBhvr>
                                        <p:cTn id="83" dur="500"/>
                                        <p:tgtEl>
                                          <p:spTgt spid="75"/>
                                        </p:tgtEl>
                                      </p:cBhvr>
                                    </p:animEffect>
                                  </p:childTnLst>
                                </p:cTn>
                              </p:par>
                              <p:par>
                                <p:cTn id="84" presetID="53" presetClass="entr" presetSubtype="16" fill="hold" grpId="0" nodeType="withEffect">
                                  <p:stCondLst>
                                    <p:cond delay="0"/>
                                  </p:stCondLst>
                                  <p:childTnLst>
                                    <p:set>
                                      <p:cBhvr>
                                        <p:cTn id="85" dur="1" fill="hold">
                                          <p:stCondLst>
                                            <p:cond delay="0"/>
                                          </p:stCondLst>
                                        </p:cTn>
                                        <p:tgtEl>
                                          <p:spTgt spid="76"/>
                                        </p:tgtEl>
                                        <p:attrNameLst>
                                          <p:attrName>style.visibility</p:attrName>
                                        </p:attrNameLst>
                                      </p:cBhvr>
                                      <p:to>
                                        <p:strVal val="visible"/>
                                      </p:to>
                                    </p:set>
                                    <p:anim calcmode="lin" valueType="num">
                                      <p:cBhvr>
                                        <p:cTn id="86" dur="500" fill="hold"/>
                                        <p:tgtEl>
                                          <p:spTgt spid="76"/>
                                        </p:tgtEl>
                                        <p:attrNameLst>
                                          <p:attrName>ppt_w</p:attrName>
                                        </p:attrNameLst>
                                      </p:cBhvr>
                                      <p:tavLst>
                                        <p:tav tm="0">
                                          <p:val>
                                            <p:fltVal val="0"/>
                                          </p:val>
                                        </p:tav>
                                        <p:tav tm="100000">
                                          <p:val>
                                            <p:strVal val="#ppt_w"/>
                                          </p:val>
                                        </p:tav>
                                      </p:tavLst>
                                    </p:anim>
                                    <p:anim calcmode="lin" valueType="num">
                                      <p:cBhvr>
                                        <p:cTn id="87" dur="500" fill="hold"/>
                                        <p:tgtEl>
                                          <p:spTgt spid="76"/>
                                        </p:tgtEl>
                                        <p:attrNameLst>
                                          <p:attrName>ppt_h</p:attrName>
                                        </p:attrNameLst>
                                      </p:cBhvr>
                                      <p:tavLst>
                                        <p:tav tm="0">
                                          <p:val>
                                            <p:fltVal val="0"/>
                                          </p:val>
                                        </p:tav>
                                        <p:tav tm="100000">
                                          <p:val>
                                            <p:strVal val="#ppt_h"/>
                                          </p:val>
                                        </p:tav>
                                      </p:tavLst>
                                    </p:anim>
                                    <p:animEffect transition="in" filter="fade">
                                      <p:cBhvr>
                                        <p:cTn id="88" dur="500"/>
                                        <p:tgtEl>
                                          <p:spTgt spid="76"/>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77"/>
                                        </p:tgtEl>
                                        <p:attrNameLst>
                                          <p:attrName>style.visibility</p:attrName>
                                        </p:attrNameLst>
                                      </p:cBhvr>
                                      <p:to>
                                        <p:strVal val="visible"/>
                                      </p:to>
                                    </p:set>
                                    <p:anim calcmode="lin" valueType="num">
                                      <p:cBhvr>
                                        <p:cTn id="91" dur="500" fill="hold"/>
                                        <p:tgtEl>
                                          <p:spTgt spid="77"/>
                                        </p:tgtEl>
                                        <p:attrNameLst>
                                          <p:attrName>ppt_w</p:attrName>
                                        </p:attrNameLst>
                                      </p:cBhvr>
                                      <p:tavLst>
                                        <p:tav tm="0">
                                          <p:val>
                                            <p:fltVal val="0"/>
                                          </p:val>
                                        </p:tav>
                                        <p:tav tm="100000">
                                          <p:val>
                                            <p:strVal val="#ppt_w"/>
                                          </p:val>
                                        </p:tav>
                                      </p:tavLst>
                                    </p:anim>
                                    <p:anim calcmode="lin" valueType="num">
                                      <p:cBhvr>
                                        <p:cTn id="92" dur="500" fill="hold"/>
                                        <p:tgtEl>
                                          <p:spTgt spid="77"/>
                                        </p:tgtEl>
                                        <p:attrNameLst>
                                          <p:attrName>ppt_h</p:attrName>
                                        </p:attrNameLst>
                                      </p:cBhvr>
                                      <p:tavLst>
                                        <p:tav tm="0">
                                          <p:val>
                                            <p:fltVal val="0"/>
                                          </p:val>
                                        </p:tav>
                                        <p:tav tm="100000">
                                          <p:val>
                                            <p:strVal val="#ppt_h"/>
                                          </p:val>
                                        </p:tav>
                                      </p:tavLst>
                                    </p:anim>
                                    <p:animEffect transition="in" filter="fade">
                                      <p:cBhvr>
                                        <p:cTn id="93" dur="500"/>
                                        <p:tgtEl>
                                          <p:spTgt spid="77"/>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78"/>
                                        </p:tgtEl>
                                        <p:attrNameLst>
                                          <p:attrName>style.visibility</p:attrName>
                                        </p:attrNameLst>
                                      </p:cBhvr>
                                      <p:to>
                                        <p:strVal val="visible"/>
                                      </p:to>
                                    </p:set>
                                    <p:anim calcmode="lin" valueType="num">
                                      <p:cBhvr>
                                        <p:cTn id="96" dur="500" fill="hold"/>
                                        <p:tgtEl>
                                          <p:spTgt spid="78"/>
                                        </p:tgtEl>
                                        <p:attrNameLst>
                                          <p:attrName>ppt_w</p:attrName>
                                        </p:attrNameLst>
                                      </p:cBhvr>
                                      <p:tavLst>
                                        <p:tav tm="0">
                                          <p:val>
                                            <p:fltVal val="0"/>
                                          </p:val>
                                        </p:tav>
                                        <p:tav tm="100000">
                                          <p:val>
                                            <p:strVal val="#ppt_w"/>
                                          </p:val>
                                        </p:tav>
                                      </p:tavLst>
                                    </p:anim>
                                    <p:anim calcmode="lin" valueType="num">
                                      <p:cBhvr>
                                        <p:cTn id="97" dur="500" fill="hold"/>
                                        <p:tgtEl>
                                          <p:spTgt spid="78"/>
                                        </p:tgtEl>
                                        <p:attrNameLst>
                                          <p:attrName>ppt_h</p:attrName>
                                        </p:attrNameLst>
                                      </p:cBhvr>
                                      <p:tavLst>
                                        <p:tav tm="0">
                                          <p:val>
                                            <p:fltVal val="0"/>
                                          </p:val>
                                        </p:tav>
                                        <p:tav tm="100000">
                                          <p:val>
                                            <p:strVal val="#ppt_h"/>
                                          </p:val>
                                        </p:tav>
                                      </p:tavLst>
                                    </p:anim>
                                    <p:animEffect transition="in" filter="fade">
                                      <p:cBhvr>
                                        <p:cTn id="98" dur="500"/>
                                        <p:tgtEl>
                                          <p:spTgt spid="78"/>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79"/>
                                        </p:tgtEl>
                                        <p:attrNameLst>
                                          <p:attrName>style.visibility</p:attrName>
                                        </p:attrNameLst>
                                      </p:cBhvr>
                                      <p:to>
                                        <p:strVal val="visible"/>
                                      </p:to>
                                    </p:set>
                                    <p:anim calcmode="lin" valueType="num">
                                      <p:cBhvr>
                                        <p:cTn id="101" dur="500" fill="hold"/>
                                        <p:tgtEl>
                                          <p:spTgt spid="79"/>
                                        </p:tgtEl>
                                        <p:attrNameLst>
                                          <p:attrName>ppt_w</p:attrName>
                                        </p:attrNameLst>
                                      </p:cBhvr>
                                      <p:tavLst>
                                        <p:tav tm="0">
                                          <p:val>
                                            <p:fltVal val="0"/>
                                          </p:val>
                                        </p:tav>
                                        <p:tav tm="100000">
                                          <p:val>
                                            <p:strVal val="#ppt_w"/>
                                          </p:val>
                                        </p:tav>
                                      </p:tavLst>
                                    </p:anim>
                                    <p:anim calcmode="lin" valueType="num">
                                      <p:cBhvr>
                                        <p:cTn id="102" dur="500" fill="hold"/>
                                        <p:tgtEl>
                                          <p:spTgt spid="79"/>
                                        </p:tgtEl>
                                        <p:attrNameLst>
                                          <p:attrName>ppt_h</p:attrName>
                                        </p:attrNameLst>
                                      </p:cBhvr>
                                      <p:tavLst>
                                        <p:tav tm="0">
                                          <p:val>
                                            <p:fltVal val="0"/>
                                          </p:val>
                                        </p:tav>
                                        <p:tav tm="100000">
                                          <p:val>
                                            <p:strVal val="#ppt_h"/>
                                          </p:val>
                                        </p:tav>
                                      </p:tavLst>
                                    </p:anim>
                                    <p:animEffect transition="in" filter="fade">
                                      <p:cBhvr>
                                        <p:cTn id="103" dur="500"/>
                                        <p:tgtEl>
                                          <p:spTgt spid="79"/>
                                        </p:tgtEl>
                                      </p:cBhvr>
                                    </p:animEffect>
                                  </p:childTnLst>
                                </p:cTn>
                              </p:par>
                              <p:par>
                                <p:cTn id="104" presetID="53" presetClass="entr" presetSubtype="16" fill="hold" grpId="0" nodeType="withEffect">
                                  <p:stCondLst>
                                    <p:cond delay="0"/>
                                  </p:stCondLst>
                                  <p:childTnLst>
                                    <p:set>
                                      <p:cBhvr>
                                        <p:cTn id="105" dur="1" fill="hold">
                                          <p:stCondLst>
                                            <p:cond delay="0"/>
                                          </p:stCondLst>
                                        </p:cTn>
                                        <p:tgtEl>
                                          <p:spTgt spid="80"/>
                                        </p:tgtEl>
                                        <p:attrNameLst>
                                          <p:attrName>style.visibility</p:attrName>
                                        </p:attrNameLst>
                                      </p:cBhvr>
                                      <p:to>
                                        <p:strVal val="visible"/>
                                      </p:to>
                                    </p:set>
                                    <p:anim calcmode="lin" valueType="num">
                                      <p:cBhvr>
                                        <p:cTn id="106" dur="500" fill="hold"/>
                                        <p:tgtEl>
                                          <p:spTgt spid="80"/>
                                        </p:tgtEl>
                                        <p:attrNameLst>
                                          <p:attrName>ppt_w</p:attrName>
                                        </p:attrNameLst>
                                      </p:cBhvr>
                                      <p:tavLst>
                                        <p:tav tm="0">
                                          <p:val>
                                            <p:fltVal val="0"/>
                                          </p:val>
                                        </p:tav>
                                        <p:tav tm="100000">
                                          <p:val>
                                            <p:strVal val="#ppt_w"/>
                                          </p:val>
                                        </p:tav>
                                      </p:tavLst>
                                    </p:anim>
                                    <p:anim calcmode="lin" valueType="num">
                                      <p:cBhvr>
                                        <p:cTn id="107" dur="500" fill="hold"/>
                                        <p:tgtEl>
                                          <p:spTgt spid="80"/>
                                        </p:tgtEl>
                                        <p:attrNameLst>
                                          <p:attrName>ppt_h</p:attrName>
                                        </p:attrNameLst>
                                      </p:cBhvr>
                                      <p:tavLst>
                                        <p:tav tm="0">
                                          <p:val>
                                            <p:fltVal val="0"/>
                                          </p:val>
                                        </p:tav>
                                        <p:tav tm="100000">
                                          <p:val>
                                            <p:strVal val="#ppt_h"/>
                                          </p:val>
                                        </p:tav>
                                      </p:tavLst>
                                    </p:anim>
                                    <p:animEffect transition="in" filter="fade">
                                      <p:cBhvr>
                                        <p:cTn id="108" dur="500"/>
                                        <p:tgtEl>
                                          <p:spTgt spid="80"/>
                                        </p:tgtEl>
                                      </p:cBhvr>
                                    </p:animEffect>
                                  </p:childTnLst>
                                </p:cTn>
                              </p:par>
                              <p:par>
                                <p:cTn id="109" presetID="53" presetClass="entr" presetSubtype="16" fill="hold" grpId="0" nodeType="withEffect">
                                  <p:stCondLst>
                                    <p:cond delay="0"/>
                                  </p:stCondLst>
                                  <p:childTnLst>
                                    <p:set>
                                      <p:cBhvr>
                                        <p:cTn id="110" dur="1" fill="hold">
                                          <p:stCondLst>
                                            <p:cond delay="0"/>
                                          </p:stCondLst>
                                        </p:cTn>
                                        <p:tgtEl>
                                          <p:spTgt spid="81"/>
                                        </p:tgtEl>
                                        <p:attrNameLst>
                                          <p:attrName>style.visibility</p:attrName>
                                        </p:attrNameLst>
                                      </p:cBhvr>
                                      <p:to>
                                        <p:strVal val="visible"/>
                                      </p:to>
                                    </p:set>
                                    <p:anim calcmode="lin" valueType="num">
                                      <p:cBhvr>
                                        <p:cTn id="111" dur="500" fill="hold"/>
                                        <p:tgtEl>
                                          <p:spTgt spid="81"/>
                                        </p:tgtEl>
                                        <p:attrNameLst>
                                          <p:attrName>ppt_w</p:attrName>
                                        </p:attrNameLst>
                                      </p:cBhvr>
                                      <p:tavLst>
                                        <p:tav tm="0">
                                          <p:val>
                                            <p:fltVal val="0"/>
                                          </p:val>
                                        </p:tav>
                                        <p:tav tm="100000">
                                          <p:val>
                                            <p:strVal val="#ppt_w"/>
                                          </p:val>
                                        </p:tav>
                                      </p:tavLst>
                                    </p:anim>
                                    <p:anim calcmode="lin" valueType="num">
                                      <p:cBhvr>
                                        <p:cTn id="112" dur="500" fill="hold"/>
                                        <p:tgtEl>
                                          <p:spTgt spid="81"/>
                                        </p:tgtEl>
                                        <p:attrNameLst>
                                          <p:attrName>ppt_h</p:attrName>
                                        </p:attrNameLst>
                                      </p:cBhvr>
                                      <p:tavLst>
                                        <p:tav tm="0">
                                          <p:val>
                                            <p:fltVal val="0"/>
                                          </p:val>
                                        </p:tav>
                                        <p:tav tm="100000">
                                          <p:val>
                                            <p:strVal val="#ppt_h"/>
                                          </p:val>
                                        </p:tav>
                                      </p:tavLst>
                                    </p:anim>
                                    <p:animEffect transition="in" filter="fade">
                                      <p:cBhvr>
                                        <p:cTn id="113" dur="500"/>
                                        <p:tgtEl>
                                          <p:spTgt spid="81"/>
                                        </p:tgtEl>
                                      </p:cBhvr>
                                    </p:animEffect>
                                  </p:childTnLst>
                                </p:cTn>
                              </p:par>
                              <p:par>
                                <p:cTn id="114" presetID="53" presetClass="entr" presetSubtype="16" fill="hold" grpId="0" nodeType="withEffect">
                                  <p:stCondLst>
                                    <p:cond delay="0"/>
                                  </p:stCondLst>
                                  <p:childTnLst>
                                    <p:set>
                                      <p:cBhvr>
                                        <p:cTn id="115" dur="1" fill="hold">
                                          <p:stCondLst>
                                            <p:cond delay="0"/>
                                          </p:stCondLst>
                                        </p:cTn>
                                        <p:tgtEl>
                                          <p:spTgt spid="82"/>
                                        </p:tgtEl>
                                        <p:attrNameLst>
                                          <p:attrName>style.visibility</p:attrName>
                                        </p:attrNameLst>
                                      </p:cBhvr>
                                      <p:to>
                                        <p:strVal val="visible"/>
                                      </p:to>
                                    </p:set>
                                    <p:anim calcmode="lin" valueType="num">
                                      <p:cBhvr>
                                        <p:cTn id="116" dur="500" fill="hold"/>
                                        <p:tgtEl>
                                          <p:spTgt spid="82"/>
                                        </p:tgtEl>
                                        <p:attrNameLst>
                                          <p:attrName>ppt_w</p:attrName>
                                        </p:attrNameLst>
                                      </p:cBhvr>
                                      <p:tavLst>
                                        <p:tav tm="0">
                                          <p:val>
                                            <p:fltVal val="0"/>
                                          </p:val>
                                        </p:tav>
                                        <p:tav tm="100000">
                                          <p:val>
                                            <p:strVal val="#ppt_w"/>
                                          </p:val>
                                        </p:tav>
                                      </p:tavLst>
                                    </p:anim>
                                    <p:anim calcmode="lin" valueType="num">
                                      <p:cBhvr>
                                        <p:cTn id="117" dur="500" fill="hold"/>
                                        <p:tgtEl>
                                          <p:spTgt spid="82"/>
                                        </p:tgtEl>
                                        <p:attrNameLst>
                                          <p:attrName>ppt_h</p:attrName>
                                        </p:attrNameLst>
                                      </p:cBhvr>
                                      <p:tavLst>
                                        <p:tav tm="0">
                                          <p:val>
                                            <p:fltVal val="0"/>
                                          </p:val>
                                        </p:tav>
                                        <p:tav tm="100000">
                                          <p:val>
                                            <p:strVal val="#ppt_h"/>
                                          </p:val>
                                        </p:tav>
                                      </p:tavLst>
                                    </p:anim>
                                    <p:animEffect transition="in" filter="fade">
                                      <p:cBhvr>
                                        <p:cTn id="118" dur="500"/>
                                        <p:tgtEl>
                                          <p:spTgt spid="82"/>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83"/>
                                        </p:tgtEl>
                                        <p:attrNameLst>
                                          <p:attrName>style.visibility</p:attrName>
                                        </p:attrNameLst>
                                      </p:cBhvr>
                                      <p:to>
                                        <p:strVal val="visible"/>
                                      </p:to>
                                    </p:set>
                                    <p:anim calcmode="lin" valueType="num">
                                      <p:cBhvr>
                                        <p:cTn id="121" dur="500" fill="hold"/>
                                        <p:tgtEl>
                                          <p:spTgt spid="83"/>
                                        </p:tgtEl>
                                        <p:attrNameLst>
                                          <p:attrName>ppt_w</p:attrName>
                                        </p:attrNameLst>
                                      </p:cBhvr>
                                      <p:tavLst>
                                        <p:tav tm="0">
                                          <p:val>
                                            <p:fltVal val="0"/>
                                          </p:val>
                                        </p:tav>
                                        <p:tav tm="100000">
                                          <p:val>
                                            <p:strVal val="#ppt_w"/>
                                          </p:val>
                                        </p:tav>
                                      </p:tavLst>
                                    </p:anim>
                                    <p:anim calcmode="lin" valueType="num">
                                      <p:cBhvr>
                                        <p:cTn id="122" dur="500" fill="hold"/>
                                        <p:tgtEl>
                                          <p:spTgt spid="83"/>
                                        </p:tgtEl>
                                        <p:attrNameLst>
                                          <p:attrName>ppt_h</p:attrName>
                                        </p:attrNameLst>
                                      </p:cBhvr>
                                      <p:tavLst>
                                        <p:tav tm="0">
                                          <p:val>
                                            <p:fltVal val="0"/>
                                          </p:val>
                                        </p:tav>
                                        <p:tav tm="100000">
                                          <p:val>
                                            <p:strVal val="#ppt_h"/>
                                          </p:val>
                                        </p:tav>
                                      </p:tavLst>
                                    </p:anim>
                                    <p:animEffect transition="in" filter="fade">
                                      <p:cBhvr>
                                        <p:cTn id="123" dur="500"/>
                                        <p:tgtEl>
                                          <p:spTgt spid="83"/>
                                        </p:tgtEl>
                                      </p:cBhvr>
                                    </p:animEffect>
                                  </p:childTnLst>
                                </p:cTn>
                              </p:par>
                              <p:par>
                                <p:cTn id="124" presetID="53" presetClass="entr" presetSubtype="16" fill="hold" grpId="0" nodeType="withEffect">
                                  <p:stCondLst>
                                    <p:cond delay="0"/>
                                  </p:stCondLst>
                                  <p:childTnLst>
                                    <p:set>
                                      <p:cBhvr>
                                        <p:cTn id="125" dur="1" fill="hold">
                                          <p:stCondLst>
                                            <p:cond delay="0"/>
                                          </p:stCondLst>
                                        </p:cTn>
                                        <p:tgtEl>
                                          <p:spTgt spid="84"/>
                                        </p:tgtEl>
                                        <p:attrNameLst>
                                          <p:attrName>style.visibility</p:attrName>
                                        </p:attrNameLst>
                                      </p:cBhvr>
                                      <p:to>
                                        <p:strVal val="visible"/>
                                      </p:to>
                                    </p:set>
                                    <p:anim calcmode="lin" valueType="num">
                                      <p:cBhvr>
                                        <p:cTn id="126" dur="500" fill="hold"/>
                                        <p:tgtEl>
                                          <p:spTgt spid="84"/>
                                        </p:tgtEl>
                                        <p:attrNameLst>
                                          <p:attrName>ppt_w</p:attrName>
                                        </p:attrNameLst>
                                      </p:cBhvr>
                                      <p:tavLst>
                                        <p:tav tm="0">
                                          <p:val>
                                            <p:fltVal val="0"/>
                                          </p:val>
                                        </p:tav>
                                        <p:tav tm="100000">
                                          <p:val>
                                            <p:strVal val="#ppt_w"/>
                                          </p:val>
                                        </p:tav>
                                      </p:tavLst>
                                    </p:anim>
                                    <p:anim calcmode="lin" valueType="num">
                                      <p:cBhvr>
                                        <p:cTn id="127" dur="500" fill="hold"/>
                                        <p:tgtEl>
                                          <p:spTgt spid="84"/>
                                        </p:tgtEl>
                                        <p:attrNameLst>
                                          <p:attrName>ppt_h</p:attrName>
                                        </p:attrNameLst>
                                      </p:cBhvr>
                                      <p:tavLst>
                                        <p:tav tm="0">
                                          <p:val>
                                            <p:fltVal val="0"/>
                                          </p:val>
                                        </p:tav>
                                        <p:tav tm="100000">
                                          <p:val>
                                            <p:strVal val="#ppt_h"/>
                                          </p:val>
                                        </p:tav>
                                      </p:tavLst>
                                    </p:anim>
                                    <p:animEffect transition="in" filter="fade">
                                      <p:cBhvr>
                                        <p:cTn id="128" dur="500"/>
                                        <p:tgtEl>
                                          <p:spTgt spid="84"/>
                                        </p:tgtEl>
                                      </p:cBhvr>
                                    </p:animEffect>
                                  </p:childTnLst>
                                </p:cTn>
                              </p:par>
                              <p:par>
                                <p:cTn id="129" presetID="53" presetClass="entr" presetSubtype="16" fill="hold" grpId="0" nodeType="withEffect">
                                  <p:stCondLst>
                                    <p:cond delay="0"/>
                                  </p:stCondLst>
                                  <p:childTnLst>
                                    <p:set>
                                      <p:cBhvr>
                                        <p:cTn id="130" dur="1" fill="hold">
                                          <p:stCondLst>
                                            <p:cond delay="0"/>
                                          </p:stCondLst>
                                        </p:cTn>
                                        <p:tgtEl>
                                          <p:spTgt spid="85"/>
                                        </p:tgtEl>
                                        <p:attrNameLst>
                                          <p:attrName>style.visibility</p:attrName>
                                        </p:attrNameLst>
                                      </p:cBhvr>
                                      <p:to>
                                        <p:strVal val="visible"/>
                                      </p:to>
                                    </p:set>
                                    <p:anim calcmode="lin" valueType="num">
                                      <p:cBhvr>
                                        <p:cTn id="131" dur="500" fill="hold"/>
                                        <p:tgtEl>
                                          <p:spTgt spid="85"/>
                                        </p:tgtEl>
                                        <p:attrNameLst>
                                          <p:attrName>ppt_w</p:attrName>
                                        </p:attrNameLst>
                                      </p:cBhvr>
                                      <p:tavLst>
                                        <p:tav tm="0">
                                          <p:val>
                                            <p:fltVal val="0"/>
                                          </p:val>
                                        </p:tav>
                                        <p:tav tm="100000">
                                          <p:val>
                                            <p:strVal val="#ppt_w"/>
                                          </p:val>
                                        </p:tav>
                                      </p:tavLst>
                                    </p:anim>
                                    <p:anim calcmode="lin" valueType="num">
                                      <p:cBhvr>
                                        <p:cTn id="132" dur="500" fill="hold"/>
                                        <p:tgtEl>
                                          <p:spTgt spid="85"/>
                                        </p:tgtEl>
                                        <p:attrNameLst>
                                          <p:attrName>ppt_h</p:attrName>
                                        </p:attrNameLst>
                                      </p:cBhvr>
                                      <p:tavLst>
                                        <p:tav tm="0">
                                          <p:val>
                                            <p:fltVal val="0"/>
                                          </p:val>
                                        </p:tav>
                                        <p:tav tm="100000">
                                          <p:val>
                                            <p:strVal val="#ppt_h"/>
                                          </p:val>
                                        </p:tav>
                                      </p:tavLst>
                                    </p:anim>
                                    <p:animEffect transition="in" filter="fade">
                                      <p:cBhvr>
                                        <p:cTn id="133" dur="500"/>
                                        <p:tgtEl>
                                          <p:spTgt spid="85"/>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87"/>
                                        </p:tgtEl>
                                        <p:attrNameLst>
                                          <p:attrName>style.visibility</p:attrName>
                                        </p:attrNameLst>
                                      </p:cBhvr>
                                      <p:to>
                                        <p:strVal val="visible"/>
                                      </p:to>
                                    </p:set>
                                    <p:animEffect transition="in" filter="fade">
                                      <p:cBhvr>
                                        <p:cTn id="137" dur="500"/>
                                        <p:tgtEl>
                                          <p:spTgt spid="87"/>
                                        </p:tgtEl>
                                      </p:cBhvr>
                                    </p:animEffect>
                                  </p:childTnLst>
                                </p:cTn>
                              </p:par>
                            </p:childTnLst>
                          </p:cTn>
                        </p:par>
                        <p:par>
                          <p:cTn id="138" fill="hold">
                            <p:stCondLst>
                              <p:cond delay="1500"/>
                            </p:stCondLst>
                            <p:childTnLst>
                              <p:par>
                                <p:cTn id="139" presetID="53" presetClass="entr" presetSubtype="16" fill="hold" nodeType="afterEffect">
                                  <p:stCondLst>
                                    <p:cond delay="0"/>
                                  </p:stCondLst>
                                  <p:childTnLst>
                                    <p:set>
                                      <p:cBhvr>
                                        <p:cTn id="140" dur="1" fill="hold">
                                          <p:stCondLst>
                                            <p:cond delay="0"/>
                                          </p:stCondLst>
                                        </p:cTn>
                                        <p:tgtEl>
                                          <p:spTgt spid="89"/>
                                        </p:tgtEl>
                                        <p:attrNameLst>
                                          <p:attrName>style.visibility</p:attrName>
                                        </p:attrNameLst>
                                      </p:cBhvr>
                                      <p:to>
                                        <p:strVal val="visible"/>
                                      </p:to>
                                    </p:set>
                                    <p:anim calcmode="lin" valueType="num">
                                      <p:cBhvr>
                                        <p:cTn id="141" dur="500" fill="hold"/>
                                        <p:tgtEl>
                                          <p:spTgt spid="89"/>
                                        </p:tgtEl>
                                        <p:attrNameLst>
                                          <p:attrName>ppt_w</p:attrName>
                                        </p:attrNameLst>
                                      </p:cBhvr>
                                      <p:tavLst>
                                        <p:tav tm="0">
                                          <p:val>
                                            <p:fltVal val="0"/>
                                          </p:val>
                                        </p:tav>
                                        <p:tav tm="100000">
                                          <p:val>
                                            <p:strVal val="#ppt_w"/>
                                          </p:val>
                                        </p:tav>
                                      </p:tavLst>
                                    </p:anim>
                                    <p:anim calcmode="lin" valueType="num">
                                      <p:cBhvr>
                                        <p:cTn id="142" dur="500" fill="hold"/>
                                        <p:tgtEl>
                                          <p:spTgt spid="89"/>
                                        </p:tgtEl>
                                        <p:attrNameLst>
                                          <p:attrName>ppt_h</p:attrName>
                                        </p:attrNameLst>
                                      </p:cBhvr>
                                      <p:tavLst>
                                        <p:tav tm="0">
                                          <p:val>
                                            <p:fltVal val="0"/>
                                          </p:val>
                                        </p:tav>
                                        <p:tav tm="100000">
                                          <p:val>
                                            <p:strVal val="#ppt_h"/>
                                          </p:val>
                                        </p:tav>
                                      </p:tavLst>
                                    </p:anim>
                                    <p:animEffect transition="in" filter="fade">
                                      <p:cBhvr>
                                        <p:cTn id="143"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0" grpId="0" animBg="1"/>
      <p:bldP spid="51"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dirty="0"/>
              <a:t>Microsoft Cloud offer for IoT</a:t>
            </a:r>
            <a:endParaRPr lang="en-US" sz="3500" i="1" dirty="0"/>
          </a:p>
        </p:txBody>
      </p:sp>
      <p:sp>
        <p:nvSpPr>
          <p:cNvPr id="2" name="Espace réservé du texte 1"/>
          <p:cNvSpPr>
            <a:spLocks noGrp="1"/>
          </p:cNvSpPr>
          <p:nvPr>
            <p:ph type="body" sz="quarter" idx="13"/>
          </p:nvPr>
        </p:nvSpPr>
        <p:spPr/>
        <p:txBody>
          <a:bodyPr/>
          <a:lstStyle/>
          <a:p>
            <a:endParaRPr lang="fr-FR"/>
          </a:p>
        </p:txBody>
      </p:sp>
      <p:sp>
        <p:nvSpPr>
          <p:cNvPr id="5" name="Freeform 4"/>
          <p:cNvSpPr>
            <a:spLocks noChangeAspect="1"/>
          </p:cNvSpPr>
          <p:nvPr/>
        </p:nvSpPr>
        <p:spPr bwMode="auto">
          <a:xfrm rot="5280000">
            <a:off x="1599953" y="4501567"/>
            <a:ext cx="376711" cy="478944"/>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8" rIns="0" bIns="45718" numCol="1" rtlCol="0" anchor="ctr" anchorCtr="0" compatLnSpc="1">
            <a:prstTxWarp prst="textNoShape">
              <a:avLst/>
            </a:prstTxWarp>
          </a:bodyPr>
          <a:lstStyle/>
          <a:p>
            <a:pPr algn="ctr" defTabSz="914102" fontAlgn="base">
              <a:spcBef>
                <a:spcPct val="0"/>
              </a:spcBef>
              <a:spcAft>
                <a:spcPct val="0"/>
              </a:spcAft>
              <a:defRPr/>
            </a:pPr>
            <a:endParaRPr lang="en-US" sz="2000" dirty="0">
              <a:gradFill>
                <a:gsLst>
                  <a:gs pos="5417">
                    <a:srgbClr val="505050"/>
                  </a:gs>
                  <a:gs pos="100000">
                    <a:srgbClr val="505050"/>
                  </a:gs>
                </a:gsLst>
                <a:lin ang="5400000" scaled="0"/>
              </a:gradFill>
              <a:latin typeface="Segoe UI"/>
            </a:endParaRPr>
          </a:p>
        </p:txBody>
      </p:sp>
      <p:grpSp>
        <p:nvGrpSpPr>
          <p:cNvPr id="6" name="Group 5"/>
          <p:cNvGrpSpPr/>
          <p:nvPr/>
        </p:nvGrpSpPr>
        <p:grpSpPr>
          <a:xfrm>
            <a:off x="791650" y="4240750"/>
            <a:ext cx="564471" cy="388711"/>
            <a:chOff x="1107857" y="-3310276"/>
            <a:chExt cx="641349" cy="498475"/>
          </a:xfrm>
          <a:solidFill>
            <a:schemeClr val="tx1"/>
          </a:solidFill>
        </p:grpSpPr>
        <p:sp>
          <p:nvSpPr>
            <p:cNvPr id="7"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sp>
          <p:nvSpPr>
            <p:cNvPr id="8"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sp>
          <p:nvSpPr>
            <p:cNvPr id="9"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sp>
          <p:nvSpPr>
            <p:cNvPr id="10"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grpSp>
      <p:grpSp>
        <p:nvGrpSpPr>
          <p:cNvPr id="11" name="Group 10"/>
          <p:cNvGrpSpPr/>
          <p:nvPr/>
        </p:nvGrpSpPr>
        <p:grpSpPr>
          <a:xfrm>
            <a:off x="2016376" y="3038555"/>
            <a:ext cx="384560" cy="420846"/>
            <a:chOff x="5737007" y="-3299164"/>
            <a:chExt cx="425450" cy="427038"/>
          </a:xfrm>
          <a:solidFill>
            <a:schemeClr val="tx1"/>
          </a:solidFill>
        </p:grpSpPr>
        <p:sp>
          <p:nvSpPr>
            <p:cNvPr id="12"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sp>
          <p:nvSpPr>
            <p:cNvPr id="13" name="Oval 249"/>
            <p:cNvSpPr>
              <a:spLocks noChangeArrowheads="1"/>
            </p:cNvSpPr>
            <p:nvPr/>
          </p:nvSpPr>
          <p:spPr bwMode="auto">
            <a:xfrm>
              <a:off x="5937032" y="-3132476"/>
              <a:ext cx="60325" cy="60325"/>
            </a:xfrm>
            <a:prstGeom prst="ellipse">
              <a:avLst/>
            </a:pr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grpSp>
      <p:grpSp>
        <p:nvGrpSpPr>
          <p:cNvPr id="14" name="Group 13"/>
          <p:cNvGrpSpPr/>
          <p:nvPr/>
        </p:nvGrpSpPr>
        <p:grpSpPr>
          <a:xfrm>
            <a:off x="4102556" y="4495822"/>
            <a:ext cx="459056" cy="432561"/>
            <a:chOff x="7646253" y="4979703"/>
            <a:chExt cx="479425" cy="485775"/>
          </a:xfrm>
          <a:solidFill>
            <a:schemeClr val="tx1"/>
          </a:solidFill>
        </p:grpSpPr>
        <p:sp>
          <p:nvSpPr>
            <p:cNvPr id="15" name="Freeform 253"/>
            <p:cNvSpPr>
              <a:spLocks/>
            </p:cNvSpPr>
            <p:nvPr/>
          </p:nvSpPr>
          <p:spPr bwMode="auto">
            <a:xfrm>
              <a:off x="7789128" y="5165440"/>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sp>
          <p:nvSpPr>
            <p:cNvPr id="16" name="Freeform 254"/>
            <p:cNvSpPr>
              <a:spLocks/>
            </p:cNvSpPr>
            <p:nvPr/>
          </p:nvSpPr>
          <p:spPr bwMode="auto">
            <a:xfrm>
              <a:off x="7893903" y="5163853"/>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sp>
          <p:nvSpPr>
            <p:cNvPr id="17" name="Freeform 255"/>
            <p:cNvSpPr>
              <a:spLocks noEditPoints="1"/>
            </p:cNvSpPr>
            <p:nvPr/>
          </p:nvSpPr>
          <p:spPr bwMode="auto">
            <a:xfrm>
              <a:off x="7646253" y="4979703"/>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defTabSz="896386">
                <a:defRPr/>
              </a:pPr>
              <a:endParaRPr lang="en-US">
                <a:solidFill>
                  <a:prstClr val="black"/>
                </a:solidFill>
                <a:latin typeface="Segoe UI"/>
              </a:endParaRPr>
            </a:p>
          </p:txBody>
        </p:sp>
      </p:grpSp>
      <p:grpSp>
        <p:nvGrpSpPr>
          <p:cNvPr id="18" name="Group 17"/>
          <p:cNvGrpSpPr/>
          <p:nvPr/>
        </p:nvGrpSpPr>
        <p:grpSpPr>
          <a:xfrm>
            <a:off x="2600086" y="3707016"/>
            <a:ext cx="419814" cy="432346"/>
            <a:chOff x="11472827" y="4545788"/>
            <a:chExt cx="280728" cy="284825"/>
          </a:xfrm>
          <a:solidFill>
            <a:schemeClr val="bg1"/>
          </a:solidFill>
        </p:grpSpPr>
        <p:sp>
          <p:nvSpPr>
            <p:cNvPr id="19" name="Rounded Rectangle 18"/>
            <p:cNvSpPr/>
            <p:nvPr/>
          </p:nvSpPr>
          <p:spPr bwMode="auto">
            <a:xfrm>
              <a:off x="11472827" y="4699141"/>
              <a:ext cx="35603" cy="80649"/>
            </a:xfrm>
            <a:prstGeom prst="roundRect">
              <a:avLst>
                <a:gd name="adj" fmla="val 50000"/>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20" name="Rounded Rectangle 19"/>
            <p:cNvSpPr/>
            <p:nvPr/>
          </p:nvSpPr>
          <p:spPr bwMode="auto">
            <a:xfrm>
              <a:off x="11527518" y="4680314"/>
              <a:ext cx="35603" cy="111152"/>
            </a:xfrm>
            <a:prstGeom prst="roundRect">
              <a:avLst>
                <a:gd name="adj" fmla="val 50000"/>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21" name="Rounded Rectangle 20"/>
            <p:cNvSpPr/>
            <p:nvPr/>
          </p:nvSpPr>
          <p:spPr bwMode="auto">
            <a:xfrm>
              <a:off x="11581398" y="4660852"/>
              <a:ext cx="35603" cy="151148"/>
            </a:xfrm>
            <a:prstGeom prst="roundRect">
              <a:avLst>
                <a:gd name="adj" fmla="val 50000"/>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22" name="Rounded Rectangle 21"/>
            <p:cNvSpPr/>
            <p:nvPr/>
          </p:nvSpPr>
          <p:spPr bwMode="auto">
            <a:xfrm>
              <a:off x="11637498" y="4643936"/>
              <a:ext cx="35603" cy="186677"/>
            </a:xfrm>
            <a:prstGeom prst="roundRect">
              <a:avLst>
                <a:gd name="adj" fmla="val 50000"/>
              </a:avLst>
            </a:pr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a:lnSpc>
                  <a:spcPct val="90000"/>
                </a:lnSpc>
                <a:defRPr/>
              </a:pPr>
              <a:endParaRPr lang="en-US" sz="2000" b="1" dirty="0">
                <a:solidFill>
                  <a:prstClr val="white"/>
                </a:solidFill>
                <a:latin typeface="Segoe UI Light"/>
                <a:ea typeface="Segoe UI" pitchFamily="34" charset="0"/>
                <a:cs typeface="Segoe UI" pitchFamily="34" charset="0"/>
              </a:endParaRPr>
            </a:p>
          </p:txBody>
        </p:sp>
        <p:sp>
          <p:nvSpPr>
            <p:cNvPr id="23" name="Freeform 22"/>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38100"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defRPr/>
              </a:pPr>
              <a:endParaRPr lang="en-US">
                <a:solidFill>
                  <a:prstClr val="white"/>
                </a:solidFill>
                <a:latin typeface="Segoe UI"/>
              </a:endParaRPr>
            </a:p>
          </p:txBody>
        </p:sp>
      </p:grpSp>
      <p:sp>
        <p:nvSpPr>
          <p:cNvPr id="24" name="Freeform 23"/>
          <p:cNvSpPr/>
          <p:nvPr/>
        </p:nvSpPr>
        <p:spPr>
          <a:xfrm>
            <a:off x="3719602" y="3984947"/>
            <a:ext cx="411934" cy="330291"/>
          </a:xfrm>
          <a:custGeom>
            <a:avLst/>
            <a:gdLst>
              <a:gd name="connsiteX0" fmla="*/ 302419 w 725805"/>
              <a:gd name="connsiteY0" fmla="*/ 87660 h 780604"/>
              <a:gd name="connsiteX1" fmla="*/ 302419 w 725805"/>
              <a:gd name="connsiteY1" fmla="*/ 249585 h 780604"/>
              <a:gd name="connsiteX2" fmla="*/ 83344 w 725805"/>
              <a:gd name="connsiteY2" fmla="*/ 673447 h 780604"/>
              <a:gd name="connsiteX3" fmla="*/ 104775 w 725805"/>
              <a:gd name="connsiteY3" fmla="*/ 690116 h 780604"/>
              <a:gd name="connsiteX4" fmla="*/ 154781 w 725805"/>
              <a:gd name="connsiteY4" fmla="*/ 692497 h 780604"/>
              <a:gd name="connsiteX5" fmla="*/ 333375 w 725805"/>
              <a:gd name="connsiteY5" fmla="*/ 332929 h 780604"/>
              <a:gd name="connsiteX6" fmla="*/ 461963 w 725805"/>
              <a:gd name="connsiteY6" fmla="*/ 332929 h 780604"/>
              <a:gd name="connsiteX7" fmla="*/ 416719 w 725805"/>
              <a:gd name="connsiteY7" fmla="*/ 247204 h 780604"/>
              <a:gd name="connsiteX8" fmla="*/ 416719 w 725805"/>
              <a:gd name="connsiteY8" fmla="*/ 87660 h 780604"/>
              <a:gd name="connsiteX9" fmla="*/ 176903 w 725805"/>
              <a:gd name="connsiteY9" fmla="*/ 0 h 780604"/>
              <a:gd name="connsiteX10" fmla="*/ 548902 w 725805"/>
              <a:gd name="connsiteY10" fmla="*/ 0 h 780604"/>
              <a:gd name="connsiteX11" fmla="*/ 548902 w 725805"/>
              <a:gd name="connsiteY11" fmla="*/ 94804 h 780604"/>
              <a:gd name="connsiteX12" fmla="*/ 502920 w 725805"/>
              <a:gd name="connsiteY12" fmla="*/ 94804 h 780604"/>
              <a:gd name="connsiteX13" fmla="*/ 502920 w 725805"/>
              <a:gd name="connsiteY13" fmla="*/ 211961 h 780604"/>
              <a:gd name="connsiteX14" fmla="*/ 725805 w 725805"/>
              <a:gd name="connsiteY14" fmla="*/ 654874 h 780604"/>
              <a:gd name="connsiteX15" fmla="*/ 662940 w 725805"/>
              <a:gd name="connsiteY15" fmla="*/ 780604 h 780604"/>
              <a:gd name="connsiteX16" fmla="*/ 62865 w 725805"/>
              <a:gd name="connsiteY16" fmla="*/ 780604 h 780604"/>
              <a:gd name="connsiteX17" fmla="*/ 0 w 725805"/>
              <a:gd name="connsiteY17" fmla="*/ 672019 h 780604"/>
              <a:gd name="connsiteX18" fmla="*/ 214313 w 725805"/>
              <a:gd name="connsiteY18" fmla="*/ 229106 h 780604"/>
              <a:gd name="connsiteX19" fmla="*/ 214313 w 725805"/>
              <a:gd name="connsiteY19" fmla="*/ 94804 h 780604"/>
              <a:gd name="connsiteX20" fmla="*/ 176903 w 725805"/>
              <a:gd name="connsiteY20" fmla="*/ 94804 h 78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805" h="780604">
                <a:moveTo>
                  <a:pt x="302419" y="87660"/>
                </a:moveTo>
                <a:lnTo>
                  <a:pt x="302419" y="249585"/>
                </a:lnTo>
                <a:lnTo>
                  <a:pt x="83344" y="673447"/>
                </a:lnTo>
                <a:lnTo>
                  <a:pt x="104775" y="690116"/>
                </a:lnTo>
                <a:lnTo>
                  <a:pt x="154781" y="692497"/>
                </a:lnTo>
                <a:lnTo>
                  <a:pt x="333375" y="332929"/>
                </a:lnTo>
                <a:lnTo>
                  <a:pt x="461963" y="332929"/>
                </a:lnTo>
                <a:lnTo>
                  <a:pt x="416719" y="247204"/>
                </a:lnTo>
                <a:lnTo>
                  <a:pt x="416719" y="87660"/>
                </a:lnTo>
                <a:close/>
                <a:moveTo>
                  <a:pt x="176903" y="0"/>
                </a:moveTo>
                <a:lnTo>
                  <a:pt x="548902" y="0"/>
                </a:lnTo>
                <a:lnTo>
                  <a:pt x="548902" y="94804"/>
                </a:lnTo>
                <a:lnTo>
                  <a:pt x="502920" y="94804"/>
                </a:lnTo>
                <a:lnTo>
                  <a:pt x="502920" y="211961"/>
                </a:lnTo>
                <a:lnTo>
                  <a:pt x="725805" y="654874"/>
                </a:lnTo>
                <a:lnTo>
                  <a:pt x="662940" y="780604"/>
                </a:lnTo>
                <a:lnTo>
                  <a:pt x="62865" y="780604"/>
                </a:lnTo>
                <a:lnTo>
                  <a:pt x="0" y="672019"/>
                </a:lnTo>
                <a:lnTo>
                  <a:pt x="214313" y="229106"/>
                </a:lnTo>
                <a:lnTo>
                  <a:pt x="214313" y="94804"/>
                </a:lnTo>
                <a:lnTo>
                  <a:pt x="176903" y="94804"/>
                </a:lnTo>
                <a:close/>
              </a:path>
            </a:pathLst>
          </a:cu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9639" tIns="44819" rIns="89639" bIns="44819" rtlCol="0" anchor="ctr"/>
          <a:lstStyle/>
          <a:p>
            <a:pPr algn="ctr"/>
            <a:endParaRPr lang="en-US"/>
          </a:p>
        </p:txBody>
      </p:sp>
      <p:pic>
        <p:nvPicPr>
          <p:cNvPr id="25" name="Picture 24"/>
          <p:cNvPicPr>
            <a:picLocks noChangeAspect="1"/>
          </p:cNvPicPr>
          <p:nvPr/>
        </p:nvPicPr>
        <p:blipFill>
          <a:blip r:embed="rId2"/>
          <a:stretch>
            <a:fillRect/>
          </a:stretch>
        </p:blipFill>
        <p:spPr>
          <a:xfrm>
            <a:off x="3379616" y="3338706"/>
            <a:ext cx="535365" cy="535441"/>
          </a:xfrm>
          <a:prstGeom prst="rect">
            <a:avLst/>
          </a:prstGeom>
          <a:ln>
            <a:noFill/>
          </a:ln>
        </p:spPr>
      </p:pic>
      <p:pic>
        <p:nvPicPr>
          <p:cNvPr id="26" name="Picture 25"/>
          <p:cNvPicPr>
            <a:picLocks noChangeAspect="1"/>
          </p:cNvPicPr>
          <p:nvPr/>
        </p:nvPicPr>
        <p:blipFill>
          <a:blip r:embed="rId3"/>
          <a:stretch>
            <a:fillRect/>
          </a:stretch>
        </p:blipFill>
        <p:spPr>
          <a:xfrm>
            <a:off x="1436081" y="3644632"/>
            <a:ext cx="454634" cy="454698"/>
          </a:xfrm>
          <a:prstGeom prst="rect">
            <a:avLst/>
          </a:prstGeom>
          <a:ln>
            <a:noFill/>
          </a:ln>
        </p:spPr>
      </p:pic>
      <p:pic>
        <p:nvPicPr>
          <p:cNvPr id="27" name="Picture 26"/>
          <p:cNvPicPr>
            <a:picLocks noChangeAspect="1"/>
          </p:cNvPicPr>
          <p:nvPr/>
        </p:nvPicPr>
        <p:blipFill>
          <a:blip r:embed="rId4"/>
          <a:stretch>
            <a:fillRect/>
          </a:stretch>
        </p:blipFill>
        <p:spPr>
          <a:xfrm>
            <a:off x="3197093" y="4597569"/>
            <a:ext cx="443593" cy="443656"/>
          </a:xfrm>
          <a:prstGeom prst="rect">
            <a:avLst/>
          </a:prstGeom>
          <a:ln>
            <a:noFill/>
          </a:ln>
        </p:spPr>
      </p:pic>
      <p:grpSp>
        <p:nvGrpSpPr>
          <p:cNvPr id="33" name="Group 32"/>
          <p:cNvGrpSpPr/>
          <p:nvPr/>
        </p:nvGrpSpPr>
        <p:grpSpPr>
          <a:xfrm>
            <a:off x="8723121" y="4528938"/>
            <a:ext cx="964371" cy="1411988"/>
            <a:chOff x="10363200" y="3469305"/>
            <a:chExt cx="1587532" cy="2406227"/>
          </a:xfrm>
        </p:grpSpPr>
        <p:sp>
          <p:nvSpPr>
            <p:cNvPr id="34" name="TextBox 7"/>
            <p:cNvSpPr txBox="1"/>
            <p:nvPr/>
          </p:nvSpPr>
          <p:spPr>
            <a:xfrm>
              <a:off x="10363200" y="4616744"/>
              <a:ext cx="1587532" cy="1258788"/>
            </a:xfrm>
            <a:prstGeom prst="rect">
              <a:avLst/>
            </a:prstGeom>
            <a:noFill/>
            <a:ln>
              <a:noFill/>
              <a:headEnd type="none" w="med" len="med"/>
              <a:tailEnd type="none" w="med" len="med"/>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042"/>
              <a:r>
                <a:rPr lang="en-US" sz="1600" kern="4000" spc="-98" dirty="0">
                  <a:solidFill>
                    <a:srgbClr val="FFFFFF"/>
                  </a:solidFill>
                  <a:latin typeface="Segoe UI Light"/>
                </a:rPr>
                <a:t>Predictive</a:t>
              </a:r>
              <a:br>
                <a:rPr lang="en-US" sz="1600" kern="4000" spc="-98" dirty="0">
                  <a:solidFill>
                    <a:srgbClr val="FFFFFF"/>
                  </a:solidFill>
                  <a:latin typeface="Segoe UI Light"/>
                </a:rPr>
              </a:br>
              <a:r>
                <a:rPr lang="en-US" sz="1600" kern="4000" spc="-98" dirty="0">
                  <a:solidFill>
                    <a:srgbClr val="FFFFFF"/>
                  </a:solidFill>
                  <a:latin typeface="Segoe UI Light"/>
                </a:rPr>
                <a:t>maintenance</a:t>
              </a:r>
            </a:p>
          </p:txBody>
        </p:sp>
        <p:grpSp>
          <p:nvGrpSpPr>
            <p:cNvPr id="35" name="Group 34"/>
            <p:cNvGrpSpPr/>
            <p:nvPr/>
          </p:nvGrpSpPr>
          <p:grpSpPr>
            <a:xfrm>
              <a:off x="10363200" y="3469305"/>
              <a:ext cx="1526313" cy="1497893"/>
              <a:chOff x="8190695" y="4193638"/>
              <a:chExt cx="2438740" cy="2438740"/>
            </a:xfrm>
          </p:grpSpPr>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90695" y="4193638"/>
                <a:ext cx="2438740" cy="2438740"/>
              </a:xfrm>
              <a:prstGeom prst="rect">
                <a:avLst/>
              </a:prstGeom>
            </p:spPr>
          </p:pic>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79613" y="4992296"/>
                <a:ext cx="762594" cy="762594"/>
              </a:xfrm>
              <a:prstGeom prst="rect">
                <a:avLst/>
              </a:prstGeom>
            </p:spPr>
          </p:pic>
          <p:pic>
            <p:nvPicPr>
              <p:cNvPr id="38" name="Picture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297834" y="4982052"/>
                <a:ext cx="762594" cy="762594"/>
              </a:xfrm>
              <a:prstGeom prst="rect">
                <a:avLst/>
              </a:prstGeom>
            </p:spPr>
          </p:pic>
        </p:grpSp>
      </p:grpSp>
      <p:grpSp>
        <p:nvGrpSpPr>
          <p:cNvPr id="39" name="Group 38"/>
          <p:cNvGrpSpPr/>
          <p:nvPr/>
        </p:nvGrpSpPr>
        <p:grpSpPr>
          <a:xfrm>
            <a:off x="10305872" y="4554947"/>
            <a:ext cx="1197644" cy="1163735"/>
            <a:chOff x="8319564" y="3450173"/>
            <a:chExt cx="2081559" cy="2022338"/>
          </a:xfrm>
        </p:grpSpPr>
        <p:sp>
          <p:nvSpPr>
            <p:cNvPr id="40" name="TextBox 13"/>
            <p:cNvSpPr txBox="1"/>
            <p:nvPr/>
          </p:nvSpPr>
          <p:spPr>
            <a:xfrm>
              <a:off x="8319564" y="4616744"/>
              <a:ext cx="2081559" cy="855767"/>
            </a:xfrm>
            <a:prstGeom prst="rect">
              <a:avLst/>
            </a:prstGeom>
            <a:noFill/>
            <a:ln>
              <a:noFill/>
              <a:headEnd type="none" w="med" len="med"/>
              <a:tailEnd type="none" w="med" len="med"/>
            </a:ln>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96042"/>
              <a:r>
                <a:rPr lang="en-US" sz="1600" kern="4000" spc="-98" dirty="0">
                  <a:solidFill>
                    <a:srgbClr val="FFFFFF"/>
                  </a:solidFill>
                  <a:latin typeface="Segoe UI Light"/>
                </a:rPr>
                <a:t>Asset </a:t>
              </a:r>
              <a:br>
                <a:rPr lang="en-US" sz="1600" kern="4000" spc="-98" dirty="0">
                  <a:solidFill>
                    <a:srgbClr val="FFFFFF"/>
                  </a:solidFill>
                  <a:latin typeface="Segoe UI Light"/>
                </a:rPr>
              </a:br>
              <a:r>
                <a:rPr lang="en-US" sz="1600" kern="4000" spc="-98" dirty="0">
                  <a:solidFill>
                    <a:srgbClr val="FFFFFF"/>
                  </a:solidFill>
                  <a:latin typeface="Segoe UI Light"/>
                </a:rPr>
                <a:t>management</a:t>
              </a:r>
            </a:p>
          </p:txBody>
        </p:sp>
        <p:pic>
          <p:nvPicPr>
            <p:cNvPr id="41" name="Picture 4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40083" y="3450173"/>
              <a:ext cx="1475153" cy="1475153"/>
            </a:xfrm>
            <a:prstGeom prst="rect">
              <a:avLst/>
            </a:prstGeom>
          </p:spPr>
        </p:pic>
      </p:grpSp>
      <p:sp>
        <p:nvSpPr>
          <p:cNvPr id="42" name="Text Placeholder 16"/>
          <p:cNvSpPr txBox="1">
            <a:spLocks/>
          </p:cNvSpPr>
          <p:nvPr/>
        </p:nvSpPr>
        <p:spPr>
          <a:xfrm>
            <a:off x="6166888" y="5223999"/>
            <a:ext cx="5601099" cy="503083"/>
          </a:xfrm>
          <a:prstGeom prst="rect">
            <a:avLst/>
          </a:prstGeom>
        </p:spPr>
        <p:txBody>
          <a:bodyPr lIns="89639" tIns="44819" rIns="89639" bIns="44819"/>
          <a:lst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buNone/>
            </a:pPr>
            <a:r>
              <a:rPr lang="en-US" sz="2400" dirty="0"/>
              <a:t>Azure IoT Suite</a:t>
            </a:r>
          </a:p>
        </p:txBody>
      </p:sp>
      <p:sp>
        <p:nvSpPr>
          <p:cNvPr id="43" name="Freeform 539"/>
          <p:cNvSpPr>
            <a:spLocks noChangeAspect="1"/>
          </p:cNvSpPr>
          <p:nvPr/>
        </p:nvSpPr>
        <p:spPr bwMode="auto">
          <a:xfrm>
            <a:off x="389762" y="2705130"/>
            <a:ext cx="4482665" cy="239791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noFill/>
          <a:ln>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77" tIns="143422" rIns="179277" bIns="143422" numCol="1" spcCol="0" rtlCol="0" fromWordArt="0" anchor="ctr" anchorCtr="0" forceAA="0" compatLnSpc="1">
            <a:prstTxWarp prst="textNoShape">
              <a:avLst/>
            </a:prstTxWarp>
            <a:noAutofit/>
          </a:bodyPr>
          <a:lstStyle/>
          <a:p>
            <a:pPr algn="ctr" defTabSz="914225">
              <a:defRPr/>
            </a:pPr>
            <a:endParaRPr lang="en-US" sz="2700" kern="0" dirty="0">
              <a:solidFill>
                <a:prstClr val="white"/>
              </a:solidFill>
              <a:latin typeface="Segoe UI Light" panose="020B0502040204020203" pitchFamily="34" charset="0"/>
              <a:cs typeface="Segoe UI Light" panose="020B0502040204020203" pitchFamily="34" charset="0"/>
            </a:endParaRPr>
          </a:p>
        </p:txBody>
      </p:sp>
      <p:grpSp>
        <p:nvGrpSpPr>
          <p:cNvPr id="44" name="Group 43"/>
          <p:cNvGrpSpPr/>
          <p:nvPr/>
        </p:nvGrpSpPr>
        <p:grpSpPr>
          <a:xfrm>
            <a:off x="2384432" y="4347094"/>
            <a:ext cx="394469" cy="406167"/>
            <a:chOff x="2296894" y="-3310276"/>
            <a:chExt cx="484187" cy="498475"/>
          </a:xfrm>
          <a:solidFill>
            <a:schemeClr val="tx1"/>
          </a:solidFill>
        </p:grpSpPr>
        <p:sp>
          <p:nvSpPr>
            <p:cNvPr id="45" name="Freeform 44"/>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46" name="Freeform 45"/>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47" name="Freeform 46"/>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48" name="Freeform 47"/>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49" name="Freeform 48"/>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50" name="Freeform 49"/>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51" name="Freeform 50"/>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52" name="Freeform 51"/>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grpSp>
      <p:grpSp>
        <p:nvGrpSpPr>
          <p:cNvPr id="53" name="Group 52"/>
          <p:cNvGrpSpPr/>
          <p:nvPr/>
        </p:nvGrpSpPr>
        <p:grpSpPr>
          <a:xfrm>
            <a:off x="2777608" y="3125286"/>
            <a:ext cx="444645" cy="394679"/>
            <a:chOff x="3314482" y="-4918414"/>
            <a:chExt cx="508000" cy="450850"/>
          </a:xfrm>
          <a:solidFill>
            <a:schemeClr val="tx1"/>
          </a:solidFill>
        </p:grpSpPr>
        <p:sp>
          <p:nvSpPr>
            <p:cNvPr id="54" name="Freeform 53"/>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grpSp>
          <p:nvGrpSpPr>
            <p:cNvPr id="55" name="Group 54"/>
            <p:cNvGrpSpPr/>
            <p:nvPr/>
          </p:nvGrpSpPr>
          <p:grpSpPr>
            <a:xfrm>
              <a:off x="3395444" y="-4880314"/>
              <a:ext cx="363537" cy="342900"/>
              <a:chOff x="3395444" y="-4880314"/>
              <a:chExt cx="363537" cy="342900"/>
            </a:xfrm>
            <a:grpFill/>
          </p:grpSpPr>
          <p:sp>
            <p:nvSpPr>
              <p:cNvPr id="56" name="Freeform 55"/>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57" name="Freeform 56"/>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58" name="Freeform 57"/>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59" name="Freeform 58"/>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0" name="Freeform 59"/>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1" name="Freeform 60"/>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2" name="Freeform 61"/>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3" name="Freeform 62"/>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4" name="Freeform 63"/>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5" name="Freeform 64"/>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6" name="Freeform 65"/>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7" name="Freeform 66"/>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68" name="Freeform 67"/>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grpSp>
      </p:grpSp>
      <p:pic>
        <p:nvPicPr>
          <p:cNvPr id="69" name="Picture 68"/>
          <p:cNvPicPr>
            <a:picLocks noChangeAspect="1"/>
          </p:cNvPicPr>
          <p:nvPr/>
        </p:nvPicPr>
        <p:blipFill>
          <a:blip r:embed="rId9"/>
          <a:stretch>
            <a:fillRect/>
          </a:stretch>
        </p:blipFill>
        <p:spPr>
          <a:xfrm>
            <a:off x="5939939" y="1260687"/>
            <a:ext cx="2459161" cy="2679109"/>
          </a:xfrm>
          <a:prstGeom prst="rect">
            <a:avLst/>
          </a:prstGeom>
        </p:spPr>
      </p:pic>
      <p:pic>
        <p:nvPicPr>
          <p:cNvPr id="70" name="Picture 69"/>
          <p:cNvPicPr>
            <a:picLocks noChangeAspect="1"/>
          </p:cNvPicPr>
          <p:nvPr/>
        </p:nvPicPr>
        <p:blipFill>
          <a:blip r:embed="rId10"/>
          <a:stretch>
            <a:fillRect/>
          </a:stretch>
        </p:blipFill>
        <p:spPr>
          <a:xfrm>
            <a:off x="7905515" y="2156321"/>
            <a:ext cx="3812523" cy="2263124"/>
          </a:xfrm>
          <a:prstGeom prst="rect">
            <a:avLst/>
          </a:prstGeom>
        </p:spPr>
      </p:pic>
      <p:sp>
        <p:nvSpPr>
          <p:cNvPr id="71" name="Text Placeholder 16"/>
          <p:cNvSpPr txBox="1">
            <a:spLocks/>
          </p:cNvSpPr>
          <p:nvPr/>
        </p:nvSpPr>
        <p:spPr>
          <a:xfrm>
            <a:off x="0" y="5311213"/>
            <a:ext cx="5601099" cy="503083"/>
          </a:xfrm>
          <a:prstGeom prst="rect">
            <a:avLst/>
          </a:prstGeom>
        </p:spPr>
        <p:txBody>
          <a:bodyPr lIns="89639" tIns="44819" rIns="89639" bIns="44819"/>
          <a:lst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buNone/>
            </a:pPr>
            <a:r>
              <a:rPr lang="en-US" sz="2400" dirty="0"/>
              <a:t>Azure services (IoT and others)</a:t>
            </a:r>
          </a:p>
        </p:txBody>
      </p:sp>
    </p:spTree>
    <p:extLst>
      <p:ext uri="{BB962C8B-B14F-4D97-AF65-F5344CB8AC3E}">
        <p14:creationId xmlns:p14="http://schemas.microsoft.com/office/powerpoint/2010/main" val="3498186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par>
                                <p:cTn id="35" presetID="10" presetClass="entr" presetSubtype="0"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par>
                                <p:cTn id="38" presetID="10" presetClass="entr" presetSubtype="0" fill="hold" nodeType="with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500"/>
                                        <p:tgtEl>
                                          <p:spTgt spid="5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10" presetClass="entr" presetSubtype="0" fill="hold" nodeType="with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fade">
                                      <p:cBhvr>
                                        <p:cTn id="46" dur="500"/>
                                        <p:tgtEl>
                                          <p:spTgt spid="33"/>
                                        </p:tgtEl>
                                      </p:cBhvr>
                                    </p:animEffect>
                                  </p:childTnLst>
                                </p:cTn>
                              </p:par>
                              <p:par>
                                <p:cTn id="47" presetID="10" presetClass="entr" presetSubtype="0" fill="hold" nodeType="with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fade">
                                      <p:cBhvr>
                                        <p:cTn id="49" dur="500"/>
                                        <p:tgtEl>
                                          <p:spTgt spid="3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2"/>
                                        </p:tgtEl>
                                        <p:attrNameLst>
                                          <p:attrName>style.visibility</p:attrName>
                                        </p:attrNameLst>
                                      </p:cBhvr>
                                      <p:to>
                                        <p:strVal val="visible"/>
                                      </p:to>
                                    </p:set>
                                    <p:animEffect transition="in" filter="fade">
                                      <p:cBhvr>
                                        <p:cTn id="52" dur="500"/>
                                        <p:tgtEl>
                                          <p:spTgt spid="42"/>
                                        </p:tgtEl>
                                      </p:cBhvr>
                                    </p:animEffect>
                                  </p:childTnLst>
                                </p:cTn>
                              </p:par>
                              <p:par>
                                <p:cTn id="53" presetID="10" presetClass="entr" presetSubtype="0" fill="hold" nodeType="with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fade">
                                      <p:cBhvr>
                                        <p:cTn id="55" dur="500"/>
                                        <p:tgtEl>
                                          <p:spTgt spid="69"/>
                                        </p:tgtEl>
                                      </p:cBhvr>
                                    </p:animEffect>
                                  </p:childTnLst>
                                </p:cTn>
                              </p:par>
                              <p:par>
                                <p:cTn id="56" presetID="10" presetClass="entr" presetSubtype="0" fill="hold" nodeType="withEffect">
                                  <p:stCondLst>
                                    <p:cond delay="0"/>
                                  </p:stCondLst>
                                  <p:childTnLst>
                                    <p:set>
                                      <p:cBhvr>
                                        <p:cTn id="57" dur="1" fill="hold">
                                          <p:stCondLst>
                                            <p:cond delay="0"/>
                                          </p:stCondLst>
                                        </p:cTn>
                                        <p:tgtEl>
                                          <p:spTgt spid="70"/>
                                        </p:tgtEl>
                                        <p:attrNameLst>
                                          <p:attrName>style.visibility</p:attrName>
                                        </p:attrNameLst>
                                      </p:cBhvr>
                                      <p:to>
                                        <p:strVal val="visible"/>
                                      </p:to>
                                    </p:set>
                                    <p:animEffect transition="in" filter="fade">
                                      <p:cBhvr>
                                        <p:cTn id="58"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4" grpId="0" animBg="1"/>
      <p:bldP spid="42" grpId="0"/>
      <p:bldP spid="43" grpId="0" animBg="1"/>
      <p:bldP spid="7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Services for IoT</a:t>
            </a:r>
          </a:p>
        </p:txBody>
      </p:sp>
      <p:sp>
        <p:nvSpPr>
          <p:cNvPr id="4" name="Freeform 3"/>
          <p:cNvSpPr>
            <a:spLocks noChangeAspect="1"/>
          </p:cNvSpPr>
          <p:nvPr/>
        </p:nvSpPr>
        <p:spPr bwMode="auto">
          <a:xfrm rot="5280000">
            <a:off x="808668" y="1313057"/>
            <a:ext cx="470676" cy="598411"/>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defTabSz="914080" fontAlgn="base">
              <a:spcBef>
                <a:spcPct val="0"/>
              </a:spcBef>
              <a:spcAft>
                <a:spcPct val="0"/>
              </a:spcAft>
              <a:defRPr/>
            </a:pPr>
            <a:endParaRPr lang="en-US" sz="2000" kern="0" dirty="0">
              <a:gradFill>
                <a:gsLst>
                  <a:gs pos="5417">
                    <a:srgbClr val="505050"/>
                  </a:gs>
                  <a:gs pos="100000">
                    <a:srgbClr val="505050"/>
                  </a:gs>
                </a:gsLst>
                <a:lin ang="5400000" scaled="0"/>
              </a:gradFill>
              <a:latin typeface="Segoe UI"/>
            </a:endParaRPr>
          </a:p>
        </p:txBody>
      </p:sp>
      <p:sp>
        <p:nvSpPr>
          <p:cNvPr id="7" name="Rectangle 6"/>
          <p:cNvSpPr/>
          <p:nvPr/>
        </p:nvSpPr>
        <p:spPr>
          <a:xfrm>
            <a:off x="1537616" y="1298241"/>
            <a:ext cx="8876302" cy="790635"/>
          </a:xfrm>
          <a:prstGeom prst="rect">
            <a:avLst/>
          </a:prstGeom>
        </p:spPr>
        <p:txBody>
          <a:bodyPr wrap="square" lIns="89639" tIns="44819" rIns="89639" bIns="44819">
            <a:spAutoFit/>
          </a:bodyPr>
          <a:lstStyle/>
          <a:p>
            <a:pPr defTabSz="914367">
              <a:lnSpc>
                <a:spcPct val="90000"/>
              </a:lnSpc>
              <a:spcBef>
                <a:spcPct val="20000"/>
              </a:spcBef>
              <a:buSzPct val="90000"/>
              <a:defRPr/>
            </a:pPr>
            <a:r>
              <a:rPr lang="en-US" sz="3100" dirty="0">
                <a:gradFill>
                  <a:gsLst>
                    <a:gs pos="1250">
                      <a:srgbClr val="0078D7"/>
                    </a:gs>
                    <a:gs pos="99000">
                      <a:srgbClr val="0078D7"/>
                    </a:gs>
                  </a:gsLst>
                  <a:lin ang="5400000" scaled="0"/>
                </a:gradFill>
                <a:latin typeface="Segoe UI Light"/>
              </a:rPr>
              <a:t>Azure IoT Hub</a:t>
            </a:r>
          </a:p>
          <a:p>
            <a:pPr marL="0" lvl="1" defTabSz="914367">
              <a:lnSpc>
                <a:spcPct val="90000"/>
              </a:lnSpc>
              <a:spcBef>
                <a:spcPct val="20000"/>
              </a:spcBef>
              <a:buSzPct val="90000"/>
              <a:defRPr/>
            </a:pPr>
            <a:r>
              <a:rPr lang="en-US" sz="1600" dirty="0">
                <a:gradFill>
                  <a:gsLst>
                    <a:gs pos="1250">
                      <a:srgbClr val="505050"/>
                    </a:gs>
                    <a:gs pos="100000">
                      <a:srgbClr val="505050"/>
                    </a:gs>
                  </a:gsLst>
                  <a:lin ang="5400000" scaled="0"/>
                </a:gradFill>
                <a:latin typeface="Segoe UI"/>
              </a:rPr>
              <a:t>Connect, secure, communicate, monitor and manage billions of devices</a:t>
            </a:r>
          </a:p>
        </p:txBody>
      </p:sp>
      <p:grpSp>
        <p:nvGrpSpPr>
          <p:cNvPr id="9" name="Group 8"/>
          <p:cNvGrpSpPr/>
          <p:nvPr/>
        </p:nvGrpSpPr>
        <p:grpSpPr>
          <a:xfrm>
            <a:off x="686326" y="2233598"/>
            <a:ext cx="628741" cy="488745"/>
            <a:chOff x="1107857" y="-3310276"/>
            <a:chExt cx="641349" cy="498475"/>
          </a:xfrm>
        </p:grpSpPr>
        <p:sp>
          <p:nvSpPr>
            <p:cNvPr id="10"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1"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2"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3"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15" name="Rectangle 14"/>
          <p:cNvSpPr/>
          <p:nvPr/>
        </p:nvSpPr>
        <p:spPr>
          <a:xfrm>
            <a:off x="1537616" y="2180292"/>
            <a:ext cx="8876302" cy="790635"/>
          </a:xfrm>
          <a:prstGeom prst="rect">
            <a:avLst/>
          </a:prstGeom>
        </p:spPr>
        <p:txBody>
          <a:bodyPr wrap="square" lIns="89639" tIns="44819" rIns="89639" bIns="44819">
            <a:spAutoFit/>
          </a:bodyPr>
          <a:lstStyle/>
          <a:p>
            <a:pPr defTabSz="914367">
              <a:lnSpc>
                <a:spcPct val="90000"/>
              </a:lnSpc>
              <a:spcBef>
                <a:spcPct val="20000"/>
              </a:spcBef>
              <a:buSzPct val="90000"/>
              <a:defRPr/>
            </a:pPr>
            <a:r>
              <a:rPr lang="en-US" sz="3100" dirty="0">
                <a:gradFill>
                  <a:gsLst>
                    <a:gs pos="1250">
                      <a:srgbClr val="0078D7"/>
                    </a:gs>
                    <a:gs pos="99000">
                      <a:srgbClr val="0078D7"/>
                    </a:gs>
                  </a:gsLst>
                  <a:lin ang="5400000" scaled="0"/>
                </a:gradFill>
                <a:latin typeface="Segoe UI Light"/>
              </a:rPr>
              <a:t>Azure Stream Analytics</a:t>
            </a:r>
          </a:p>
          <a:p>
            <a:pPr marL="0" lvl="1" defTabSz="914367">
              <a:lnSpc>
                <a:spcPct val="90000"/>
              </a:lnSpc>
              <a:spcBef>
                <a:spcPct val="20000"/>
              </a:spcBef>
              <a:buSzPct val="90000"/>
              <a:defRPr/>
            </a:pPr>
            <a:r>
              <a:rPr lang="en-US" sz="1600" dirty="0">
                <a:gradFill>
                  <a:gsLst>
                    <a:gs pos="1250">
                      <a:srgbClr val="505050"/>
                    </a:gs>
                    <a:gs pos="100000">
                      <a:srgbClr val="505050"/>
                    </a:gs>
                  </a:gsLst>
                  <a:lin ang="5400000" scaled="0"/>
                </a:gradFill>
                <a:latin typeface="Segoe UI"/>
              </a:rPr>
              <a:t>Real time stream processing for billions of IoT devices</a:t>
            </a:r>
          </a:p>
        </p:txBody>
      </p:sp>
      <p:grpSp>
        <p:nvGrpSpPr>
          <p:cNvPr id="28" name="Group 27"/>
          <p:cNvGrpSpPr/>
          <p:nvPr/>
        </p:nvGrpSpPr>
        <p:grpSpPr>
          <a:xfrm>
            <a:off x="827948" y="3149403"/>
            <a:ext cx="449768" cy="390685"/>
            <a:chOff x="2317532" y="-4150064"/>
            <a:chExt cx="458787" cy="398463"/>
          </a:xfrm>
        </p:grpSpPr>
        <p:sp>
          <p:nvSpPr>
            <p:cNvPr id="29"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30"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31"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32"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3" name="Rectangle 2"/>
          <p:cNvSpPr/>
          <p:nvPr/>
        </p:nvSpPr>
        <p:spPr>
          <a:xfrm>
            <a:off x="1539174" y="3049823"/>
            <a:ext cx="8067823" cy="790635"/>
          </a:xfrm>
          <a:prstGeom prst="rect">
            <a:avLst/>
          </a:prstGeom>
        </p:spPr>
        <p:txBody>
          <a:bodyPr wrap="square" lIns="89639" tIns="44819" rIns="89639" bIns="44819">
            <a:spAutoFit/>
          </a:bodyPr>
          <a:lstStyle/>
          <a:p>
            <a:pPr defTabSz="914367">
              <a:lnSpc>
                <a:spcPct val="90000"/>
              </a:lnSpc>
              <a:spcBef>
                <a:spcPct val="20000"/>
              </a:spcBef>
              <a:buSzPct val="90000"/>
              <a:defRPr/>
            </a:pPr>
            <a:r>
              <a:rPr lang="en-US" sz="3100" dirty="0">
                <a:gradFill>
                  <a:gsLst>
                    <a:gs pos="1250">
                      <a:srgbClr val="0078D7"/>
                    </a:gs>
                    <a:gs pos="99000">
                      <a:srgbClr val="0078D7"/>
                    </a:gs>
                  </a:gsLst>
                  <a:lin ang="5400000" scaled="0"/>
                </a:gradFill>
                <a:latin typeface="Segoe UI Light"/>
              </a:rPr>
              <a:t>Azure Storage</a:t>
            </a:r>
          </a:p>
          <a:p>
            <a:pPr marL="0" lvl="1" defTabSz="914367">
              <a:lnSpc>
                <a:spcPct val="90000"/>
              </a:lnSpc>
              <a:spcBef>
                <a:spcPct val="20000"/>
              </a:spcBef>
              <a:buSzPct val="90000"/>
              <a:defRPr/>
            </a:pPr>
            <a:r>
              <a:rPr lang="en-US" sz="1600" dirty="0">
                <a:gradFill>
                  <a:gsLst>
                    <a:gs pos="1250">
                      <a:srgbClr val="505050"/>
                    </a:gs>
                    <a:gs pos="100000">
                      <a:srgbClr val="505050"/>
                    </a:gs>
                  </a:gsLst>
                  <a:lin ang="5400000" scaled="0"/>
                </a:gradFill>
                <a:latin typeface="Segoe UI"/>
              </a:rPr>
              <a:t>Blob, SQL, DocumentDB, Data Lake.  Storage to meet every need at the scale of IoT</a:t>
            </a:r>
          </a:p>
        </p:txBody>
      </p:sp>
      <p:grpSp>
        <p:nvGrpSpPr>
          <p:cNvPr id="37" name="Group 36"/>
          <p:cNvGrpSpPr/>
          <p:nvPr/>
        </p:nvGrpSpPr>
        <p:grpSpPr>
          <a:xfrm>
            <a:off x="833907" y="4026701"/>
            <a:ext cx="498014" cy="442051"/>
            <a:chOff x="3314482" y="-4918414"/>
            <a:chExt cx="508000" cy="450850"/>
          </a:xfrm>
        </p:grpSpPr>
        <p:sp>
          <p:nvSpPr>
            <p:cNvPr id="38"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nvGrpSpPr>
            <p:cNvPr id="39" name="Group 38"/>
            <p:cNvGrpSpPr/>
            <p:nvPr/>
          </p:nvGrpSpPr>
          <p:grpSpPr>
            <a:xfrm>
              <a:off x="3395444" y="-4880314"/>
              <a:ext cx="363537" cy="342900"/>
              <a:chOff x="3395444" y="-4880314"/>
              <a:chExt cx="363537" cy="342900"/>
            </a:xfrm>
          </p:grpSpPr>
          <p:sp>
            <p:nvSpPr>
              <p:cNvPr id="40"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1"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2"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3"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4"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5"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6"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7"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8"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49"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50"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51"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52"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grpSp>
      <p:sp>
        <p:nvSpPr>
          <p:cNvPr id="54" name="Rectangle 53"/>
          <p:cNvSpPr/>
          <p:nvPr/>
        </p:nvSpPr>
        <p:spPr>
          <a:xfrm>
            <a:off x="1539173" y="3991477"/>
            <a:ext cx="6094444" cy="790635"/>
          </a:xfrm>
          <a:prstGeom prst="rect">
            <a:avLst/>
          </a:prstGeom>
        </p:spPr>
        <p:txBody>
          <a:bodyPr lIns="89639" tIns="44819" rIns="89639" bIns="44819">
            <a:spAutoFit/>
          </a:bodyPr>
          <a:lstStyle/>
          <a:p>
            <a:pPr defTabSz="914367">
              <a:lnSpc>
                <a:spcPct val="90000"/>
              </a:lnSpc>
              <a:spcBef>
                <a:spcPct val="20000"/>
              </a:spcBef>
              <a:buSzPct val="90000"/>
              <a:defRPr/>
            </a:pPr>
            <a:r>
              <a:rPr lang="en-US" sz="3100" dirty="0">
                <a:gradFill>
                  <a:gsLst>
                    <a:gs pos="1250">
                      <a:srgbClr val="0078D7"/>
                    </a:gs>
                    <a:gs pos="99000">
                      <a:srgbClr val="0078D7"/>
                    </a:gs>
                  </a:gsLst>
                  <a:lin ang="5400000" scaled="0"/>
                </a:gradFill>
                <a:latin typeface="Segoe UI Light"/>
              </a:rPr>
              <a:t>Azure App Service</a:t>
            </a:r>
          </a:p>
          <a:p>
            <a:pPr marL="0" lvl="1" defTabSz="914367">
              <a:lnSpc>
                <a:spcPct val="90000"/>
              </a:lnSpc>
              <a:spcBef>
                <a:spcPct val="20000"/>
              </a:spcBef>
              <a:buSzPct val="90000"/>
              <a:defRPr/>
            </a:pPr>
            <a:r>
              <a:rPr lang="en-US" sz="1600" dirty="0">
                <a:gradFill>
                  <a:gsLst>
                    <a:gs pos="1250">
                      <a:srgbClr val="505050"/>
                    </a:gs>
                    <a:gs pos="100000">
                      <a:srgbClr val="505050"/>
                    </a:gs>
                  </a:gsLst>
                  <a:lin ang="5400000" scaled="0"/>
                </a:gradFill>
                <a:latin typeface="Segoe UI"/>
              </a:rPr>
              <a:t>Web and mobile apps for any platform on any device</a:t>
            </a:r>
          </a:p>
        </p:txBody>
      </p:sp>
      <p:grpSp>
        <p:nvGrpSpPr>
          <p:cNvPr id="55" name="Group 54"/>
          <p:cNvGrpSpPr/>
          <p:nvPr/>
        </p:nvGrpSpPr>
        <p:grpSpPr>
          <a:xfrm>
            <a:off x="839903" y="4975026"/>
            <a:ext cx="540492" cy="843009"/>
            <a:chOff x="8694268" y="2095333"/>
            <a:chExt cx="538477" cy="855837"/>
          </a:xfrm>
        </p:grpSpPr>
        <p:sp>
          <p:nvSpPr>
            <p:cNvPr id="56" name="Rectangle 287"/>
            <p:cNvSpPr>
              <a:spLocks noChangeArrowheads="1"/>
            </p:cNvSpPr>
            <p:nvPr/>
          </p:nvSpPr>
          <p:spPr bwMode="auto">
            <a:xfrm>
              <a:off x="8694268" y="2669956"/>
              <a:ext cx="0" cy="2812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endParaRPr lang="en-US" altLang="en-US" kern="0" dirty="0">
                <a:solidFill>
                  <a:prstClr val="black"/>
                </a:solidFill>
              </a:endParaRPr>
            </a:p>
          </p:txBody>
        </p:sp>
        <p:sp>
          <p:nvSpPr>
            <p:cNvPr id="57" name="Rectangle 56"/>
            <p:cNvSpPr/>
            <p:nvPr>
              <p:custDataLst>
                <p:tags r:id="rId1"/>
              </p:custDataLst>
            </p:nvPr>
          </p:nvSpPr>
          <p:spPr bwMode="auto">
            <a:xfrm>
              <a:off x="8699209" y="2095333"/>
              <a:ext cx="533536" cy="533536"/>
            </a:xfrm>
            <a:prstGeom prst="rect">
              <a:avLst/>
            </a:prstGeom>
            <a:solidFill>
              <a:srgbClr val="0078D7"/>
            </a:solidFill>
            <a:ln w="10795" cap="flat" cmpd="sng" algn="ctr">
              <a:noFill/>
              <a:prstDash val="solid"/>
              <a:headEnd type="none" w="med" len="med"/>
              <a:tailEnd type="none" w="med" len="med"/>
            </a:ln>
            <a:effectLst/>
          </p:spPr>
          <p:txBody>
            <a:bodyPr vert="horz" wrap="square" lIns="68580" tIns="45720" rIns="68580" bIns="45720" numCol="1" rtlCol="0" anchor="b" anchorCtr="0" compatLnSpc="1">
              <a:prstTxWarp prst="textNoShape">
                <a:avLst/>
              </a:prstTxWarp>
            </a:bodyPr>
            <a:lstStyle/>
            <a:p>
              <a:pPr defTabSz="914080" fontAlgn="base">
                <a:spcBef>
                  <a:spcPct val="0"/>
                </a:spcBef>
                <a:spcAft>
                  <a:spcPct val="0"/>
                </a:spcAft>
                <a:defRPr/>
              </a:pPr>
              <a:endParaRPr lang="en-US" sz="1500" kern="0" dirty="0">
                <a:gradFill flip="none" rotWithShape="1">
                  <a:gsLst>
                    <a:gs pos="5417">
                      <a:srgbClr val="FFFFFF"/>
                    </a:gs>
                    <a:gs pos="100000">
                      <a:srgbClr val="FFFFFF"/>
                    </a:gs>
                  </a:gsLst>
                  <a:lin ang="5400000" scaled="0"/>
                  <a:tileRect/>
                </a:gradFill>
                <a:latin typeface="Segoe UI"/>
              </a:endParaRPr>
            </a:p>
          </p:txBody>
        </p:sp>
        <p:grpSp>
          <p:nvGrpSpPr>
            <p:cNvPr id="58" name="Group 57"/>
            <p:cNvGrpSpPr/>
            <p:nvPr/>
          </p:nvGrpSpPr>
          <p:grpSpPr>
            <a:xfrm>
              <a:off x="8831399" y="2232704"/>
              <a:ext cx="269157" cy="280308"/>
              <a:chOff x="11472827" y="4545788"/>
              <a:chExt cx="280728" cy="284825"/>
            </a:xfrm>
          </p:grpSpPr>
          <p:sp>
            <p:nvSpPr>
              <p:cNvPr id="59" name="Rounded Rectangle 58"/>
              <p:cNvSpPr/>
              <p:nvPr/>
            </p:nvSpPr>
            <p:spPr bwMode="auto">
              <a:xfrm>
                <a:off x="11472827" y="4699141"/>
                <a:ext cx="35603" cy="80649"/>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a:lnSpc>
                    <a:spcPct val="90000"/>
                  </a:lnSpc>
                  <a:defRPr/>
                </a:pPr>
                <a:endParaRPr lang="en-US" sz="2000" b="1" kern="0" dirty="0">
                  <a:solidFill>
                    <a:prstClr val="white"/>
                  </a:solidFill>
                  <a:latin typeface="Segoe UI Light"/>
                  <a:ea typeface="Segoe UI" pitchFamily="34" charset="0"/>
                  <a:cs typeface="Segoe UI" pitchFamily="34" charset="0"/>
                </a:endParaRPr>
              </a:p>
            </p:txBody>
          </p:sp>
          <p:sp>
            <p:nvSpPr>
              <p:cNvPr id="60" name="Rounded Rectangle 59"/>
              <p:cNvSpPr/>
              <p:nvPr/>
            </p:nvSpPr>
            <p:spPr bwMode="auto">
              <a:xfrm>
                <a:off x="11527518" y="4680314"/>
                <a:ext cx="35603" cy="111152"/>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a:lnSpc>
                    <a:spcPct val="90000"/>
                  </a:lnSpc>
                  <a:defRPr/>
                </a:pPr>
                <a:endParaRPr lang="en-US" sz="2000" b="1" kern="0" dirty="0">
                  <a:solidFill>
                    <a:prstClr val="white"/>
                  </a:solidFill>
                  <a:latin typeface="Segoe UI Light"/>
                  <a:ea typeface="Segoe UI" pitchFamily="34" charset="0"/>
                  <a:cs typeface="Segoe UI" pitchFamily="34" charset="0"/>
                </a:endParaRPr>
              </a:p>
            </p:txBody>
          </p:sp>
          <p:sp>
            <p:nvSpPr>
              <p:cNvPr id="61" name="Rounded Rectangle 60"/>
              <p:cNvSpPr/>
              <p:nvPr/>
            </p:nvSpPr>
            <p:spPr bwMode="auto">
              <a:xfrm>
                <a:off x="11581398" y="4660852"/>
                <a:ext cx="35603" cy="151148"/>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a:lnSpc>
                    <a:spcPct val="90000"/>
                  </a:lnSpc>
                  <a:defRPr/>
                </a:pPr>
                <a:endParaRPr lang="en-US" sz="2000" b="1" kern="0" dirty="0">
                  <a:solidFill>
                    <a:prstClr val="white"/>
                  </a:solidFill>
                  <a:latin typeface="Segoe UI Light"/>
                  <a:ea typeface="Segoe UI" pitchFamily="34" charset="0"/>
                  <a:cs typeface="Segoe UI" pitchFamily="34" charset="0"/>
                </a:endParaRPr>
              </a:p>
            </p:txBody>
          </p:sp>
          <p:sp>
            <p:nvSpPr>
              <p:cNvPr id="62" name="Rounded Rectangle 61"/>
              <p:cNvSpPr/>
              <p:nvPr/>
            </p:nvSpPr>
            <p:spPr bwMode="auto">
              <a:xfrm>
                <a:off x="11637498" y="4643936"/>
                <a:ext cx="35603" cy="186677"/>
              </a:xfrm>
              <a:prstGeom prst="roundRect">
                <a:avLst>
                  <a:gd name="adj" fmla="val 50000"/>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80">
                  <a:lnSpc>
                    <a:spcPct val="90000"/>
                  </a:lnSpc>
                  <a:defRPr/>
                </a:pPr>
                <a:endParaRPr lang="en-US" sz="2000" b="1" kern="0" dirty="0">
                  <a:solidFill>
                    <a:prstClr val="white"/>
                  </a:solidFill>
                  <a:latin typeface="Segoe UI Light"/>
                  <a:ea typeface="Segoe UI" pitchFamily="34" charset="0"/>
                  <a:cs typeface="Segoe UI" pitchFamily="34" charset="0"/>
                </a:endParaRPr>
              </a:p>
            </p:txBody>
          </p:sp>
          <p:sp>
            <p:nvSpPr>
              <p:cNvPr id="63" name="Freeform 62"/>
              <p:cNvSpPr/>
              <p:nvPr/>
            </p:nvSpPr>
            <p:spPr bwMode="auto">
              <a:xfrm>
                <a:off x="11487149" y="4545788"/>
                <a:ext cx="266406" cy="257746"/>
              </a:xfrm>
              <a:custGeom>
                <a:avLst/>
                <a:gdLst>
                  <a:gd name="connsiteX0" fmla="*/ 0 w 1136625"/>
                  <a:gd name="connsiteY0" fmla="*/ 528239 h 1114767"/>
                  <a:gd name="connsiteX1" fmla="*/ 0 w 1136625"/>
                  <a:gd name="connsiteY1" fmla="*/ 105648 h 1114767"/>
                  <a:gd name="connsiteX2" fmla="*/ 204010 w 1136625"/>
                  <a:gd name="connsiteY2" fmla="*/ 0 h 1114767"/>
                  <a:gd name="connsiteX3" fmla="*/ 983618 w 1136625"/>
                  <a:gd name="connsiteY3" fmla="*/ 247726 h 1114767"/>
                  <a:gd name="connsiteX4" fmla="*/ 1136625 w 1136625"/>
                  <a:gd name="connsiteY4" fmla="*/ 429877 h 1114767"/>
                  <a:gd name="connsiteX5" fmla="*/ 1136625 w 1136625"/>
                  <a:gd name="connsiteY5" fmla="*/ 958116 h 1114767"/>
                  <a:gd name="connsiteX6" fmla="*/ 987261 w 1136625"/>
                  <a:gd name="connsiteY6" fmla="*/ 1114767 h 1114767"/>
                  <a:gd name="connsiteX7" fmla="*/ 881613 w 1136625"/>
                  <a:gd name="connsiteY7" fmla="*/ 1052835 h 1114767"/>
                  <a:gd name="connsiteX0" fmla="*/ 0 w 1136625"/>
                  <a:gd name="connsiteY0" fmla="*/ 542295 h 1128823"/>
                  <a:gd name="connsiteX1" fmla="*/ 0 w 1136625"/>
                  <a:gd name="connsiteY1" fmla="*/ 119704 h 1128823"/>
                  <a:gd name="connsiteX2" fmla="*/ 204010 w 1136625"/>
                  <a:gd name="connsiteY2" fmla="*/ 14056 h 1128823"/>
                  <a:gd name="connsiteX3" fmla="*/ 983618 w 1136625"/>
                  <a:gd name="connsiteY3" fmla="*/ 261782 h 1128823"/>
                  <a:gd name="connsiteX4" fmla="*/ 1136625 w 1136625"/>
                  <a:gd name="connsiteY4" fmla="*/ 443933 h 1128823"/>
                  <a:gd name="connsiteX5" fmla="*/ 1136625 w 1136625"/>
                  <a:gd name="connsiteY5" fmla="*/ 972172 h 1128823"/>
                  <a:gd name="connsiteX6" fmla="*/ 987261 w 1136625"/>
                  <a:gd name="connsiteY6" fmla="*/ 1128823 h 1128823"/>
                  <a:gd name="connsiteX7" fmla="*/ 881613 w 1136625"/>
                  <a:gd name="connsiteY7" fmla="*/ 1066891 h 1128823"/>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6635"/>
                  <a:gd name="connsiteY0" fmla="*/ 546990 h 1133518"/>
                  <a:gd name="connsiteX1" fmla="*/ 10 w 1136635"/>
                  <a:gd name="connsiteY1" fmla="*/ 124399 h 1133518"/>
                  <a:gd name="connsiteX2" fmla="*/ 204020 w 1136635"/>
                  <a:gd name="connsiteY2" fmla="*/ 18751 h 1133518"/>
                  <a:gd name="connsiteX3" fmla="*/ 983628 w 1136635"/>
                  <a:gd name="connsiteY3" fmla="*/ 266477 h 1133518"/>
                  <a:gd name="connsiteX4" fmla="*/ 1136635 w 1136635"/>
                  <a:gd name="connsiteY4" fmla="*/ 448628 h 1133518"/>
                  <a:gd name="connsiteX5" fmla="*/ 1136635 w 1136635"/>
                  <a:gd name="connsiteY5" fmla="*/ 976867 h 1133518"/>
                  <a:gd name="connsiteX6" fmla="*/ 987271 w 1136635"/>
                  <a:gd name="connsiteY6" fmla="*/ 1133518 h 1133518"/>
                  <a:gd name="connsiteX7" fmla="*/ 881623 w 1136635"/>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33518"/>
                  <a:gd name="connsiteX1" fmla="*/ 10 w 1137407"/>
                  <a:gd name="connsiteY1" fmla="*/ 124399 h 1133518"/>
                  <a:gd name="connsiteX2" fmla="*/ 204020 w 1137407"/>
                  <a:gd name="connsiteY2" fmla="*/ 18751 h 1133518"/>
                  <a:gd name="connsiteX3" fmla="*/ 983628 w 1137407"/>
                  <a:gd name="connsiteY3" fmla="*/ 266477 h 1133518"/>
                  <a:gd name="connsiteX4" fmla="*/ 1136635 w 1137407"/>
                  <a:gd name="connsiteY4" fmla="*/ 448628 h 1133518"/>
                  <a:gd name="connsiteX5" fmla="*/ 1136635 w 1137407"/>
                  <a:gd name="connsiteY5" fmla="*/ 976867 h 1133518"/>
                  <a:gd name="connsiteX6" fmla="*/ 987271 w 1137407"/>
                  <a:gd name="connsiteY6" fmla="*/ 1133518 h 1133518"/>
                  <a:gd name="connsiteX7" fmla="*/ 881623 w 1137407"/>
                  <a:gd name="connsiteY7" fmla="*/ 1071586 h 1133518"/>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 name="connsiteX0" fmla="*/ 10 w 1137407"/>
                  <a:gd name="connsiteY0" fmla="*/ 546990 h 1141164"/>
                  <a:gd name="connsiteX1" fmla="*/ 10 w 1137407"/>
                  <a:gd name="connsiteY1" fmla="*/ 124399 h 1141164"/>
                  <a:gd name="connsiteX2" fmla="*/ 204020 w 1137407"/>
                  <a:gd name="connsiteY2" fmla="*/ 18751 h 1141164"/>
                  <a:gd name="connsiteX3" fmla="*/ 983628 w 1137407"/>
                  <a:gd name="connsiteY3" fmla="*/ 266477 h 1141164"/>
                  <a:gd name="connsiteX4" fmla="*/ 1136635 w 1137407"/>
                  <a:gd name="connsiteY4" fmla="*/ 448628 h 1141164"/>
                  <a:gd name="connsiteX5" fmla="*/ 1136635 w 1137407"/>
                  <a:gd name="connsiteY5" fmla="*/ 976867 h 1141164"/>
                  <a:gd name="connsiteX6" fmla="*/ 987271 w 1137407"/>
                  <a:gd name="connsiteY6" fmla="*/ 1133518 h 1141164"/>
                  <a:gd name="connsiteX7" fmla="*/ 881623 w 1137407"/>
                  <a:gd name="connsiteY7" fmla="*/ 1071586 h 114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7407" h="1141164">
                    <a:moveTo>
                      <a:pt x="10" y="546990"/>
                    </a:moveTo>
                    <a:lnTo>
                      <a:pt x="10" y="124399"/>
                    </a:lnTo>
                    <a:cubicBezTo>
                      <a:pt x="-1205" y="41823"/>
                      <a:pt x="103230" y="-37108"/>
                      <a:pt x="204020" y="18751"/>
                    </a:cubicBezTo>
                    <a:lnTo>
                      <a:pt x="983628" y="266477"/>
                    </a:lnTo>
                    <a:cubicBezTo>
                      <a:pt x="1100205" y="312622"/>
                      <a:pt x="1143921" y="380625"/>
                      <a:pt x="1136635" y="448628"/>
                    </a:cubicBezTo>
                    <a:cubicBezTo>
                      <a:pt x="1136635" y="624708"/>
                      <a:pt x="1131778" y="877291"/>
                      <a:pt x="1136635" y="976867"/>
                    </a:cubicBezTo>
                    <a:cubicBezTo>
                      <a:pt x="1141492" y="1076443"/>
                      <a:pt x="1088062" y="1168734"/>
                      <a:pt x="987271" y="1133518"/>
                    </a:cubicBezTo>
                    <a:lnTo>
                      <a:pt x="881623" y="1071586"/>
                    </a:lnTo>
                  </a:path>
                </a:pathLst>
              </a:custGeom>
              <a:noFill/>
              <a:ln w="12700" cap="rnd" cmpd="sng" algn="ctr">
                <a:solidFill>
                  <a:srgbClr val="02162E"/>
                </a:solidFill>
                <a:prstDash val="solid"/>
                <a:headEnd type="none" w="med" len="med"/>
                <a:tailEnd type="none" w="med" len="med"/>
              </a:ln>
              <a:effectLst/>
            </p:spPr>
            <p:txBody>
              <a:bodyPr rtlCol="0" anchor="ctr"/>
              <a:lstStyle/>
              <a:p>
                <a:pPr algn="ctr" defTabSz="597576">
                  <a:defRPr/>
                </a:pPr>
                <a:endParaRPr lang="en-US" kern="0">
                  <a:solidFill>
                    <a:prstClr val="white"/>
                  </a:solidFill>
                  <a:latin typeface="Segoe UI"/>
                </a:endParaRPr>
              </a:p>
            </p:txBody>
          </p:sp>
        </p:grpSp>
      </p:grpSp>
      <p:sp>
        <p:nvSpPr>
          <p:cNvPr id="64" name="Rectangle 63"/>
          <p:cNvSpPr/>
          <p:nvPr/>
        </p:nvSpPr>
        <p:spPr>
          <a:xfrm>
            <a:off x="1539173" y="4899302"/>
            <a:ext cx="9711269" cy="790635"/>
          </a:xfrm>
          <a:prstGeom prst="rect">
            <a:avLst/>
          </a:prstGeom>
        </p:spPr>
        <p:txBody>
          <a:bodyPr wrap="square" lIns="89639" tIns="44819" rIns="89639" bIns="44819">
            <a:spAutoFit/>
          </a:bodyPr>
          <a:lstStyle/>
          <a:p>
            <a:pPr defTabSz="914367">
              <a:lnSpc>
                <a:spcPct val="90000"/>
              </a:lnSpc>
              <a:spcBef>
                <a:spcPct val="20000"/>
              </a:spcBef>
              <a:buSzPct val="90000"/>
              <a:defRPr/>
            </a:pPr>
            <a:r>
              <a:rPr lang="en-US" sz="3100" dirty="0">
                <a:gradFill>
                  <a:gsLst>
                    <a:gs pos="1250">
                      <a:srgbClr val="0078D7"/>
                    </a:gs>
                    <a:gs pos="99000">
                      <a:srgbClr val="0078D7"/>
                    </a:gs>
                  </a:gsLst>
                  <a:lin ang="5400000" scaled="0"/>
                </a:gradFill>
                <a:latin typeface="Segoe UI Light"/>
              </a:rPr>
              <a:t>Power BI</a:t>
            </a:r>
          </a:p>
          <a:p>
            <a:pPr marL="0" lvl="1" defTabSz="914367">
              <a:lnSpc>
                <a:spcPct val="90000"/>
              </a:lnSpc>
              <a:spcBef>
                <a:spcPct val="20000"/>
              </a:spcBef>
              <a:buSzPct val="90000"/>
              <a:defRPr/>
            </a:pPr>
            <a:r>
              <a:rPr lang="en-US" sz="1600" dirty="0">
                <a:gradFill>
                  <a:gsLst>
                    <a:gs pos="1250">
                      <a:srgbClr val="505050"/>
                    </a:gs>
                    <a:gs pos="100000">
                      <a:srgbClr val="505050"/>
                    </a:gs>
                  </a:gsLst>
                  <a:lin ang="5400000" scaled="0"/>
                </a:gradFill>
                <a:latin typeface="Segoe UI"/>
              </a:rPr>
              <a:t>Dashboards and data connectors to visualize any data</a:t>
            </a:r>
          </a:p>
        </p:txBody>
      </p:sp>
      <p:sp>
        <p:nvSpPr>
          <p:cNvPr id="70" name="Rectangle 69"/>
          <p:cNvSpPr/>
          <p:nvPr/>
        </p:nvSpPr>
        <p:spPr>
          <a:xfrm>
            <a:off x="9606997" y="5925748"/>
            <a:ext cx="4483681" cy="525078"/>
          </a:xfrm>
          <a:prstGeom prst="rect">
            <a:avLst/>
          </a:prstGeom>
        </p:spPr>
        <p:txBody>
          <a:bodyPr wrap="square" lIns="89639" tIns="44819" rIns="89639" bIns="44819">
            <a:spAutoFit/>
          </a:bodyPr>
          <a:lstStyle/>
          <a:p>
            <a:pPr defTabSz="914367">
              <a:lnSpc>
                <a:spcPct val="90000"/>
              </a:lnSpc>
              <a:spcBef>
                <a:spcPct val="20000"/>
              </a:spcBef>
              <a:buSzPct val="90000"/>
              <a:defRPr/>
            </a:pPr>
            <a:r>
              <a:rPr lang="en-US" sz="3100" dirty="0">
                <a:gradFill>
                  <a:gsLst>
                    <a:gs pos="1250">
                      <a:srgbClr val="0078D7"/>
                    </a:gs>
                    <a:gs pos="99000">
                      <a:srgbClr val="0078D7"/>
                    </a:gs>
                  </a:gsLst>
                  <a:lin ang="5400000" scaled="0"/>
                </a:gradFill>
                <a:latin typeface="Segoe UI Light"/>
              </a:rPr>
              <a:t>And More…</a:t>
            </a:r>
          </a:p>
        </p:txBody>
      </p:sp>
    </p:spTree>
    <p:extLst>
      <p:ext uri="{BB962C8B-B14F-4D97-AF65-F5344CB8AC3E}">
        <p14:creationId xmlns:p14="http://schemas.microsoft.com/office/powerpoint/2010/main" val="32172013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gtEl>
                                        <p:attrNameLst>
                                          <p:attrName>style.visibility</p:attrName>
                                        </p:attrNameLst>
                                      </p:cBhvr>
                                      <p:to>
                                        <p:strVal val="visible"/>
                                      </p:to>
                                    </p:set>
                                    <p:animEffect transition="in" filter="fade">
                                      <p:cBhvr>
                                        <p:cTn id="24" dur="500"/>
                                        <p:tgtEl>
                                          <p:spTgt spid="3"/>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fade">
                                      <p:cBhvr>
                                        <p:cTn id="28" dur="500"/>
                                        <p:tgtEl>
                                          <p:spTgt spid="37"/>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fade">
                                      <p:cBhvr>
                                        <p:cTn id="31" dur="500"/>
                                        <p:tgtEl>
                                          <p:spTgt spid="54"/>
                                        </p:tgtEl>
                                      </p:cBhvr>
                                    </p:animEffect>
                                  </p:childTnLst>
                                </p:cTn>
                              </p:par>
                            </p:childTnLst>
                          </p:cTn>
                        </p:par>
                        <p:par>
                          <p:cTn id="32" fill="hold">
                            <p:stCondLst>
                              <p:cond delay="2000"/>
                            </p:stCondLst>
                            <p:childTnLst>
                              <p:par>
                                <p:cTn id="33" presetID="10" presetClass="entr" presetSubtype="0" fill="hold"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fade">
                                      <p:cBhvr>
                                        <p:cTn id="35" dur="500"/>
                                        <p:tgtEl>
                                          <p:spTgt spid="5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4"/>
                                        </p:tgtEl>
                                        <p:attrNameLst>
                                          <p:attrName>style.visibility</p:attrName>
                                        </p:attrNameLst>
                                      </p:cBhvr>
                                      <p:to>
                                        <p:strVal val="visible"/>
                                      </p:to>
                                    </p:set>
                                    <p:animEffect transition="in" filter="fade">
                                      <p:cBhvr>
                                        <p:cTn id="38" dur="500"/>
                                        <p:tgtEl>
                                          <p:spTgt spid="6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0"/>
                                        </p:tgtEl>
                                        <p:attrNameLst>
                                          <p:attrName>style.visibility</p:attrName>
                                        </p:attrNameLst>
                                      </p:cBhvr>
                                      <p:to>
                                        <p:strVal val="visible"/>
                                      </p:to>
                                    </p:set>
                                    <p:animEffect transition="in" filter="fade">
                                      <p:cBhvr>
                                        <p:cTn id="41"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5" grpId="0"/>
      <p:bldP spid="3" grpId="0"/>
      <p:bldP spid="54" grpId="0"/>
      <p:bldP spid="64" grpId="0"/>
      <p:bldP spid="7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9" name="Group 248"/>
          <p:cNvGrpSpPr/>
          <p:nvPr/>
        </p:nvGrpSpPr>
        <p:grpSpPr>
          <a:xfrm>
            <a:off x="-246426" y="0"/>
            <a:ext cx="12602556" cy="6935114"/>
            <a:chOff x="-251368" y="0"/>
            <a:chExt cx="12855263" cy="7073174"/>
          </a:xfrm>
        </p:grpSpPr>
        <p:sp>
          <p:nvSpPr>
            <p:cNvPr id="76" name="Rectangle 75"/>
            <p:cNvSpPr/>
            <p:nvPr/>
          </p:nvSpPr>
          <p:spPr bwMode="auto">
            <a:xfrm>
              <a:off x="-1" y="0"/>
              <a:ext cx="12436475" cy="7073174"/>
            </a:xfrm>
            <a:prstGeom prst="rect">
              <a:avLst/>
            </a:prstGeom>
            <a:solidFill>
              <a:srgbClr val="032E4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14030" fontAlgn="base">
                <a:spcBef>
                  <a:spcPct val="0"/>
                </a:spcBef>
                <a:spcAft>
                  <a:spcPct val="0"/>
                </a:spcAft>
                <a:defRPr/>
              </a:pPr>
              <a:endParaRPr lang="en-US" sz="2000" dirty="0">
                <a:gradFill>
                  <a:gsLst>
                    <a:gs pos="16814">
                      <a:srgbClr val="FFFFFF"/>
                    </a:gs>
                    <a:gs pos="46000">
                      <a:srgbClr val="FFFFFF"/>
                    </a:gs>
                  </a:gsLst>
                  <a:lin ang="5400000" scaled="0"/>
                </a:gradFill>
                <a:latin typeface="Segoe UI"/>
              </a:endParaRPr>
            </a:p>
          </p:txBody>
        </p:sp>
        <p:sp>
          <p:nvSpPr>
            <p:cNvPr id="78" name="Rectangle 77"/>
            <p:cNvSpPr/>
            <p:nvPr/>
          </p:nvSpPr>
          <p:spPr bwMode="auto">
            <a:xfrm>
              <a:off x="127272" y="92468"/>
              <a:ext cx="12115666" cy="446531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400" b="1" kern="0" dirty="0">
                  <a:solidFill>
                    <a:srgbClr val="FFFF00"/>
                  </a:solidFill>
                  <a:latin typeface="Segoe UI"/>
                  <a:ea typeface="Segoe UI" pitchFamily="34" charset="0"/>
                  <a:cs typeface="Segoe UI" pitchFamily="34" charset="0"/>
                </a:rPr>
                <a:t>Platform Services</a:t>
              </a:r>
            </a:p>
          </p:txBody>
        </p:sp>
        <p:sp>
          <p:nvSpPr>
            <p:cNvPr id="87" name="Rectangle 86"/>
            <p:cNvSpPr/>
            <p:nvPr/>
          </p:nvSpPr>
          <p:spPr bwMode="auto">
            <a:xfrm>
              <a:off x="-1" y="4557779"/>
              <a:ext cx="12436475" cy="2453056"/>
            </a:xfrm>
            <a:prstGeom prst="rect">
              <a:avLst/>
            </a:prstGeom>
            <a:solidFill>
              <a:schemeClr val="accent1">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400" b="1" kern="0" dirty="0">
                  <a:solidFill>
                    <a:srgbClr val="FFFF00"/>
                  </a:solidFill>
                  <a:latin typeface="Segoe UI"/>
                  <a:ea typeface="Segoe UI" pitchFamily="34" charset="0"/>
                  <a:cs typeface="Segoe UI" pitchFamily="34" charset="0"/>
                </a:rPr>
                <a:t>Infrastructure Services</a:t>
              </a:r>
            </a:p>
          </p:txBody>
        </p:sp>
        <p:sp>
          <p:nvSpPr>
            <p:cNvPr id="31" name="Rectangle 30"/>
            <p:cNvSpPr/>
            <p:nvPr/>
          </p:nvSpPr>
          <p:spPr bwMode="auto">
            <a:xfrm>
              <a:off x="127272" y="4931023"/>
              <a:ext cx="2629171" cy="78939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OS/Server Compute</a:t>
              </a:r>
            </a:p>
          </p:txBody>
        </p:sp>
        <p:sp>
          <p:nvSpPr>
            <p:cNvPr id="32" name="Rectangle 31"/>
            <p:cNvSpPr/>
            <p:nvPr/>
          </p:nvSpPr>
          <p:spPr bwMode="auto">
            <a:xfrm>
              <a:off x="2937660" y="4931023"/>
              <a:ext cx="2892122"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sp>
          <p:nvSpPr>
            <p:cNvPr id="56" name="Rectangle 55"/>
            <p:cNvSpPr/>
            <p:nvPr/>
          </p:nvSpPr>
          <p:spPr bwMode="auto">
            <a:xfrm>
              <a:off x="-143214" y="5849560"/>
              <a:ext cx="12641920" cy="1097416"/>
            </a:xfrm>
            <a:prstGeom prst="rect">
              <a:avLst/>
            </a:prstGeom>
            <a:solidFill>
              <a:srgbClr val="002846"/>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91440"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400" b="1" kern="0" dirty="0">
                  <a:gradFill>
                    <a:gsLst>
                      <a:gs pos="0">
                        <a:srgbClr val="FFFFFF"/>
                      </a:gs>
                      <a:gs pos="100000">
                        <a:srgbClr val="FFFFFF"/>
                      </a:gs>
                    </a:gsLst>
                    <a:lin ang="5400000" scaled="0"/>
                  </a:gradFill>
                  <a:latin typeface="Segoe UI"/>
                  <a:ea typeface="Segoe UI" pitchFamily="34" charset="0"/>
                  <a:cs typeface="Segoe UI" pitchFamily="34" charset="0"/>
                </a:rPr>
                <a:t>Datacenter Infrastructure (30 Regions, 22 Online)</a:t>
              </a:r>
            </a:p>
          </p:txBody>
        </p:sp>
        <p:grpSp>
          <p:nvGrpSpPr>
            <p:cNvPr id="5" name="Group 4"/>
            <p:cNvGrpSpPr/>
            <p:nvPr/>
          </p:nvGrpSpPr>
          <p:grpSpPr>
            <a:xfrm>
              <a:off x="-251368" y="6292884"/>
              <a:ext cx="12855263" cy="780290"/>
              <a:chOff x="-224921" y="6392494"/>
              <a:chExt cx="12855263" cy="780290"/>
            </a:xfrm>
          </p:grpSpPr>
          <p:pic>
            <p:nvPicPr>
              <p:cNvPr id="3" name="Picture 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385697" y="6392494"/>
                <a:ext cx="780290" cy="780290"/>
              </a:xfrm>
              <a:prstGeom prst="rect">
                <a:avLst/>
              </a:prstGeom>
            </p:spPr>
          </p:pic>
          <p:pic>
            <p:nvPicPr>
              <p:cNvPr id="45" name="Picture 4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191006" y="6392494"/>
                <a:ext cx="780290" cy="780290"/>
              </a:xfrm>
              <a:prstGeom prst="rect">
                <a:avLst/>
              </a:prstGeom>
            </p:spPr>
          </p:pic>
          <p:pic>
            <p:nvPicPr>
              <p:cNvPr id="46" name="Picture 45"/>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996315" y="6392494"/>
                <a:ext cx="780290" cy="780290"/>
              </a:xfrm>
              <a:prstGeom prst="rect">
                <a:avLst/>
              </a:prstGeom>
            </p:spPr>
          </p:pic>
          <p:pic>
            <p:nvPicPr>
              <p:cNvPr id="47" name="Picture 4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3796962" y="6392494"/>
                <a:ext cx="780290" cy="780290"/>
              </a:xfrm>
              <a:prstGeom prst="rect">
                <a:avLst/>
              </a:prstGeom>
            </p:spPr>
          </p:pic>
          <p:pic>
            <p:nvPicPr>
              <p:cNvPr id="48" name="Picture 4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602271" y="6392494"/>
                <a:ext cx="780290" cy="780290"/>
              </a:xfrm>
              <a:prstGeom prst="rect">
                <a:avLst/>
              </a:prstGeom>
            </p:spPr>
          </p:pic>
          <p:pic>
            <p:nvPicPr>
              <p:cNvPr id="49" name="Picture 4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407580" y="6392494"/>
                <a:ext cx="780290" cy="780290"/>
              </a:xfrm>
              <a:prstGeom prst="rect">
                <a:avLst/>
              </a:prstGeom>
            </p:spPr>
          </p:pic>
          <p:pic>
            <p:nvPicPr>
              <p:cNvPr id="50" name="Picture 4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6212889" y="6392494"/>
                <a:ext cx="780290" cy="780290"/>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018198" y="6392494"/>
                <a:ext cx="780290" cy="780290"/>
              </a:xfrm>
              <a:prstGeom prst="rect">
                <a:avLst/>
              </a:prstGeom>
            </p:spPr>
          </p:pic>
          <p:pic>
            <p:nvPicPr>
              <p:cNvPr id="52" name="Picture 51"/>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7823507" y="6392494"/>
                <a:ext cx="780290" cy="780290"/>
              </a:xfrm>
              <a:prstGeom prst="rect">
                <a:avLst/>
              </a:prstGeom>
            </p:spPr>
          </p:pic>
          <p:pic>
            <p:nvPicPr>
              <p:cNvPr id="53" name="Picture 52"/>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8628816" y="6392494"/>
                <a:ext cx="780290" cy="780290"/>
              </a:xfrm>
              <a:prstGeom prst="rect">
                <a:avLst/>
              </a:prstGeom>
            </p:spPr>
          </p:pic>
          <p:pic>
            <p:nvPicPr>
              <p:cNvPr id="54" name="Picture 53"/>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9434125" y="6392494"/>
                <a:ext cx="780290" cy="780290"/>
              </a:xfrm>
              <a:prstGeom prst="rect">
                <a:avLst/>
              </a:prstGeom>
            </p:spPr>
          </p:pic>
          <p:pic>
            <p:nvPicPr>
              <p:cNvPr id="55" name="Picture 54"/>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0239434" y="6392494"/>
                <a:ext cx="780290" cy="780290"/>
              </a:xfrm>
              <a:prstGeom prst="rect">
                <a:avLst/>
              </a:prstGeom>
            </p:spPr>
          </p:pic>
          <p:pic>
            <p:nvPicPr>
              <p:cNvPr id="57" name="Picture 56"/>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044743" y="6392494"/>
                <a:ext cx="780290" cy="780290"/>
              </a:xfrm>
              <a:prstGeom prst="rect">
                <a:avLst/>
              </a:prstGeom>
            </p:spPr>
          </p:pic>
          <p:pic>
            <p:nvPicPr>
              <p:cNvPr id="58" name="Picture 57"/>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11850052" y="6392494"/>
                <a:ext cx="780290" cy="780290"/>
              </a:xfrm>
              <a:prstGeom prst="rect">
                <a:avLst/>
              </a:prstGeom>
            </p:spPr>
          </p:pic>
          <p:pic>
            <p:nvPicPr>
              <p:cNvPr id="59" name="Picture 58"/>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224921" y="6392494"/>
                <a:ext cx="780290" cy="780290"/>
              </a:xfrm>
              <a:prstGeom prst="rect">
                <a:avLst/>
              </a:prstGeom>
            </p:spPr>
          </p:pic>
          <p:pic>
            <p:nvPicPr>
              <p:cNvPr id="60" name="Picture 59"/>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580388" y="6392494"/>
                <a:ext cx="780290" cy="780290"/>
              </a:xfrm>
              <a:prstGeom prst="rect">
                <a:avLst/>
              </a:prstGeom>
            </p:spPr>
          </p:pic>
        </p:grpSp>
        <p:grpSp>
          <p:nvGrpSpPr>
            <p:cNvPr id="143" name="Group 142"/>
            <p:cNvGrpSpPr/>
            <p:nvPr/>
          </p:nvGrpSpPr>
          <p:grpSpPr>
            <a:xfrm>
              <a:off x="4236559" y="541203"/>
              <a:ext cx="2378439" cy="2370050"/>
              <a:chOff x="5259761" y="1539578"/>
              <a:chExt cx="2378439" cy="2370050"/>
            </a:xfrm>
          </p:grpSpPr>
          <p:sp>
            <p:nvSpPr>
              <p:cNvPr id="41" name="Rectangle 40"/>
              <p:cNvSpPr/>
              <p:nvPr/>
            </p:nvSpPr>
            <p:spPr bwMode="auto">
              <a:xfrm>
                <a:off x="5259761" y="1539578"/>
                <a:ext cx="2378439" cy="237005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Web and Mobile</a:t>
                </a:r>
              </a:p>
            </p:txBody>
          </p:sp>
          <p:grpSp>
            <p:nvGrpSpPr>
              <p:cNvPr id="137" name="Group 136"/>
              <p:cNvGrpSpPr/>
              <p:nvPr/>
            </p:nvGrpSpPr>
            <p:grpSpPr>
              <a:xfrm>
                <a:off x="5446969" y="2007908"/>
                <a:ext cx="1008542" cy="316971"/>
                <a:chOff x="5446969" y="2007908"/>
                <a:chExt cx="1008542" cy="316971"/>
              </a:xfrm>
            </p:grpSpPr>
            <p:sp>
              <p:nvSpPr>
                <p:cNvPr id="151" name="TextBox 150"/>
                <p:cNvSpPr txBox="1"/>
                <p:nvPr/>
              </p:nvSpPr>
              <p:spPr>
                <a:xfrm>
                  <a:off x="5796355" y="2023773"/>
                  <a:ext cx="659156" cy="30110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eb Apps</a:t>
                  </a:r>
                </a:p>
                <a:p>
                  <a:pPr defTabSz="913950" eaLnBrk="0" fontAlgn="base" hangingPunct="0">
                    <a:lnSpc>
                      <a:spcPts val="800"/>
                    </a:lnSpc>
                    <a:spcBef>
                      <a:spcPct val="0"/>
                    </a:spcBef>
                    <a:spcAft>
                      <a:spcPct val="0"/>
                    </a:spcAft>
                    <a:defRPr/>
                  </a:pPr>
                  <a:endPar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52" name="Picture 151"/>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5446969" y="2007908"/>
                  <a:ext cx="286784" cy="286785"/>
                </a:xfrm>
                <a:prstGeom prst="rect">
                  <a:avLst/>
                </a:prstGeom>
              </p:spPr>
            </p:pic>
          </p:grpSp>
          <p:grpSp>
            <p:nvGrpSpPr>
              <p:cNvPr id="138" name="Group 137"/>
              <p:cNvGrpSpPr/>
              <p:nvPr/>
            </p:nvGrpSpPr>
            <p:grpSpPr>
              <a:xfrm>
                <a:off x="5414050" y="2639356"/>
                <a:ext cx="1016034" cy="291093"/>
                <a:chOff x="5414050" y="2639356"/>
                <a:chExt cx="1016034" cy="291093"/>
              </a:xfrm>
            </p:grpSpPr>
            <p:sp>
              <p:nvSpPr>
                <p:cNvPr id="153" name="TextBox 152"/>
                <p:cNvSpPr txBox="1"/>
                <p:nvPr/>
              </p:nvSpPr>
              <p:spPr>
                <a:xfrm>
                  <a:off x="5770928" y="2665660"/>
                  <a:ext cx="659156" cy="26163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s</a:t>
                  </a:r>
                </a:p>
              </p:txBody>
            </p:sp>
            <p:pic>
              <p:nvPicPr>
                <p:cNvPr id="154" name="Picture 15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5414050" y="2639356"/>
                  <a:ext cx="291092" cy="291093"/>
                </a:xfrm>
                <a:prstGeom prst="rect">
                  <a:avLst/>
                </a:prstGeom>
              </p:spPr>
            </p:pic>
          </p:grpSp>
          <p:grpSp>
            <p:nvGrpSpPr>
              <p:cNvPr id="141" name="Group 140"/>
              <p:cNvGrpSpPr/>
              <p:nvPr/>
            </p:nvGrpSpPr>
            <p:grpSpPr>
              <a:xfrm>
                <a:off x="5399198" y="3283698"/>
                <a:ext cx="1007917" cy="339779"/>
                <a:chOff x="5399198" y="3283698"/>
                <a:chExt cx="1007917" cy="339779"/>
              </a:xfrm>
            </p:grpSpPr>
            <p:sp>
              <p:nvSpPr>
                <p:cNvPr id="155" name="TextBox 154"/>
                <p:cNvSpPr txBox="1"/>
                <p:nvPr/>
              </p:nvSpPr>
              <p:spPr>
                <a:xfrm>
                  <a:off x="5747959" y="3322371"/>
                  <a:ext cx="659156" cy="30110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156" name="Picture 155"/>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5399198" y="3283698"/>
                  <a:ext cx="291545" cy="291546"/>
                </a:xfrm>
                <a:prstGeom prst="rect">
                  <a:avLst/>
                </a:prstGeom>
              </p:spPr>
            </p:pic>
          </p:grpSp>
          <p:grpSp>
            <p:nvGrpSpPr>
              <p:cNvPr id="139" name="Group 138"/>
              <p:cNvGrpSpPr/>
              <p:nvPr/>
            </p:nvGrpSpPr>
            <p:grpSpPr>
              <a:xfrm>
                <a:off x="6529080" y="2014604"/>
                <a:ext cx="1018326" cy="294805"/>
                <a:chOff x="6529080" y="2014604"/>
                <a:chExt cx="1018326" cy="294805"/>
              </a:xfrm>
            </p:grpSpPr>
            <p:sp>
              <p:nvSpPr>
                <p:cNvPr id="157" name="TextBox 156"/>
                <p:cNvSpPr txBox="1"/>
                <p:nvPr/>
              </p:nvSpPr>
              <p:spPr>
                <a:xfrm>
                  <a:off x="6888250" y="2034330"/>
                  <a:ext cx="659156" cy="256602"/>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I Apps</a:t>
                  </a:r>
                </a:p>
              </p:txBody>
            </p:sp>
            <p:pic>
              <p:nvPicPr>
                <p:cNvPr id="158" name="Picture 157"/>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6529080" y="2014604"/>
                  <a:ext cx="294804" cy="294805"/>
                </a:xfrm>
                <a:prstGeom prst="rect">
                  <a:avLst/>
                </a:prstGeom>
              </p:spPr>
            </p:pic>
          </p:grpSp>
          <p:grpSp>
            <p:nvGrpSpPr>
              <p:cNvPr id="140" name="Group 139"/>
              <p:cNvGrpSpPr/>
              <p:nvPr/>
            </p:nvGrpSpPr>
            <p:grpSpPr>
              <a:xfrm>
                <a:off x="6521410" y="2663908"/>
                <a:ext cx="1008542" cy="308500"/>
                <a:chOff x="6521410" y="2663908"/>
                <a:chExt cx="1008542" cy="308500"/>
              </a:xfrm>
            </p:grpSpPr>
            <p:sp>
              <p:nvSpPr>
                <p:cNvPr id="159" name="TextBox 158"/>
                <p:cNvSpPr txBox="1"/>
                <p:nvPr/>
              </p:nvSpPr>
              <p:spPr>
                <a:xfrm>
                  <a:off x="6870796" y="2671302"/>
                  <a:ext cx="659156" cy="30110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ogic Apps</a:t>
                  </a:r>
                </a:p>
              </p:txBody>
            </p:sp>
            <p:pic>
              <p:nvPicPr>
                <p:cNvPr id="160" name="Picture 159"/>
                <p:cNvPicPr>
                  <a:picLocks noChangeAspect="1"/>
                </p:cNvPicPr>
                <p:nvPr/>
              </p:nvPicPr>
              <p:blipFill>
                <a:blip r:embed="rId8" cstate="print">
                  <a:biLevel thresh="25000"/>
                  <a:extLst>
                    <a:ext uri="{28A0092B-C50C-407E-A947-70E740481C1C}">
                      <a14:useLocalDpi xmlns:a14="http://schemas.microsoft.com/office/drawing/2010/main" val="0"/>
                    </a:ext>
                  </a:extLst>
                </a:blip>
                <a:stretch>
                  <a:fillRect/>
                </a:stretch>
              </p:blipFill>
              <p:spPr>
                <a:xfrm>
                  <a:off x="6521410" y="2663908"/>
                  <a:ext cx="292423" cy="292423"/>
                </a:xfrm>
                <a:prstGeom prst="rect">
                  <a:avLst/>
                </a:prstGeom>
              </p:spPr>
            </p:pic>
          </p:grpSp>
          <p:grpSp>
            <p:nvGrpSpPr>
              <p:cNvPr id="142" name="Group 141"/>
              <p:cNvGrpSpPr/>
              <p:nvPr/>
            </p:nvGrpSpPr>
            <p:grpSpPr>
              <a:xfrm>
                <a:off x="6549176" y="3327450"/>
                <a:ext cx="1003560" cy="328116"/>
                <a:chOff x="6549176" y="3327450"/>
                <a:chExt cx="1003560" cy="328116"/>
              </a:xfrm>
            </p:grpSpPr>
            <p:sp>
              <p:nvSpPr>
                <p:cNvPr id="161" name="TextBox 160"/>
                <p:cNvSpPr txBox="1"/>
                <p:nvPr/>
              </p:nvSpPr>
              <p:spPr>
                <a:xfrm>
                  <a:off x="6893580" y="3354460"/>
                  <a:ext cx="659156" cy="30110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Notification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62" name="Picture 161"/>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549176" y="3327450"/>
                  <a:ext cx="289263" cy="289263"/>
                </a:xfrm>
                <a:prstGeom prst="rect">
                  <a:avLst/>
                </a:prstGeom>
              </p:spPr>
            </p:pic>
          </p:grpSp>
        </p:grpSp>
        <p:grpSp>
          <p:nvGrpSpPr>
            <p:cNvPr id="395" name="Group 394"/>
            <p:cNvGrpSpPr/>
            <p:nvPr/>
          </p:nvGrpSpPr>
          <p:grpSpPr>
            <a:xfrm>
              <a:off x="2015082" y="3603662"/>
              <a:ext cx="2091038" cy="840484"/>
              <a:chOff x="2392678" y="3336393"/>
              <a:chExt cx="2091038" cy="840484"/>
            </a:xfrm>
          </p:grpSpPr>
          <p:sp>
            <p:nvSpPr>
              <p:cNvPr id="38" name="Rectangle 37"/>
              <p:cNvSpPr/>
              <p:nvPr/>
            </p:nvSpPr>
            <p:spPr bwMode="auto">
              <a:xfrm>
                <a:off x="2392678" y="3336393"/>
                <a:ext cx="2091038" cy="84048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143428" rIns="91440"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Media &amp; CDN</a:t>
                </a:r>
              </a:p>
            </p:txBody>
          </p:sp>
          <p:grpSp>
            <p:nvGrpSpPr>
              <p:cNvPr id="343" name="Group 342"/>
              <p:cNvGrpSpPr/>
              <p:nvPr/>
            </p:nvGrpSpPr>
            <p:grpSpPr>
              <a:xfrm>
                <a:off x="3310370" y="3744970"/>
                <a:ext cx="1046674" cy="309905"/>
                <a:chOff x="3485028" y="3744970"/>
                <a:chExt cx="1046674" cy="309905"/>
              </a:xfrm>
            </p:grpSpPr>
            <p:sp>
              <p:nvSpPr>
                <p:cNvPr id="163" name="TextBox 162"/>
                <p:cNvSpPr txBox="1"/>
                <p:nvPr/>
              </p:nvSpPr>
              <p:spPr>
                <a:xfrm>
                  <a:off x="3872546" y="3744970"/>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80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Content </a:t>
                  </a:r>
                  <a:br>
                    <a:rPr lang="en-US" sz="80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br>
                  <a:r>
                    <a:rPr lang="en-US" sz="80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Delivery</a:t>
                  </a:r>
                </a:p>
                <a:p>
                  <a:pPr defTabSz="913950" eaLnBrk="0" fontAlgn="base" hangingPunct="0">
                    <a:lnSpc>
                      <a:spcPts val="800"/>
                    </a:lnSpc>
                    <a:spcBef>
                      <a:spcPct val="0"/>
                    </a:spcBef>
                    <a:spcAft>
                      <a:spcPct val="0"/>
                    </a:spcAft>
                    <a:defRPr/>
                  </a:pPr>
                  <a:r>
                    <a:rPr lang="en-US" sz="800" dirty="0">
                      <a:solidFill>
                        <a:srgbClr val="FFFFFF"/>
                      </a:solidFill>
                      <a:latin typeface="Segoe UI Light" panose="020B0502040204020203" pitchFamily="34" charset="0"/>
                      <a:ea typeface="Arial Unicode MS" panose="020B0604020202020204" pitchFamily="34" charset="-128"/>
                      <a:cs typeface="Segoe UI Light" panose="020B0502040204020203" pitchFamily="34" charset="0"/>
                    </a:rPr>
                    <a:t>Network (CDN)</a:t>
                  </a:r>
                </a:p>
              </p:txBody>
            </p:sp>
            <p:pic>
              <p:nvPicPr>
                <p:cNvPr id="164" name="Picture 163" descr="Content Delivery Network (CDN).png"/>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85028" y="3758708"/>
                  <a:ext cx="296167" cy="296167"/>
                </a:xfrm>
                <a:prstGeom prst="rect">
                  <a:avLst/>
                </a:prstGeom>
              </p:spPr>
            </p:pic>
          </p:grpSp>
          <p:grpSp>
            <p:nvGrpSpPr>
              <p:cNvPr id="342" name="Group 341"/>
              <p:cNvGrpSpPr/>
              <p:nvPr/>
            </p:nvGrpSpPr>
            <p:grpSpPr>
              <a:xfrm>
                <a:off x="2501312" y="3748786"/>
                <a:ext cx="997180" cy="301105"/>
                <a:chOff x="2850632" y="3748786"/>
                <a:chExt cx="997180" cy="301105"/>
              </a:xfrm>
            </p:grpSpPr>
            <p:sp>
              <p:nvSpPr>
                <p:cNvPr id="165" name="TextBox 164"/>
                <p:cNvSpPr txBox="1"/>
                <p:nvPr/>
              </p:nvSpPr>
              <p:spPr>
                <a:xfrm>
                  <a:off x="3188656" y="3748786"/>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edia </a:t>
                  </a:r>
                  <a:b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66" name="Picture 165" descr="Media Services.png"/>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2850632" y="3758615"/>
                  <a:ext cx="282134" cy="282134"/>
                </a:xfrm>
                <a:prstGeom prst="rect">
                  <a:avLst/>
                </a:prstGeom>
              </p:spPr>
            </p:pic>
          </p:grpSp>
        </p:grpSp>
        <p:grpSp>
          <p:nvGrpSpPr>
            <p:cNvPr id="380" name="Group 379"/>
            <p:cNvGrpSpPr/>
            <p:nvPr/>
          </p:nvGrpSpPr>
          <p:grpSpPr>
            <a:xfrm>
              <a:off x="1997902" y="2112859"/>
              <a:ext cx="2188719" cy="1351020"/>
              <a:chOff x="3326868" y="2362886"/>
              <a:chExt cx="2188719" cy="1351020"/>
            </a:xfrm>
          </p:grpSpPr>
          <p:sp>
            <p:nvSpPr>
              <p:cNvPr id="40" name="Rectangle 39"/>
              <p:cNvSpPr/>
              <p:nvPr/>
            </p:nvSpPr>
            <p:spPr bwMode="auto">
              <a:xfrm>
                <a:off x="3326868" y="2362886"/>
                <a:ext cx="2108217" cy="1351020"/>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Integration</a:t>
                </a:r>
              </a:p>
            </p:txBody>
          </p:sp>
          <p:grpSp>
            <p:nvGrpSpPr>
              <p:cNvPr id="377" name="Group 376"/>
              <p:cNvGrpSpPr/>
              <p:nvPr/>
            </p:nvGrpSpPr>
            <p:grpSpPr>
              <a:xfrm>
                <a:off x="4508812" y="2773724"/>
                <a:ext cx="1005586" cy="311924"/>
                <a:chOff x="4508812" y="2773724"/>
                <a:chExt cx="1005586" cy="311924"/>
              </a:xfrm>
            </p:grpSpPr>
            <p:sp>
              <p:nvSpPr>
                <p:cNvPr id="214" name="TextBox 213"/>
                <p:cNvSpPr txBox="1"/>
                <p:nvPr/>
              </p:nvSpPr>
              <p:spPr>
                <a:xfrm>
                  <a:off x="4855242" y="2784543"/>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izTalk</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215" name="Picture 214" descr="BizTalk Services.png"/>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08812" y="2773724"/>
                  <a:ext cx="293814" cy="293814"/>
                </a:xfrm>
                <a:prstGeom prst="rect">
                  <a:avLst/>
                </a:prstGeom>
              </p:spPr>
            </p:pic>
          </p:grpSp>
          <p:grpSp>
            <p:nvGrpSpPr>
              <p:cNvPr id="378" name="Group 377"/>
              <p:cNvGrpSpPr/>
              <p:nvPr/>
            </p:nvGrpSpPr>
            <p:grpSpPr>
              <a:xfrm>
                <a:off x="3483444" y="3313178"/>
                <a:ext cx="1008307" cy="316721"/>
                <a:chOff x="3483444" y="3313178"/>
                <a:chExt cx="1008307" cy="316721"/>
              </a:xfrm>
            </p:grpSpPr>
            <p:sp>
              <p:nvSpPr>
                <p:cNvPr id="216" name="TextBox 215"/>
                <p:cNvSpPr txBox="1"/>
                <p:nvPr/>
              </p:nvSpPr>
              <p:spPr>
                <a:xfrm>
                  <a:off x="3832595" y="3328794"/>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ybrid</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onnections</a:t>
                  </a:r>
                </a:p>
              </p:txBody>
            </p:sp>
            <p:pic>
              <p:nvPicPr>
                <p:cNvPr id="217" name="Picture 216" descr="Hybrid Connections (BizTalk).png"/>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3483444" y="3313178"/>
                  <a:ext cx="292125" cy="292125"/>
                </a:xfrm>
                <a:prstGeom prst="rect">
                  <a:avLst/>
                </a:prstGeom>
              </p:spPr>
            </p:pic>
          </p:grpSp>
          <p:grpSp>
            <p:nvGrpSpPr>
              <p:cNvPr id="379" name="Group 378"/>
              <p:cNvGrpSpPr/>
              <p:nvPr/>
            </p:nvGrpSpPr>
            <p:grpSpPr>
              <a:xfrm>
                <a:off x="4517160" y="3306133"/>
                <a:ext cx="998427" cy="323766"/>
                <a:chOff x="4517160" y="3306133"/>
                <a:chExt cx="998427" cy="323766"/>
              </a:xfrm>
            </p:grpSpPr>
            <p:sp>
              <p:nvSpPr>
                <p:cNvPr id="218" name="TextBox 217"/>
                <p:cNvSpPr txBox="1"/>
                <p:nvPr/>
              </p:nvSpPr>
              <p:spPr>
                <a:xfrm>
                  <a:off x="4856431" y="3328794"/>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 Bus</a:t>
                  </a:r>
                </a:p>
              </p:txBody>
            </p:sp>
            <p:pic>
              <p:nvPicPr>
                <p:cNvPr id="219" name="Picture 218" descr="Service Bus.png"/>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4517160" y="3306133"/>
                  <a:ext cx="292386" cy="292386"/>
                </a:xfrm>
                <a:prstGeom prst="rect">
                  <a:avLst/>
                </a:prstGeom>
              </p:spPr>
            </p:pic>
          </p:grpSp>
          <p:grpSp>
            <p:nvGrpSpPr>
              <p:cNvPr id="376" name="Group 375"/>
              <p:cNvGrpSpPr/>
              <p:nvPr/>
            </p:nvGrpSpPr>
            <p:grpSpPr>
              <a:xfrm>
                <a:off x="3477054" y="2774918"/>
                <a:ext cx="1004745" cy="319522"/>
                <a:chOff x="3477054" y="2774918"/>
                <a:chExt cx="1004745" cy="319522"/>
              </a:xfrm>
            </p:grpSpPr>
            <p:sp>
              <p:nvSpPr>
                <p:cNvPr id="220" name="TextBox 219"/>
                <p:cNvSpPr txBox="1"/>
                <p:nvPr/>
              </p:nvSpPr>
              <p:spPr>
                <a:xfrm>
                  <a:off x="3822643" y="2793335"/>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Queues</a:t>
                  </a:r>
                </a:p>
              </p:txBody>
            </p:sp>
            <p:pic>
              <p:nvPicPr>
                <p:cNvPr id="221" name="Picture 220" descr="Storage queue.png"/>
                <p:cNvPicPr>
                  <a:picLocks noChangeAspect="1"/>
                </p:cNvPicPr>
                <p:nvPr/>
              </p:nvPicPr>
              <p:blipFill>
                <a:blip r:embed="rId15" cstate="print">
                  <a:biLevel thresh="25000"/>
                  <a:extLst>
                    <a:ext uri="{28A0092B-C50C-407E-A947-70E740481C1C}">
                      <a14:useLocalDpi xmlns:a14="http://schemas.microsoft.com/office/drawing/2010/main" val="0"/>
                    </a:ext>
                  </a:extLst>
                </a:blip>
                <a:stretch>
                  <a:fillRect/>
                </a:stretch>
              </p:blipFill>
              <p:spPr>
                <a:xfrm>
                  <a:off x="3477054" y="2774918"/>
                  <a:ext cx="292620" cy="292620"/>
                </a:xfrm>
                <a:prstGeom prst="rect">
                  <a:avLst/>
                </a:prstGeom>
              </p:spPr>
            </p:pic>
          </p:grpSp>
        </p:grpSp>
        <p:sp>
          <p:nvSpPr>
            <p:cNvPr id="71" name="Rectangle 70"/>
            <p:cNvSpPr/>
            <p:nvPr/>
          </p:nvSpPr>
          <p:spPr bwMode="auto">
            <a:xfrm>
              <a:off x="10439349" y="541203"/>
              <a:ext cx="1569938" cy="4109043"/>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solidFill>
                    <a:srgbClr val="FFFFFF"/>
                  </a:solidFill>
                  <a:latin typeface="Segoe UI"/>
                  <a:ea typeface="Segoe UI" pitchFamily="34" charset="0"/>
                  <a:cs typeface="Segoe UI" pitchFamily="34" charset="0"/>
                </a:rPr>
                <a:t>Hybrid</a:t>
              </a:r>
            </a:p>
            <a:p>
              <a:pPr algn="ctr" defTabSz="895923" fontAlgn="base">
                <a:lnSpc>
                  <a:spcPct val="90000"/>
                </a:lnSpc>
                <a:defRPr/>
              </a:pPr>
              <a:r>
                <a:rPr lang="en-US" sz="1200" b="1" kern="0" dirty="0">
                  <a:solidFill>
                    <a:srgbClr val="FFFFFF"/>
                  </a:solidFill>
                  <a:latin typeface="Segoe UI"/>
                  <a:ea typeface="Segoe UI" pitchFamily="34" charset="0"/>
                  <a:cs typeface="Segoe UI" pitchFamily="34" charset="0"/>
                </a:rPr>
                <a:t>Operations</a:t>
              </a:r>
              <a:endParaRPr lang="en-US" sz="1300" b="1" kern="0" dirty="0">
                <a:solidFill>
                  <a:srgbClr val="FFFFFF"/>
                </a:solidFill>
                <a:latin typeface="Segoe UI"/>
                <a:ea typeface="Segoe UI" pitchFamily="34" charset="0"/>
                <a:cs typeface="Segoe UI" pitchFamily="34" charset="0"/>
              </a:endParaRPr>
            </a:p>
          </p:txBody>
        </p:sp>
        <p:grpSp>
          <p:nvGrpSpPr>
            <p:cNvPr id="338" name="Group 337"/>
            <p:cNvGrpSpPr/>
            <p:nvPr/>
          </p:nvGrpSpPr>
          <p:grpSpPr>
            <a:xfrm>
              <a:off x="10697439" y="2501233"/>
              <a:ext cx="1011251" cy="332229"/>
              <a:chOff x="11198479" y="2855036"/>
              <a:chExt cx="1011251" cy="332229"/>
            </a:xfrm>
          </p:grpSpPr>
          <p:sp>
            <p:nvSpPr>
              <p:cNvPr id="206" name="TextBox 205"/>
              <p:cNvSpPr txBox="1"/>
              <p:nvPr/>
            </p:nvSpPr>
            <p:spPr>
              <a:xfrm>
                <a:off x="11550574" y="2886159"/>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ckup</a:t>
                </a:r>
              </a:p>
            </p:txBody>
          </p:sp>
          <p:pic>
            <p:nvPicPr>
              <p:cNvPr id="207" name="Picture 206" descr="Backup Service.png"/>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11198479" y="2855036"/>
                <a:ext cx="296408" cy="296408"/>
              </a:xfrm>
              <a:prstGeom prst="rect">
                <a:avLst/>
              </a:prstGeom>
            </p:spPr>
          </p:pic>
        </p:grpSp>
        <p:grpSp>
          <p:nvGrpSpPr>
            <p:cNvPr id="242" name="Group 241"/>
            <p:cNvGrpSpPr/>
            <p:nvPr/>
          </p:nvGrpSpPr>
          <p:grpSpPr>
            <a:xfrm>
              <a:off x="10680232" y="4278043"/>
              <a:ext cx="1005745" cy="331029"/>
              <a:chOff x="11181272" y="4050487"/>
              <a:chExt cx="1005745" cy="331029"/>
            </a:xfrm>
          </p:grpSpPr>
          <p:sp>
            <p:nvSpPr>
              <p:cNvPr id="208" name="TextBox 207"/>
              <p:cNvSpPr txBox="1"/>
              <p:nvPr/>
            </p:nvSpPr>
            <p:spPr>
              <a:xfrm>
                <a:off x="11527861" y="4080410"/>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Simple</a:t>
                </a:r>
                <a:endPar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defRPr/>
                </a:pPr>
                <a:endPar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09" name="Picture 208" descr="StorSimple.png"/>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1181272" y="4050487"/>
                <a:ext cx="286828" cy="286828"/>
              </a:xfrm>
              <a:prstGeom prst="rect">
                <a:avLst/>
              </a:prstGeom>
            </p:spPr>
          </p:pic>
        </p:grpSp>
        <p:grpSp>
          <p:nvGrpSpPr>
            <p:cNvPr id="341" name="Group 340"/>
            <p:cNvGrpSpPr/>
            <p:nvPr/>
          </p:nvGrpSpPr>
          <p:grpSpPr>
            <a:xfrm>
              <a:off x="10685147" y="3870457"/>
              <a:ext cx="1003279" cy="345563"/>
              <a:chOff x="11175796" y="3730886"/>
              <a:chExt cx="1003279" cy="345563"/>
            </a:xfrm>
          </p:grpSpPr>
          <p:sp>
            <p:nvSpPr>
              <p:cNvPr id="210" name="TextBox 209"/>
              <p:cNvSpPr txBox="1"/>
              <p:nvPr/>
            </p:nvSpPr>
            <p:spPr>
              <a:xfrm>
                <a:off x="11519919" y="3775343"/>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Sit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covery </a:t>
                </a:r>
              </a:p>
            </p:txBody>
          </p:sp>
          <p:pic>
            <p:nvPicPr>
              <p:cNvPr id="211" name="Picture 210" descr="Site Recovery.png"/>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11175796" y="3730886"/>
                <a:ext cx="285842" cy="285842"/>
              </a:xfrm>
              <a:prstGeom prst="rect">
                <a:avLst/>
              </a:prstGeom>
            </p:spPr>
          </p:pic>
        </p:grpSp>
        <p:grpSp>
          <p:nvGrpSpPr>
            <p:cNvPr id="340" name="Group 339"/>
            <p:cNvGrpSpPr/>
            <p:nvPr/>
          </p:nvGrpSpPr>
          <p:grpSpPr>
            <a:xfrm>
              <a:off x="10699392" y="3426129"/>
              <a:ext cx="996976" cy="321164"/>
              <a:chOff x="11190041" y="3491162"/>
              <a:chExt cx="996976" cy="321164"/>
            </a:xfrm>
          </p:grpSpPr>
          <p:sp>
            <p:nvSpPr>
              <p:cNvPr id="212" name="TextBox 211"/>
              <p:cNvSpPr txBox="1"/>
              <p:nvPr/>
            </p:nvSpPr>
            <p:spPr>
              <a:xfrm>
                <a:off x="11527861" y="3511220"/>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mport/Export</a:t>
                </a:r>
              </a:p>
            </p:txBody>
          </p:sp>
          <p:pic>
            <p:nvPicPr>
              <p:cNvPr id="213" name="Picture 212" descr="Storage (Azure).png"/>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11190041" y="3491162"/>
                <a:ext cx="286753" cy="286753"/>
              </a:xfrm>
              <a:prstGeom prst="rect">
                <a:avLst/>
              </a:prstGeom>
            </p:spPr>
          </p:pic>
        </p:grpSp>
        <p:sp>
          <p:nvSpPr>
            <p:cNvPr id="33" name="Rectangle 32"/>
            <p:cNvSpPr/>
            <p:nvPr/>
          </p:nvSpPr>
          <p:spPr bwMode="auto">
            <a:xfrm>
              <a:off x="6023314" y="4931023"/>
              <a:ext cx="6291748" cy="789804"/>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Networking</a:t>
              </a:r>
            </a:p>
          </p:txBody>
        </p:sp>
        <p:grpSp>
          <p:nvGrpSpPr>
            <p:cNvPr id="394" name="Group 393"/>
            <p:cNvGrpSpPr/>
            <p:nvPr/>
          </p:nvGrpSpPr>
          <p:grpSpPr>
            <a:xfrm>
              <a:off x="6742271" y="545953"/>
              <a:ext cx="3539738" cy="1755683"/>
              <a:chOff x="8289832" y="2910817"/>
              <a:chExt cx="3539738" cy="1755683"/>
            </a:xfrm>
          </p:grpSpPr>
          <p:sp>
            <p:nvSpPr>
              <p:cNvPr id="37" name="Rectangle 36"/>
              <p:cNvSpPr/>
              <p:nvPr/>
            </p:nvSpPr>
            <p:spPr bwMode="auto">
              <a:xfrm>
                <a:off x="8289832" y="2910817"/>
                <a:ext cx="3539738" cy="1755683"/>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Data</a:t>
                </a:r>
              </a:p>
            </p:txBody>
          </p:sp>
          <p:grpSp>
            <p:nvGrpSpPr>
              <p:cNvPr id="388" name="Group 387"/>
              <p:cNvGrpSpPr/>
              <p:nvPr/>
            </p:nvGrpSpPr>
            <p:grpSpPr>
              <a:xfrm>
                <a:off x="8755248" y="3474294"/>
                <a:ext cx="1008778" cy="324187"/>
                <a:chOff x="8755248" y="3474294"/>
                <a:chExt cx="1008778" cy="324187"/>
              </a:xfrm>
            </p:grpSpPr>
            <p:sp>
              <p:nvSpPr>
                <p:cNvPr id="171" name="TextBox 170"/>
                <p:cNvSpPr txBox="1"/>
                <p:nvPr/>
              </p:nvSpPr>
              <p:spPr>
                <a:xfrm>
                  <a:off x="9104870" y="3497376"/>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QL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base</a:t>
                  </a:r>
                </a:p>
              </p:txBody>
            </p:sp>
            <p:pic>
              <p:nvPicPr>
                <p:cNvPr id="172" name="Picture 171"/>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8755248" y="3474294"/>
                  <a:ext cx="296809" cy="296809"/>
                </a:xfrm>
                <a:prstGeom prst="rect">
                  <a:avLst/>
                </a:prstGeom>
              </p:spPr>
            </p:pic>
          </p:grpSp>
          <p:grpSp>
            <p:nvGrpSpPr>
              <p:cNvPr id="390" name="Group 389"/>
              <p:cNvGrpSpPr/>
              <p:nvPr/>
            </p:nvGrpSpPr>
            <p:grpSpPr>
              <a:xfrm>
                <a:off x="10786523" y="3477738"/>
                <a:ext cx="1029708" cy="308738"/>
                <a:chOff x="10786523" y="3477738"/>
                <a:chExt cx="1029708" cy="308738"/>
              </a:xfrm>
            </p:grpSpPr>
            <p:sp>
              <p:nvSpPr>
                <p:cNvPr id="173" name="TextBox 172"/>
                <p:cNvSpPr txBox="1"/>
                <p:nvPr/>
              </p:nvSpPr>
              <p:spPr>
                <a:xfrm>
                  <a:off x="11157075" y="3477738"/>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cumentDB</a:t>
                  </a:r>
                  <a:endPar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4" name="Picture 17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10786523" y="3495857"/>
                  <a:ext cx="290620" cy="290619"/>
                </a:xfrm>
                <a:prstGeom prst="rect">
                  <a:avLst/>
                </a:prstGeom>
              </p:spPr>
            </p:pic>
          </p:grpSp>
          <p:grpSp>
            <p:nvGrpSpPr>
              <p:cNvPr id="391" name="Group 390"/>
              <p:cNvGrpSpPr/>
              <p:nvPr/>
            </p:nvGrpSpPr>
            <p:grpSpPr>
              <a:xfrm>
                <a:off x="8728911" y="4040003"/>
                <a:ext cx="1011763" cy="318839"/>
                <a:chOff x="8728911" y="4040003"/>
                <a:chExt cx="1011763" cy="318839"/>
              </a:xfrm>
            </p:grpSpPr>
            <p:sp>
              <p:nvSpPr>
                <p:cNvPr id="175" name="TextBox 174"/>
                <p:cNvSpPr txBox="1"/>
                <p:nvPr/>
              </p:nvSpPr>
              <p:spPr>
                <a:xfrm>
                  <a:off x="9081518" y="4057737"/>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dis</a:t>
                  </a:r>
                  <a:endPar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che</a:t>
                  </a:r>
                </a:p>
              </p:txBody>
            </p:sp>
            <p:pic>
              <p:nvPicPr>
                <p:cNvPr id="176" name="Picture 175"/>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8728911" y="4040003"/>
                  <a:ext cx="289282" cy="289282"/>
                </a:xfrm>
                <a:prstGeom prst="rect">
                  <a:avLst/>
                </a:prstGeom>
              </p:spPr>
            </p:pic>
          </p:grpSp>
          <p:grpSp>
            <p:nvGrpSpPr>
              <p:cNvPr id="392" name="Group 391"/>
              <p:cNvGrpSpPr/>
              <p:nvPr/>
            </p:nvGrpSpPr>
            <p:grpSpPr>
              <a:xfrm>
                <a:off x="9789813" y="4065697"/>
                <a:ext cx="1011560" cy="324689"/>
                <a:chOff x="9789813" y="4065697"/>
                <a:chExt cx="1011560" cy="324689"/>
              </a:xfrm>
            </p:grpSpPr>
            <p:sp>
              <p:nvSpPr>
                <p:cNvPr id="177" name="TextBox 176"/>
                <p:cNvSpPr txBox="1"/>
                <p:nvPr/>
              </p:nvSpPr>
              <p:spPr>
                <a:xfrm>
                  <a:off x="10142217" y="4089281"/>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arch</a:t>
                  </a:r>
                </a:p>
                <a:p>
                  <a:pPr defTabSz="913950" eaLnBrk="0" fontAlgn="base" hangingPunct="0">
                    <a:lnSpc>
                      <a:spcPts val="800"/>
                    </a:lnSpc>
                    <a:spcBef>
                      <a:spcPct val="0"/>
                    </a:spcBef>
                    <a:spcAft>
                      <a:spcPct val="0"/>
                    </a:spcAft>
                    <a:defRPr/>
                  </a:pPr>
                  <a:endPar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178" name="Picture 177"/>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9789813" y="4065697"/>
                  <a:ext cx="293993" cy="293993"/>
                </a:xfrm>
                <a:prstGeom prst="rect">
                  <a:avLst/>
                </a:prstGeom>
              </p:spPr>
            </p:pic>
          </p:grpSp>
          <p:grpSp>
            <p:nvGrpSpPr>
              <p:cNvPr id="393" name="Group 392"/>
              <p:cNvGrpSpPr/>
              <p:nvPr/>
            </p:nvGrpSpPr>
            <p:grpSpPr>
              <a:xfrm>
                <a:off x="10784365" y="4081793"/>
                <a:ext cx="1014773" cy="304510"/>
                <a:chOff x="10784365" y="4081793"/>
                <a:chExt cx="1014773" cy="304510"/>
              </a:xfrm>
            </p:grpSpPr>
            <p:sp>
              <p:nvSpPr>
                <p:cNvPr id="179" name="TextBox 178"/>
                <p:cNvSpPr txBox="1"/>
                <p:nvPr/>
              </p:nvSpPr>
              <p:spPr>
                <a:xfrm>
                  <a:off x="11139982" y="4085198"/>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ag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Tables</a:t>
                  </a:r>
                </a:p>
              </p:txBody>
            </p:sp>
            <p:pic>
              <p:nvPicPr>
                <p:cNvPr id="180" name="Picture 179" descr="Storage table.png"/>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10784365" y="4081793"/>
                  <a:ext cx="288561" cy="288560"/>
                </a:xfrm>
                <a:prstGeom prst="rect">
                  <a:avLst/>
                </a:prstGeom>
              </p:spPr>
            </p:pic>
          </p:grpSp>
          <p:grpSp>
            <p:nvGrpSpPr>
              <p:cNvPr id="389" name="Group 388"/>
              <p:cNvGrpSpPr/>
              <p:nvPr/>
            </p:nvGrpSpPr>
            <p:grpSpPr>
              <a:xfrm>
                <a:off x="9763191" y="3476801"/>
                <a:ext cx="751841" cy="347627"/>
                <a:chOff x="9763191" y="3476801"/>
                <a:chExt cx="751841" cy="347627"/>
              </a:xfrm>
            </p:grpSpPr>
            <p:pic>
              <p:nvPicPr>
                <p:cNvPr id="17" name="Picture 16"/>
                <p:cNvPicPr>
                  <a:picLocks noChangeAspect="1"/>
                </p:cNvPicPr>
                <p:nvPr/>
              </p:nvPicPr>
              <p:blipFill>
                <a:blip r:embed="rId25"/>
                <a:stretch>
                  <a:fillRect/>
                </a:stretch>
              </p:blipFill>
              <p:spPr>
                <a:xfrm>
                  <a:off x="9763191" y="3476801"/>
                  <a:ext cx="320616" cy="290558"/>
                </a:xfrm>
                <a:prstGeom prst="rect">
                  <a:avLst/>
                </a:prstGeom>
              </p:spPr>
            </p:pic>
            <p:sp>
              <p:nvSpPr>
                <p:cNvPr id="246" name="TextBox 245"/>
                <p:cNvSpPr txBox="1"/>
                <p:nvPr/>
              </p:nvSpPr>
              <p:spPr>
                <a:xfrm>
                  <a:off x="10117219" y="3498352"/>
                  <a:ext cx="397813" cy="32607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Warehouse</a:t>
                  </a:r>
                </a:p>
              </p:txBody>
            </p:sp>
          </p:grpSp>
        </p:grpSp>
        <p:sp>
          <p:nvSpPr>
            <p:cNvPr id="9" name="Freeform 8"/>
            <p:cNvSpPr/>
            <p:nvPr/>
          </p:nvSpPr>
          <p:spPr bwMode="auto">
            <a:xfrm>
              <a:off x="11186102" y="2720692"/>
              <a:ext cx="69056" cy="38723"/>
            </a:xfrm>
            <a:custGeom>
              <a:avLst/>
              <a:gdLst>
                <a:gd name="connsiteX0" fmla="*/ 0 w 69056"/>
                <a:gd name="connsiteY0" fmla="*/ 16668 h 38723"/>
                <a:gd name="connsiteX1" fmla="*/ 26194 w 69056"/>
                <a:gd name="connsiteY1" fmla="*/ 7143 h 38723"/>
                <a:gd name="connsiteX2" fmla="*/ 28575 w 69056"/>
                <a:gd name="connsiteY2" fmla="*/ 0 h 38723"/>
                <a:gd name="connsiteX3" fmla="*/ 30956 w 69056"/>
                <a:gd name="connsiteY3" fmla="*/ 7143 h 38723"/>
                <a:gd name="connsiteX4" fmla="*/ 33337 w 69056"/>
                <a:gd name="connsiteY4" fmla="*/ 38100 h 38723"/>
                <a:gd name="connsiteX5" fmla="*/ 35719 w 69056"/>
                <a:gd name="connsiteY5" fmla="*/ 28575 h 38723"/>
                <a:gd name="connsiteX6" fmla="*/ 42862 w 69056"/>
                <a:gd name="connsiteY6" fmla="*/ 23812 h 38723"/>
                <a:gd name="connsiteX7" fmla="*/ 69056 w 69056"/>
                <a:gd name="connsiteY7" fmla="*/ 19050 h 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56" h="38723">
                  <a:moveTo>
                    <a:pt x="0" y="16668"/>
                  </a:moveTo>
                  <a:cubicBezTo>
                    <a:pt x="14329" y="14877"/>
                    <a:pt x="18768" y="18282"/>
                    <a:pt x="26194" y="7143"/>
                  </a:cubicBezTo>
                  <a:cubicBezTo>
                    <a:pt x="27586" y="5055"/>
                    <a:pt x="27781" y="2381"/>
                    <a:pt x="28575" y="0"/>
                  </a:cubicBezTo>
                  <a:cubicBezTo>
                    <a:pt x="29369" y="2381"/>
                    <a:pt x="30645" y="4653"/>
                    <a:pt x="30956" y="7143"/>
                  </a:cubicBezTo>
                  <a:cubicBezTo>
                    <a:pt x="32240" y="17413"/>
                    <a:pt x="31092" y="27997"/>
                    <a:pt x="33337" y="38100"/>
                  </a:cubicBezTo>
                  <a:cubicBezTo>
                    <a:pt x="34047" y="41295"/>
                    <a:pt x="33904" y="31298"/>
                    <a:pt x="35719" y="28575"/>
                  </a:cubicBezTo>
                  <a:cubicBezTo>
                    <a:pt x="37306" y="26194"/>
                    <a:pt x="40247" y="24974"/>
                    <a:pt x="42862" y="23812"/>
                  </a:cubicBezTo>
                  <a:cubicBezTo>
                    <a:pt x="56400" y="17795"/>
                    <a:pt x="55699" y="19050"/>
                    <a:pt x="69056" y="19050"/>
                  </a:cubicBez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14367">
                <a:defRPr/>
              </a:pPr>
              <a:endParaRPr lang="en-US">
                <a:solidFill>
                  <a:srgbClr val="FFFFFF"/>
                </a:solidFill>
                <a:latin typeface="Segoe UI"/>
              </a:endParaRPr>
            </a:p>
          </p:txBody>
        </p:sp>
        <p:grpSp>
          <p:nvGrpSpPr>
            <p:cNvPr id="337" name="Group 336"/>
            <p:cNvGrpSpPr/>
            <p:nvPr/>
          </p:nvGrpSpPr>
          <p:grpSpPr>
            <a:xfrm>
              <a:off x="10717360" y="1154655"/>
              <a:ext cx="1011280" cy="334318"/>
              <a:chOff x="11200294" y="2143330"/>
              <a:chExt cx="1011280" cy="334317"/>
            </a:xfrm>
          </p:grpSpPr>
          <p:sp>
            <p:nvSpPr>
              <p:cNvPr id="197" name="TextBox 196"/>
              <p:cNvSpPr txBox="1"/>
              <p:nvPr/>
            </p:nvSpPr>
            <p:spPr>
              <a:xfrm>
                <a:off x="11552418" y="2176542"/>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ealth Monitoring</a:t>
                </a:r>
              </a:p>
            </p:txBody>
          </p:sp>
          <p:grpSp>
            <p:nvGrpSpPr>
              <p:cNvPr id="229" name="Group 228"/>
              <p:cNvGrpSpPr/>
              <p:nvPr/>
            </p:nvGrpSpPr>
            <p:grpSpPr>
              <a:xfrm>
                <a:off x="11200294" y="2143330"/>
                <a:ext cx="293741" cy="279390"/>
                <a:chOff x="10757647" y="1125048"/>
                <a:chExt cx="293741" cy="279390"/>
              </a:xfrm>
            </p:grpSpPr>
            <p:pic>
              <p:nvPicPr>
                <p:cNvPr id="222" name="Picture 221"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10757647" y="1125048"/>
                  <a:ext cx="262077" cy="262076"/>
                </a:xfrm>
                <a:prstGeom prst="rect">
                  <a:avLst/>
                </a:prstGeom>
              </p:spPr>
            </p:pic>
            <p:sp>
              <p:nvSpPr>
                <p:cNvPr id="2" name="Heart 1"/>
                <p:cNvSpPr/>
                <p:nvPr/>
              </p:nvSpPr>
              <p:spPr bwMode="auto">
                <a:xfrm>
                  <a:off x="10905025" y="1275030"/>
                  <a:ext cx="146363" cy="129408"/>
                </a:xfrm>
                <a:prstGeom prst="heart">
                  <a:avLst/>
                </a:prstGeom>
                <a:solidFill>
                  <a:schemeClr val="bg1"/>
                </a:solidFill>
                <a:ln w="12700">
                  <a:solidFill>
                    <a:srgbClr val="00569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nvGrpSpPr>
                <p:cNvPr id="22" name="Group 21"/>
                <p:cNvGrpSpPr/>
                <p:nvPr/>
              </p:nvGrpSpPr>
              <p:grpSpPr>
                <a:xfrm>
                  <a:off x="10911015" y="1312918"/>
                  <a:ext cx="107890" cy="50915"/>
                  <a:chOff x="11033154" y="1382736"/>
                  <a:chExt cx="155481" cy="72283"/>
                </a:xfrm>
              </p:grpSpPr>
              <p:cxnSp>
                <p:nvCxnSpPr>
                  <p:cNvPr id="11" name="Straight Connector 10"/>
                  <p:cNvCxnSpPr/>
                  <p:nvPr/>
                </p:nvCxnSpPr>
                <p:spPr>
                  <a:xfrm flipV="1">
                    <a:off x="11033154" y="1413481"/>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flipV="1">
                    <a:off x="11138468" y="1418244"/>
                    <a:ext cx="50167" cy="1722"/>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1113046" y="1382736"/>
                    <a:ext cx="1" cy="70787"/>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11080878" y="1387719"/>
                    <a:ext cx="25083" cy="27484"/>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11105959" y="1418129"/>
                    <a:ext cx="34927" cy="36890"/>
                  </a:xfrm>
                  <a:prstGeom prst="line">
                    <a:avLst/>
                  </a:prstGeom>
                  <a:ln>
                    <a:solidFill>
                      <a:srgbClr val="005695"/>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0" name="Group 19"/>
            <p:cNvGrpSpPr/>
            <p:nvPr/>
          </p:nvGrpSpPr>
          <p:grpSpPr>
            <a:xfrm>
              <a:off x="6071870" y="5231313"/>
              <a:ext cx="843562" cy="346180"/>
              <a:chOff x="6071870" y="5231313"/>
              <a:chExt cx="843562" cy="346180"/>
            </a:xfrm>
          </p:grpSpPr>
          <p:sp>
            <p:nvSpPr>
              <p:cNvPr id="24" name="Rectangle 23"/>
              <p:cNvSpPr/>
              <p:nvPr/>
            </p:nvSpPr>
            <p:spPr bwMode="auto">
              <a:xfrm>
                <a:off x="6071870" y="5231313"/>
                <a:ext cx="843562"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Virtual Network</a:t>
                </a:r>
              </a:p>
            </p:txBody>
          </p:sp>
          <p:pic>
            <p:nvPicPr>
              <p:cNvPr id="227" name="Picture 226"/>
              <p:cNvPicPr>
                <a:picLocks noChangeAspect="1"/>
              </p:cNvPicPr>
              <p:nvPr/>
            </p:nvPicPr>
            <p:blipFill>
              <a:blip r:embed="rId27" cstate="print">
                <a:biLevel thresh="25000"/>
                <a:extLst>
                  <a:ext uri="{28A0092B-C50C-407E-A947-70E740481C1C}">
                    <a14:useLocalDpi xmlns:a14="http://schemas.microsoft.com/office/drawing/2010/main" val="0"/>
                  </a:ext>
                </a:extLst>
              </a:blip>
              <a:stretch>
                <a:fillRect/>
              </a:stretch>
            </p:blipFill>
            <p:spPr>
              <a:xfrm>
                <a:off x="6081595" y="5248173"/>
                <a:ext cx="267702" cy="267702"/>
              </a:xfrm>
              <a:prstGeom prst="rect">
                <a:avLst/>
              </a:prstGeom>
            </p:spPr>
          </p:pic>
        </p:grpSp>
        <p:grpSp>
          <p:nvGrpSpPr>
            <p:cNvPr id="237" name="Group 236"/>
            <p:cNvGrpSpPr/>
            <p:nvPr/>
          </p:nvGrpSpPr>
          <p:grpSpPr>
            <a:xfrm>
              <a:off x="8535474" y="5217867"/>
              <a:ext cx="925510" cy="359540"/>
              <a:chOff x="8640978" y="5217867"/>
              <a:chExt cx="925510" cy="359540"/>
            </a:xfrm>
          </p:grpSpPr>
          <p:sp>
            <p:nvSpPr>
              <p:cNvPr id="27" name="Rectangle 26"/>
              <p:cNvSpPr/>
              <p:nvPr/>
            </p:nvSpPr>
            <p:spPr bwMode="auto">
              <a:xfrm>
                <a:off x="8640978" y="5230981"/>
                <a:ext cx="925510"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18288" rIns="0" bIns="91440"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Express</a:t>
                </a:r>
              </a:p>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Route</a:t>
                </a:r>
              </a:p>
            </p:txBody>
          </p:sp>
          <p:pic>
            <p:nvPicPr>
              <p:cNvPr id="228" name="Picture 227"/>
              <p:cNvPicPr>
                <a:picLocks noChangeAspect="1"/>
              </p:cNvPicPr>
              <p:nvPr/>
            </p:nvPicPr>
            <p:blipFill>
              <a:blip r:embed="rId28" cstate="print">
                <a:biLevel thresh="25000"/>
                <a:extLst>
                  <a:ext uri="{28A0092B-C50C-407E-A947-70E740481C1C}">
                    <a14:useLocalDpi xmlns:a14="http://schemas.microsoft.com/office/drawing/2010/main" val="0"/>
                  </a:ext>
                </a:extLst>
              </a:blip>
              <a:stretch>
                <a:fillRect/>
              </a:stretch>
            </p:blipFill>
            <p:spPr>
              <a:xfrm>
                <a:off x="8669836" y="5217867"/>
                <a:ext cx="251761" cy="251761"/>
              </a:xfrm>
              <a:prstGeom prst="rect">
                <a:avLst/>
              </a:prstGeom>
            </p:spPr>
          </p:pic>
        </p:grpSp>
        <p:grpSp>
          <p:nvGrpSpPr>
            <p:cNvPr id="16" name="Group 15"/>
            <p:cNvGrpSpPr/>
            <p:nvPr/>
          </p:nvGrpSpPr>
          <p:grpSpPr>
            <a:xfrm>
              <a:off x="3003353" y="5231315"/>
              <a:ext cx="915430" cy="363427"/>
              <a:chOff x="3003353" y="5231315"/>
              <a:chExt cx="915430" cy="363427"/>
            </a:xfrm>
          </p:grpSpPr>
          <p:sp>
            <p:nvSpPr>
              <p:cNvPr id="25" name="Rectangle 24"/>
              <p:cNvSpPr/>
              <p:nvPr/>
            </p:nvSpPr>
            <p:spPr bwMode="auto">
              <a:xfrm>
                <a:off x="3003353" y="5231315"/>
                <a:ext cx="915430"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BLOB Storage</a:t>
                </a:r>
              </a:p>
            </p:txBody>
          </p:sp>
          <p:pic>
            <p:nvPicPr>
              <p:cNvPr id="232" name="Picture 231"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3032767" y="5271308"/>
                <a:ext cx="247169" cy="247170"/>
              </a:xfrm>
              <a:prstGeom prst="rect">
                <a:avLst/>
              </a:prstGeom>
            </p:spPr>
          </p:pic>
        </p:grpSp>
        <p:grpSp>
          <p:nvGrpSpPr>
            <p:cNvPr id="18" name="Group 17"/>
            <p:cNvGrpSpPr/>
            <p:nvPr/>
          </p:nvGrpSpPr>
          <p:grpSpPr>
            <a:xfrm>
              <a:off x="3995042" y="5231314"/>
              <a:ext cx="835223" cy="363427"/>
              <a:chOff x="3995042" y="5231314"/>
              <a:chExt cx="835223" cy="363427"/>
            </a:xfrm>
          </p:grpSpPr>
          <p:sp>
            <p:nvSpPr>
              <p:cNvPr id="26" name="Rectangle 25"/>
              <p:cNvSpPr/>
              <p:nvPr/>
            </p:nvSpPr>
            <p:spPr bwMode="auto">
              <a:xfrm>
                <a:off x="3995042" y="5231314"/>
                <a:ext cx="835223"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Azure</a:t>
                </a:r>
              </a:p>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Files</a:t>
                </a:r>
              </a:p>
            </p:txBody>
          </p:sp>
          <p:pic>
            <p:nvPicPr>
              <p:cNvPr id="233" name="Picture 232"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024079" y="5271308"/>
                <a:ext cx="247169" cy="247170"/>
              </a:xfrm>
              <a:prstGeom prst="rect">
                <a:avLst/>
              </a:prstGeom>
            </p:spPr>
          </p:pic>
        </p:grpSp>
        <p:grpSp>
          <p:nvGrpSpPr>
            <p:cNvPr id="19" name="Group 18"/>
            <p:cNvGrpSpPr/>
            <p:nvPr/>
          </p:nvGrpSpPr>
          <p:grpSpPr>
            <a:xfrm>
              <a:off x="4925592" y="5231313"/>
              <a:ext cx="836224" cy="363427"/>
              <a:chOff x="4925592" y="5231313"/>
              <a:chExt cx="836224" cy="363427"/>
            </a:xfrm>
          </p:grpSpPr>
          <p:sp>
            <p:nvSpPr>
              <p:cNvPr id="61" name="Rectangle 60"/>
              <p:cNvSpPr/>
              <p:nvPr/>
            </p:nvSpPr>
            <p:spPr bwMode="auto">
              <a:xfrm>
                <a:off x="4925592" y="5231313"/>
                <a:ext cx="836224" cy="363427"/>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Premium</a:t>
                </a:r>
              </a:p>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Storage</a:t>
                </a:r>
              </a:p>
            </p:txBody>
          </p:sp>
          <p:pic>
            <p:nvPicPr>
              <p:cNvPr id="234" name="Picture 233" descr="Storage blob.png"/>
              <p:cNvPicPr>
                <a:picLocks noChangeAspect="1"/>
              </p:cNvPicPr>
              <p:nvPr/>
            </p:nvPicPr>
            <p:blipFill>
              <a:blip r:embed="rId29" cstate="print">
                <a:biLevel thresh="25000"/>
                <a:extLst>
                  <a:ext uri="{28A0092B-C50C-407E-A947-70E740481C1C}">
                    <a14:useLocalDpi xmlns:a14="http://schemas.microsoft.com/office/drawing/2010/main" val="0"/>
                  </a:ext>
                </a:extLst>
              </a:blip>
              <a:stretch>
                <a:fillRect/>
              </a:stretch>
            </p:blipFill>
            <p:spPr>
              <a:xfrm>
                <a:off x="4947024" y="5271308"/>
                <a:ext cx="247169" cy="247170"/>
              </a:xfrm>
              <a:prstGeom prst="rect">
                <a:avLst/>
              </a:prstGeom>
            </p:spPr>
          </p:pic>
        </p:grpSp>
        <p:grpSp>
          <p:nvGrpSpPr>
            <p:cNvPr id="13" name="Group 12"/>
            <p:cNvGrpSpPr/>
            <p:nvPr/>
          </p:nvGrpSpPr>
          <p:grpSpPr>
            <a:xfrm>
              <a:off x="447259" y="5237334"/>
              <a:ext cx="808197" cy="356066"/>
              <a:chOff x="165906" y="5237334"/>
              <a:chExt cx="808197" cy="356066"/>
            </a:xfrm>
          </p:grpSpPr>
          <p:sp>
            <p:nvSpPr>
              <p:cNvPr id="43" name="Rectangle 42"/>
              <p:cNvSpPr/>
              <p:nvPr/>
            </p:nvSpPr>
            <p:spPr bwMode="auto">
              <a:xfrm>
                <a:off x="165906" y="5237334"/>
                <a:ext cx="808197"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Virtual Machines</a:t>
                </a:r>
              </a:p>
            </p:txBody>
          </p:sp>
          <p:pic>
            <p:nvPicPr>
              <p:cNvPr id="235" name="Picture 234"/>
              <p:cNvPicPr>
                <a:picLocks noChangeAspect="1"/>
              </p:cNvPicPr>
              <p:nvPr/>
            </p:nvPicPr>
            <p:blipFill>
              <a:blip r:embed="rId30" cstate="print">
                <a:biLevel thresh="25000"/>
                <a:extLst>
                  <a:ext uri="{28A0092B-C50C-407E-A947-70E740481C1C}">
                    <a14:useLocalDpi xmlns:a14="http://schemas.microsoft.com/office/drawing/2010/main" val="0"/>
                  </a:ext>
                </a:extLst>
              </a:blip>
              <a:stretch>
                <a:fillRect/>
              </a:stretch>
            </p:blipFill>
            <p:spPr>
              <a:xfrm>
                <a:off x="186771" y="5275561"/>
                <a:ext cx="261581" cy="261582"/>
              </a:xfrm>
              <a:prstGeom prst="rect">
                <a:avLst/>
              </a:prstGeom>
              <a:ln>
                <a:noFill/>
              </a:ln>
            </p:spPr>
          </p:pic>
        </p:grpSp>
        <p:grpSp>
          <p:nvGrpSpPr>
            <p:cNvPr id="328" name="Group 327"/>
            <p:cNvGrpSpPr/>
            <p:nvPr/>
          </p:nvGrpSpPr>
          <p:grpSpPr>
            <a:xfrm>
              <a:off x="10747798" y="1566998"/>
              <a:ext cx="972163" cy="344145"/>
              <a:chOff x="11248838" y="2589753"/>
              <a:chExt cx="972163" cy="344144"/>
            </a:xfrm>
          </p:grpSpPr>
          <p:sp>
            <p:nvSpPr>
              <p:cNvPr id="236" name="TextBox 235"/>
              <p:cNvSpPr txBox="1"/>
              <p:nvPr/>
            </p:nvSpPr>
            <p:spPr>
              <a:xfrm>
                <a:off x="11561845" y="2589753"/>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D Privileged</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dentity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nagement</a:t>
                </a:r>
              </a:p>
            </p:txBody>
          </p:sp>
          <p:pic>
            <p:nvPicPr>
              <p:cNvPr id="272" name="Picture 271"/>
              <p:cNvPicPr>
                <a:picLocks noChangeAspect="1"/>
              </p:cNvPicPr>
              <p:nvPr/>
            </p:nvPicPr>
            <p:blipFill>
              <a:blip r:embed="rId31"/>
              <a:stretch>
                <a:fillRect/>
              </a:stretch>
            </p:blipFill>
            <p:spPr>
              <a:xfrm>
                <a:off x="11248838" y="2615973"/>
                <a:ext cx="245456" cy="317924"/>
              </a:xfrm>
              <a:prstGeom prst="rect">
                <a:avLst/>
              </a:prstGeom>
            </p:spPr>
          </p:pic>
        </p:grpSp>
        <p:grpSp>
          <p:nvGrpSpPr>
            <p:cNvPr id="238" name="Group 237"/>
            <p:cNvGrpSpPr/>
            <p:nvPr/>
          </p:nvGrpSpPr>
          <p:grpSpPr>
            <a:xfrm>
              <a:off x="9495191" y="5230981"/>
              <a:ext cx="921643" cy="346426"/>
              <a:chOff x="9495191" y="5230981"/>
              <a:chExt cx="921643" cy="346426"/>
            </a:xfrm>
          </p:grpSpPr>
          <p:sp>
            <p:nvSpPr>
              <p:cNvPr id="28" name="Rectangle 27"/>
              <p:cNvSpPr/>
              <p:nvPr/>
            </p:nvSpPr>
            <p:spPr bwMode="auto">
              <a:xfrm>
                <a:off x="9495191" y="5230981"/>
                <a:ext cx="921643"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Traffic Manager</a:t>
                </a:r>
              </a:p>
            </p:txBody>
          </p:sp>
          <p:pic>
            <p:nvPicPr>
              <p:cNvPr id="89" name="Picture 88"/>
              <p:cNvPicPr>
                <a:picLocks noChangeAspect="1"/>
              </p:cNvPicPr>
              <p:nvPr/>
            </p:nvPicPr>
            <p:blipFill>
              <a:blip r:embed="rId32" cstate="print">
                <a:biLevel thresh="25000"/>
                <a:extLst>
                  <a:ext uri="{28A0092B-C50C-407E-A947-70E740481C1C}">
                    <a14:useLocalDpi xmlns:a14="http://schemas.microsoft.com/office/drawing/2010/main" val="0"/>
                  </a:ext>
                </a:extLst>
              </a:blip>
              <a:stretch>
                <a:fillRect/>
              </a:stretch>
            </p:blipFill>
            <p:spPr>
              <a:xfrm>
                <a:off x="9542996" y="5273467"/>
                <a:ext cx="210127" cy="210127"/>
              </a:xfrm>
              <a:prstGeom prst="rect">
                <a:avLst/>
              </a:prstGeom>
            </p:spPr>
          </p:pic>
        </p:grpSp>
        <p:grpSp>
          <p:nvGrpSpPr>
            <p:cNvPr id="241" name="Group 240"/>
            <p:cNvGrpSpPr/>
            <p:nvPr/>
          </p:nvGrpSpPr>
          <p:grpSpPr>
            <a:xfrm>
              <a:off x="11372540" y="5230981"/>
              <a:ext cx="870398" cy="346426"/>
              <a:chOff x="11372540" y="5230981"/>
              <a:chExt cx="870398" cy="346426"/>
            </a:xfrm>
          </p:grpSpPr>
          <p:sp>
            <p:nvSpPr>
              <p:cNvPr id="247" name="Rectangle 246"/>
              <p:cNvSpPr/>
              <p:nvPr/>
            </p:nvSpPr>
            <p:spPr bwMode="auto">
              <a:xfrm>
                <a:off x="11372540"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36576"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App</a:t>
                </a:r>
              </a:p>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Gateway</a:t>
                </a:r>
              </a:p>
            </p:txBody>
          </p:sp>
          <p:sp>
            <p:nvSpPr>
              <p:cNvPr id="327" name="Freeform 326"/>
              <p:cNvSpPr/>
              <p:nvPr/>
            </p:nvSpPr>
            <p:spPr bwMode="auto">
              <a:xfrm rot="2700000">
                <a:off x="11422699" y="5296394"/>
                <a:ext cx="188089" cy="188089"/>
              </a:xfrm>
              <a:custGeom>
                <a:avLst/>
                <a:gdLst>
                  <a:gd name="connsiteX0" fmla="*/ 314803 w 613867"/>
                  <a:gd name="connsiteY0" fmla="*/ 374281 h 613867"/>
                  <a:gd name="connsiteX1" fmla="*/ 390557 w 613867"/>
                  <a:gd name="connsiteY1" fmla="*/ 450035 h 613867"/>
                  <a:gd name="connsiteX2" fmla="*/ 330696 w 613867"/>
                  <a:gd name="connsiteY2" fmla="*/ 509896 h 613867"/>
                  <a:gd name="connsiteX3" fmla="*/ 507842 w 613867"/>
                  <a:gd name="connsiteY3" fmla="*/ 504902 h 613867"/>
                  <a:gd name="connsiteX4" fmla="*/ 512837 w 613867"/>
                  <a:gd name="connsiteY4" fmla="*/ 327756 h 613867"/>
                  <a:gd name="connsiteX5" fmla="*/ 452975 w 613867"/>
                  <a:gd name="connsiteY5" fmla="*/ 387617 h 613867"/>
                  <a:gd name="connsiteX6" fmla="*/ 377221 w 613867"/>
                  <a:gd name="connsiteY6" fmla="*/ 311863 h 613867"/>
                  <a:gd name="connsiteX7" fmla="*/ 367619 w 613867"/>
                  <a:gd name="connsiteY7" fmla="*/ 63753 h 613867"/>
                  <a:gd name="connsiteX8" fmla="*/ 372612 w 613867"/>
                  <a:gd name="connsiteY8" fmla="*/ 240900 h 613867"/>
                  <a:gd name="connsiteX9" fmla="*/ 549761 w 613867"/>
                  <a:gd name="connsiteY9" fmla="*/ 245895 h 613867"/>
                  <a:gd name="connsiteX10" fmla="*/ 489898 w 613867"/>
                  <a:gd name="connsiteY10" fmla="*/ 186033 h 613867"/>
                  <a:gd name="connsiteX11" fmla="*/ 565652 w 613867"/>
                  <a:gd name="connsiteY11" fmla="*/ 110279 h 613867"/>
                  <a:gd name="connsiteX12" fmla="*/ 503234 w 613867"/>
                  <a:gd name="connsiteY12" fmla="*/ 47861 h 613867"/>
                  <a:gd name="connsiteX13" fmla="*/ 427480 w 613867"/>
                  <a:gd name="connsiteY13" fmla="*/ 123615 h 613867"/>
                  <a:gd name="connsiteX14" fmla="*/ 60550 w 613867"/>
                  <a:gd name="connsiteY14" fmla="*/ 370823 h 613867"/>
                  <a:gd name="connsiteX15" fmla="*/ 120411 w 613867"/>
                  <a:gd name="connsiteY15" fmla="*/ 430684 h 613867"/>
                  <a:gd name="connsiteX16" fmla="*/ 44657 w 613867"/>
                  <a:gd name="connsiteY16" fmla="*/ 506438 h 613867"/>
                  <a:gd name="connsiteX17" fmla="*/ 107075 w 613867"/>
                  <a:gd name="connsiteY17" fmla="*/ 568856 h 613867"/>
                  <a:gd name="connsiteX18" fmla="*/ 182829 w 613867"/>
                  <a:gd name="connsiteY18" fmla="*/ 493102 h 613867"/>
                  <a:gd name="connsiteX19" fmla="*/ 242691 w 613867"/>
                  <a:gd name="connsiteY19" fmla="*/ 552964 h 613867"/>
                  <a:gd name="connsiteX20" fmla="*/ 237696 w 613867"/>
                  <a:gd name="connsiteY20" fmla="*/ 375818 h 613867"/>
                  <a:gd name="connsiteX21" fmla="*/ 104519 w 613867"/>
                  <a:gd name="connsiteY21" fmla="*/ 101580 h 613867"/>
                  <a:gd name="connsiteX22" fmla="*/ 99524 w 613867"/>
                  <a:gd name="connsiteY22" fmla="*/ 278727 h 613867"/>
                  <a:gd name="connsiteX23" fmla="*/ 159386 w 613867"/>
                  <a:gd name="connsiteY23" fmla="*/ 218865 h 613867"/>
                  <a:gd name="connsiteX24" fmla="*/ 235140 w 613867"/>
                  <a:gd name="connsiteY24" fmla="*/ 294619 h 613867"/>
                  <a:gd name="connsiteX25" fmla="*/ 297558 w 613867"/>
                  <a:gd name="connsiteY25" fmla="*/ 232201 h 613867"/>
                  <a:gd name="connsiteX26" fmla="*/ 221804 w 613867"/>
                  <a:gd name="connsiteY26" fmla="*/ 156447 h 613867"/>
                  <a:gd name="connsiteX27" fmla="*/ 281665 w 613867"/>
                  <a:gd name="connsiteY27" fmla="*/ 96586 h 613867"/>
                  <a:gd name="connsiteX28" fmla="*/ 29967 w 613867"/>
                  <a:gd name="connsiteY28" fmla="*/ 29967 h 613867"/>
                  <a:gd name="connsiteX29" fmla="*/ 102313 w 613867"/>
                  <a:gd name="connsiteY29" fmla="*/ 0 h 613867"/>
                  <a:gd name="connsiteX30" fmla="*/ 511554 w 613867"/>
                  <a:gd name="connsiteY30" fmla="*/ 0 h 613867"/>
                  <a:gd name="connsiteX31" fmla="*/ 613867 w 613867"/>
                  <a:gd name="connsiteY31" fmla="*/ 102313 h 613867"/>
                  <a:gd name="connsiteX32" fmla="*/ 613867 w 613867"/>
                  <a:gd name="connsiteY32" fmla="*/ 511554 h 613867"/>
                  <a:gd name="connsiteX33" fmla="*/ 511554 w 613867"/>
                  <a:gd name="connsiteY33" fmla="*/ 613867 h 613867"/>
                  <a:gd name="connsiteX34" fmla="*/ 102313 w 613867"/>
                  <a:gd name="connsiteY34" fmla="*/ 613867 h 613867"/>
                  <a:gd name="connsiteX35" fmla="*/ 0 w 613867"/>
                  <a:gd name="connsiteY35" fmla="*/ 511554 h 613867"/>
                  <a:gd name="connsiteX36" fmla="*/ 0 w 613867"/>
                  <a:gd name="connsiteY36" fmla="*/ 102313 h 613867"/>
                  <a:gd name="connsiteX37" fmla="*/ 29967 w 613867"/>
                  <a:gd name="connsiteY37" fmla="*/ 29967 h 6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3867" h="613867">
                    <a:moveTo>
                      <a:pt x="314803" y="374281"/>
                    </a:moveTo>
                    <a:lnTo>
                      <a:pt x="390557" y="450035"/>
                    </a:lnTo>
                    <a:lnTo>
                      <a:pt x="330696" y="509896"/>
                    </a:lnTo>
                    <a:lnTo>
                      <a:pt x="507842" y="504902"/>
                    </a:lnTo>
                    <a:lnTo>
                      <a:pt x="512837" y="327756"/>
                    </a:lnTo>
                    <a:lnTo>
                      <a:pt x="452975" y="387617"/>
                    </a:lnTo>
                    <a:lnTo>
                      <a:pt x="377221" y="311863"/>
                    </a:lnTo>
                    <a:close/>
                    <a:moveTo>
                      <a:pt x="367619" y="63753"/>
                    </a:moveTo>
                    <a:lnTo>
                      <a:pt x="372612" y="240900"/>
                    </a:lnTo>
                    <a:lnTo>
                      <a:pt x="549761" y="245895"/>
                    </a:lnTo>
                    <a:lnTo>
                      <a:pt x="489898" y="186033"/>
                    </a:lnTo>
                    <a:lnTo>
                      <a:pt x="565652" y="110279"/>
                    </a:lnTo>
                    <a:lnTo>
                      <a:pt x="503234" y="47861"/>
                    </a:lnTo>
                    <a:lnTo>
                      <a:pt x="427480" y="123615"/>
                    </a:lnTo>
                    <a:close/>
                    <a:moveTo>
                      <a:pt x="60550" y="370823"/>
                    </a:moveTo>
                    <a:lnTo>
                      <a:pt x="120411" y="430684"/>
                    </a:lnTo>
                    <a:lnTo>
                      <a:pt x="44657" y="506438"/>
                    </a:lnTo>
                    <a:lnTo>
                      <a:pt x="107075" y="568856"/>
                    </a:lnTo>
                    <a:lnTo>
                      <a:pt x="182829" y="493102"/>
                    </a:lnTo>
                    <a:lnTo>
                      <a:pt x="242691" y="552964"/>
                    </a:lnTo>
                    <a:lnTo>
                      <a:pt x="237696" y="375818"/>
                    </a:lnTo>
                    <a:close/>
                    <a:moveTo>
                      <a:pt x="104519" y="101580"/>
                    </a:moveTo>
                    <a:lnTo>
                      <a:pt x="99524" y="278727"/>
                    </a:lnTo>
                    <a:lnTo>
                      <a:pt x="159386" y="218865"/>
                    </a:lnTo>
                    <a:lnTo>
                      <a:pt x="235140" y="294619"/>
                    </a:lnTo>
                    <a:lnTo>
                      <a:pt x="297558" y="232201"/>
                    </a:lnTo>
                    <a:lnTo>
                      <a:pt x="221804" y="156447"/>
                    </a:lnTo>
                    <a:lnTo>
                      <a:pt x="281665" y="96586"/>
                    </a:lnTo>
                    <a:close/>
                    <a:moveTo>
                      <a:pt x="29967" y="29967"/>
                    </a:moveTo>
                    <a:cubicBezTo>
                      <a:pt x="48482" y="11452"/>
                      <a:pt x="74060" y="0"/>
                      <a:pt x="102313" y="0"/>
                    </a:cubicBezTo>
                    <a:lnTo>
                      <a:pt x="511554" y="0"/>
                    </a:lnTo>
                    <a:cubicBezTo>
                      <a:pt x="568060" y="0"/>
                      <a:pt x="613867" y="45807"/>
                      <a:pt x="613867" y="102313"/>
                    </a:cubicBezTo>
                    <a:lnTo>
                      <a:pt x="613867" y="511554"/>
                    </a:lnTo>
                    <a:cubicBezTo>
                      <a:pt x="613867" y="568060"/>
                      <a:pt x="568060" y="613867"/>
                      <a:pt x="511554" y="613867"/>
                    </a:cubicBezTo>
                    <a:lnTo>
                      <a:pt x="102313" y="613867"/>
                    </a:lnTo>
                    <a:cubicBezTo>
                      <a:pt x="45807" y="613867"/>
                      <a:pt x="0" y="568060"/>
                      <a:pt x="0" y="511554"/>
                    </a:cubicBezTo>
                    <a:lnTo>
                      <a:pt x="0" y="102313"/>
                    </a:lnTo>
                    <a:cubicBezTo>
                      <a:pt x="0" y="74060"/>
                      <a:pt x="11452" y="48482"/>
                      <a:pt x="29967" y="29967"/>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grpSp>
          <p:nvGrpSpPr>
            <p:cNvPr id="339" name="Group 338"/>
            <p:cNvGrpSpPr/>
            <p:nvPr/>
          </p:nvGrpSpPr>
          <p:grpSpPr>
            <a:xfrm>
              <a:off x="10686829" y="2930978"/>
              <a:ext cx="1000917" cy="313970"/>
              <a:chOff x="11187869" y="3126800"/>
              <a:chExt cx="1000917" cy="313970"/>
            </a:xfrm>
          </p:grpSpPr>
          <p:sp>
            <p:nvSpPr>
              <p:cNvPr id="329" name="TextBox 328"/>
              <p:cNvSpPr txBox="1"/>
              <p:nvPr/>
            </p:nvSpPr>
            <p:spPr>
              <a:xfrm>
                <a:off x="11529630" y="3139664"/>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Operational</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330" name="Picture 329" descr="Operational Insights.png"/>
              <p:cNvPicPr>
                <a:picLocks noChangeAspect="1"/>
              </p:cNvPicPr>
              <p:nvPr/>
            </p:nvPicPr>
            <p:blipFill>
              <a:blip r:embed="rId33" cstate="print">
                <a:biLevel thresh="25000"/>
                <a:extLst>
                  <a:ext uri="{28A0092B-C50C-407E-A947-70E740481C1C}">
                    <a14:useLocalDpi xmlns:a14="http://schemas.microsoft.com/office/drawing/2010/main" val="0"/>
                  </a:ext>
                </a:extLst>
              </a:blip>
              <a:stretch>
                <a:fillRect/>
              </a:stretch>
            </p:blipFill>
            <p:spPr>
              <a:xfrm>
                <a:off x="11187869" y="3126800"/>
                <a:ext cx="280231" cy="280232"/>
              </a:xfrm>
              <a:prstGeom prst="rect">
                <a:avLst/>
              </a:prstGeom>
            </p:spPr>
          </p:pic>
        </p:grpSp>
        <p:grpSp>
          <p:nvGrpSpPr>
            <p:cNvPr id="136" name="Group 135"/>
            <p:cNvGrpSpPr/>
            <p:nvPr/>
          </p:nvGrpSpPr>
          <p:grpSpPr>
            <a:xfrm>
              <a:off x="2000198" y="532357"/>
              <a:ext cx="2108159" cy="1432988"/>
              <a:chOff x="2885080" y="478780"/>
              <a:chExt cx="2108159" cy="1432988"/>
            </a:xfrm>
          </p:grpSpPr>
          <p:sp>
            <p:nvSpPr>
              <p:cNvPr id="35" name="Rectangle 34"/>
              <p:cNvSpPr/>
              <p:nvPr/>
            </p:nvSpPr>
            <p:spPr bwMode="auto">
              <a:xfrm>
                <a:off x="2885080" y="478780"/>
                <a:ext cx="2108159"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Services Compute</a:t>
                </a:r>
              </a:p>
            </p:txBody>
          </p:sp>
          <p:grpSp>
            <p:nvGrpSpPr>
              <p:cNvPr id="344" name="Group 343"/>
              <p:cNvGrpSpPr/>
              <p:nvPr/>
            </p:nvGrpSpPr>
            <p:grpSpPr>
              <a:xfrm>
                <a:off x="3091322" y="836529"/>
                <a:ext cx="1001364" cy="338014"/>
                <a:chOff x="3533110" y="1905041"/>
                <a:chExt cx="1001364" cy="338014"/>
              </a:xfrm>
            </p:grpSpPr>
            <p:sp>
              <p:nvSpPr>
                <p:cNvPr id="145" name="TextBox 144"/>
                <p:cNvSpPr txBox="1"/>
                <p:nvPr/>
              </p:nvSpPr>
              <p:spPr>
                <a:xfrm>
                  <a:off x="3875318" y="1941949"/>
                  <a:ext cx="659156" cy="30110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loud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s</a:t>
                  </a:r>
                </a:p>
              </p:txBody>
            </p:sp>
            <p:pic>
              <p:nvPicPr>
                <p:cNvPr id="146" name="Picture 145"/>
                <p:cNvPicPr>
                  <a:picLocks noChangeAspect="1"/>
                </p:cNvPicPr>
                <p:nvPr/>
              </p:nvPicPr>
              <p:blipFill>
                <a:blip r:embed="rId34" cstate="print">
                  <a:biLevel thresh="25000"/>
                  <a:extLst>
                    <a:ext uri="{28A0092B-C50C-407E-A947-70E740481C1C}">
                      <a14:useLocalDpi xmlns:a14="http://schemas.microsoft.com/office/drawing/2010/main" val="0"/>
                    </a:ext>
                  </a:extLst>
                </a:blip>
                <a:stretch>
                  <a:fillRect/>
                </a:stretch>
              </p:blipFill>
              <p:spPr>
                <a:xfrm>
                  <a:off x="3533110" y="1905041"/>
                  <a:ext cx="289802" cy="289802"/>
                </a:xfrm>
                <a:prstGeom prst="rect">
                  <a:avLst/>
                </a:prstGeom>
              </p:spPr>
            </p:pic>
          </p:grpSp>
          <p:grpSp>
            <p:nvGrpSpPr>
              <p:cNvPr id="345" name="Group 344"/>
              <p:cNvGrpSpPr/>
              <p:nvPr/>
            </p:nvGrpSpPr>
            <p:grpSpPr>
              <a:xfrm>
                <a:off x="3067950" y="1417769"/>
                <a:ext cx="1007741" cy="320053"/>
                <a:chOff x="3509738" y="2393814"/>
                <a:chExt cx="1007741" cy="320053"/>
              </a:xfrm>
            </p:grpSpPr>
            <p:sp>
              <p:nvSpPr>
                <p:cNvPr id="147" name="TextBox 146"/>
                <p:cNvSpPr txBox="1"/>
                <p:nvPr/>
              </p:nvSpPr>
              <p:spPr>
                <a:xfrm>
                  <a:off x="3858323" y="2393814"/>
                  <a:ext cx="659156" cy="30110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atch</a:t>
                  </a:r>
                </a:p>
              </p:txBody>
            </p:sp>
            <p:pic>
              <p:nvPicPr>
                <p:cNvPr id="148" name="Picture 147"/>
                <p:cNvPicPr>
                  <a:picLocks noChangeAspect="1"/>
                </p:cNvPicPr>
                <p:nvPr/>
              </p:nvPicPr>
              <p:blipFill>
                <a:blip r:embed="rId35" cstate="print">
                  <a:biLevel thresh="25000"/>
                  <a:extLst>
                    <a:ext uri="{28A0092B-C50C-407E-A947-70E740481C1C}">
                      <a14:useLocalDpi xmlns:a14="http://schemas.microsoft.com/office/drawing/2010/main" val="0"/>
                    </a:ext>
                  </a:extLst>
                </a:blip>
                <a:stretch>
                  <a:fillRect/>
                </a:stretch>
              </p:blipFill>
              <p:spPr>
                <a:xfrm>
                  <a:off x="3509738" y="2410331"/>
                  <a:ext cx="303536" cy="303536"/>
                </a:xfrm>
                <a:prstGeom prst="rect">
                  <a:avLst/>
                </a:prstGeom>
              </p:spPr>
            </p:pic>
          </p:grpSp>
          <p:grpSp>
            <p:nvGrpSpPr>
              <p:cNvPr id="346" name="Group 345"/>
              <p:cNvGrpSpPr/>
              <p:nvPr/>
            </p:nvGrpSpPr>
            <p:grpSpPr>
              <a:xfrm>
                <a:off x="3968400" y="1441331"/>
                <a:ext cx="1000660" cy="336792"/>
                <a:chOff x="4132786" y="2407102"/>
                <a:chExt cx="1000660" cy="336792"/>
              </a:xfrm>
            </p:grpSpPr>
            <p:sp>
              <p:nvSpPr>
                <p:cNvPr id="149" name="TextBox 148"/>
                <p:cNvSpPr txBox="1"/>
                <p:nvPr/>
              </p:nvSpPr>
              <p:spPr>
                <a:xfrm>
                  <a:off x="4474290" y="2442788"/>
                  <a:ext cx="659156" cy="30110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RemoteApp</a:t>
                  </a:r>
                </a:p>
              </p:txBody>
            </p:sp>
            <p:pic>
              <p:nvPicPr>
                <p:cNvPr id="150" name="Picture 149"/>
                <p:cNvPicPr>
                  <a:picLocks noChangeAspect="1"/>
                </p:cNvPicPr>
                <p:nvPr/>
              </p:nvPicPr>
              <p:blipFill>
                <a:blip r:embed="rId36" cstate="print">
                  <a:biLevel thresh="25000"/>
                  <a:extLst>
                    <a:ext uri="{28A0092B-C50C-407E-A947-70E740481C1C}">
                      <a14:useLocalDpi xmlns:a14="http://schemas.microsoft.com/office/drawing/2010/main" val="0"/>
                    </a:ext>
                  </a:extLst>
                </a:blip>
                <a:stretch>
                  <a:fillRect/>
                </a:stretch>
              </p:blipFill>
              <p:spPr>
                <a:xfrm>
                  <a:off x="4132786" y="2407102"/>
                  <a:ext cx="291655" cy="291656"/>
                </a:xfrm>
                <a:prstGeom prst="rect">
                  <a:avLst/>
                </a:prstGeom>
              </p:spPr>
            </p:pic>
          </p:grpSp>
          <p:sp>
            <p:nvSpPr>
              <p:cNvPr id="349" name="TextBox 348"/>
              <p:cNvSpPr txBox="1"/>
              <p:nvPr/>
            </p:nvSpPr>
            <p:spPr>
              <a:xfrm>
                <a:off x="4306833" y="873437"/>
                <a:ext cx="659156" cy="301106"/>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ervic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bric</a:t>
                </a:r>
              </a:p>
            </p:txBody>
          </p:sp>
          <p:sp>
            <p:nvSpPr>
              <p:cNvPr id="360" name="Freeform 359"/>
              <p:cNvSpPr/>
              <p:nvPr/>
            </p:nvSpPr>
            <p:spPr bwMode="auto">
              <a:xfrm>
                <a:off x="3964782" y="857249"/>
                <a:ext cx="282441" cy="271463"/>
              </a:xfrm>
              <a:custGeom>
                <a:avLst/>
                <a:gdLst>
                  <a:gd name="connsiteX0" fmla="*/ 284961 w 673895"/>
                  <a:gd name="connsiteY0" fmla="*/ 158165 h 647702"/>
                  <a:gd name="connsiteX1" fmla="*/ 170786 w 673895"/>
                  <a:gd name="connsiteY1" fmla="*/ 242195 h 647702"/>
                  <a:gd name="connsiteX2" fmla="*/ 176214 w 673895"/>
                  <a:gd name="connsiteY2" fmla="*/ 269082 h 647702"/>
                  <a:gd name="connsiteX3" fmla="*/ 150408 w 673895"/>
                  <a:gd name="connsiteY3" fmla="*/ 331383 h 647702"/>
                  <a:gd name="connsiteX4" fmla="*/ 146443 w 673895"/>
                  <a:gd name="connsiteY4" fmla="*/ 334057 h 647702"/>
                  <a:gd name="connsiteX5" fmla="*/ 192422 w 673895"/>
                  <a:gd name="connsiteY5" fmla="*/ 472837 h 647702"/>
                  <a:gd name="connsiteX6" fmla="*/ 220034 w 673895"/>
                  <a:gd name="connsiteY6" fmla="*/ 478412 h 647702"/>
                  <a:gd name="connsiteX7" fmla="*/ 248039 w 673895"/>
                  <a:gd name="connsiteY7" fmla="*/ 497294 h 647702"/>
                  <a:gd name="connsiteX8" fmla="*/ 265572 w 673895"/>
                  <a:gd name="connsiteY8" fmla="*/ 523298 h 647702"/>
                  <a:gd name="connsiteX9" fmla="*/ 408956 w 673895"/>
                  <a:gd name="connsiteY9" fmla="*/ 523298 h 647702"/>
                  <a:gd name="connsiteX10" fmla="*/ 417479 w 673895"/>
                  <a:gd name="connsiteY10" fmla="*/ 505571 h 647702"/>
                  <a:gd name="connsiteX11" fmla="*/ 456243 w 673895"/>
                  <a:gd name="connsiteY11" fmla="*/ 473649 h 647702"/>
                  <a:gd name="connsiteX12" fmla="*/ 488887 w 673895"/>
                  <a:gd name="connsiteY12" fmla="*/ 467058 h 647702"/>
                  <a:gd name="connsiteX13" fmla="*/ 531395 w 673895"/>
                  <a:gd name="connsiteY13" fmla="*/ 334333 h 647702"/>
                  <a:gd name="connsiteX14" fmla="*/ 523487 w 673895"/>
                  <a:gd name="connsiteY14" fmla="*/ 329002 h 647702"/>
                  <a:gd name="connsiteX15" fmla="*/ 497681 w 673895"/>
                  <a:gd name="connsiteY15" fmla="*/ 266701 h 647702"/>
                  <a:gd name="connsiteX16" fmla="*/ 501673 w 673895"/>
                  <a:gd name="connsiteY16" fmla="*/ 246929 h 647702"/>
                  <a:gd name="connsiteX17" fmla="*/ 384346 w 673895"/>
                  <a:gd name="connsiteY17" fmla="*/ 159653 h 647702"/>
                  <a:gd name="connsiteX18" fmla="*/ 370052 w 673895"/>
                  <a:gd name="connsiteY18" fmla="*/ 169290 h 647702"/>
                  <a:gd name="connsiteX19" fmla="*/ 335757 w 673895"/>
                  <a:gd name="connsiteY19" fmla="*/ 176214 h 647702"/>
                  <a:gd name="connsiteX20" fmla="*/ 301462 w 673895"/>
                  <a:gd name="connsiteY20" fmla="*/ 169290 h 647702"/>
                  <a:gd name="connsiteX21" fmla="*/ 335757 w 673895"/>
                  <a:gd name="connsiteY21" fmla="*/ 0 h 647702"/>
                  <a:gd name="connsiteX22" fmla="*/ 423864 w 673895"/>
                  <a:gd name="connsiteY22" fmla="*/ 88107 h 647702"/>
                  <a:gd name="connsiteX23" fmla="*/ 420253 w 673895"/>
                  <a:gd name="connsiteY23" fmla="*/ 105993 h 647702"/>
                  <a:gd name="connsiteX24" fmla="*/ 538728 w 673895"/>
                  <a:gd name="connsiteY24" fmla="*/ 194124 h 647702"/>
                  <a:gd name="connsiteX25" fmla="*/ 551493 w 673895"/>
                  <a:gd name="connsiteY25" fmla="*/ 185518 h 647702"/>
                  <a:gd name="connsiteX26" fmla="*/ 585788 w 673895"/>
                  <a:gd name="connsiteY26" fmla="*/ 178594 h 647702"/>
                  <a:gd name="connsiteX27" fmla="*/ 673895 w 673895"/>
                  <a:gd name="connsiteY27" fmla="*/ 266701 h 647702"/>
                  <a:gd name="connsiteX28" fmla="*/ 620083 w 673895"/>
                  <a:gd name="connsiteY28" fmla="*/ 347884 h 647702"/>
                  <a:gd name="connsiteX29" fmla="*/ 593016 w 673895"/>
                  <a:gd name="connsiteY29" fmla="*/ 353349 h 647702"/>
                  <a:gd name="connsiteX30" fmla="*/ 549222 w 673895"/>
                  <a:gd name="connsiteY30" fmla="*/ 490092 h 647702"/>
                  <a:gd name="connsiteX31" fmla="*/ 552839 w 673895"/>
                  <a:gd name="connsiteY31" fmla="*/ 492531 h 647702"/>
                  <a:gd name="connsiteX32" fmla="*/ 578645 w 673895"/>
                  <a:gd name="connsiteY32" fmla="*/ 554832 h 647702"/>
                  <a:gd name="connsiteX33" fmla="*/ 490538 w 673895"/>
                  <a:gd name="connsiteY33" fmla="*/ 642939 h 647702"/>
                  <a:gd name="connsiteX34" fmla="*/ 409355 w 673895"/>
                  <a:gd name="connsiteY34" fmla="*/ 589127 h 647702"/>
                  <a:gd name="connsiteX35" fmla="*/ 409084 w 673895"/>
                  <a:gd name="connsiteY35" fmla="*/ 587783 h 647702"/>
                  <a:gd name="connsiteX36" fmla="*/ 268154 w 673895"/>
                  <a:gd name="connsiteY36" fmla="*/ 587783 h 647702"/>
                  <a:gd name="connsiteX37" fmla="*/ 266921 w 673895"/>
                  <a:gd name="connsiteY37" fmla="*/ 593890 h 647702"/>
                  <a:gd name="connsiteX38" fmla="*/ 185738 w 673895"/>
                  <a:gd name="connsiteY38" fmla="*/ 647702 h 647702"/>
                  <a:gd name="connsiteX39" fmla="*/ 97631 w 673895"/>
                  <a:gd name="connsiteY39" fmla="*/ 559595 h 647702"/>
                  <a:gd name="connsiteX40" fmla="*/ 123437 w 673895"/>
                  <a:gd name="connsiteY40" fmla="*/ 497294 h 647702"/>
                  <a:gd name="connsiteX41" fmla="*/ 130921 w 673895"/>
                  <a:gd name="connsiteY41" fmla="*/ 492248 h 647702"/>
                  <a:gd name="connsiteX42" fmla="*/ 86036 w 673895"/>
                  <a:gd name="connsiteY42" fmla="*/ 356771 h 647702"/>
                  <a:gd name="connsiteX43" fmla="*/ 53812 w 673895"/>
                  <a:gd name="connsiteY43" fmla="*/ 350265 h 647702"/>
                  <a:gd name="connsiteX44" fmla="*/ 0 w 673895"/>
                  <a:gd name="connsiteY44" fmla="*/ 269082 h 647702"/>
                  <a:gd name="connsiteX45" fmla="*/ 88107 w 673895"/>
                  <a:gd name="connsiteY45" fmla="*/ 180975 h 647702"/>
                  <a:gd name="connsiteX46" fmla="*/ 122402 w 673895"/>
                  <a:gd name="connsiteY46" fmla="*/ 187899 h 647702"/>
                  <a:gd name="connsiteX47" fmla="*/ 129378 w 673895"/>
                  <a:gd name="connsiteY47" fmla="*/ 192602 h 647702"/>
                  <a:gd name="connsiteX48" fmla="*/ 250718 w 673895"/>
                  <a:gd name="connsiteY48" fmla="*/ 103300 h 647702"/>
                  <a:gd name="connsiteX49" fmla="*/ 247650 w 673895"/>
                  <a:gd name="connsiteY49" fmla="*/ 88107 h 647702"/>
                  <a:gd name="connsiteX50" fmla="*/ 335757 w 673895"/>
                  <a:gd name="connsiteY50" fmla="*/ 0 h 647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73895" h="647702">
                    <a:moveTo>
                      <a:pt x="284961" y="158165"/>
                    </a:moveTo>
                    <a:lnTo>
                      <a:pt x="170786" y="242195"/>
                    </a:lnTo>
                    <a:lnTo>
                      <a:pt x="176214" y="269082"/>
                    </a:lnTo>
                    <a:cubicBezTo>
                      <a:pt x="176214" y="293412"/>
                      <a:pt x="166353" y="315439"/>
                      <a:pt x="150408" y="331383"/>
                    </a:cubicBezTo>
                    <a:lnTo>
                      <a:pt x="146443" y="334057"/>
                    </a:lnTo>
                    <a:lnTo>
                      <a:pt x="192422" y="472837"/>
                    </a:lnTo>
                    <a:lnTo>
                      <a:pt x="220034" y="478412"/>
                    </a:lnTo>
                    <a:cubicBezTo>
                      <a:pt x="230575" y="482870"/>
                      <a:pt x="240067" y="489322"/>
                      <a:pt x="248039" y="497294"/>
                    </a:cubicBezTo>
                    <a:lnTo>
                      <a:pt x="265572" y="523298"/>
                    </a:lnTo>
                    <a:lnTo>
                      <a:pt x="408956" y="523298"/>
                    </a:lnTo>
                    <a:lnTo>
                      <a:pt x="417479" y="505571"/>
                    </a:lnTo>
                    <a:cubicBezTo>
                      <a:pt x="426979" y="491509"/>
                      <a:pt x="440432" y="480337"/>
                      <a:pt x="456243" y="473649"/>
                    </a:cubicBezTo>
                    <a:lnTo>
                      <a:pt x="488887" y="467058"/>
                    </a:lnTo>
                    <a:lnTo>
                      <a:pt x="531395" y="334333"/>
                    </a:lnTo>
                    <a:lnTo>
                      <a:pt x="523487" y="329002"/>
                    </a:lnTo>
                    <a:cubicBezTo>
                      <a:pt x="507543" y="313058"/>
                      <a:pt x="497681" y="291031"/>
                      <a:pt x="497681" y="266701"/>
                    </a:cubicBezTo>
                    <a:lnTo>
                      <a:pt x="501673" y="246929"/>
                    </a:lnTo>
                    <a:lnTo>
                      <a:pt x="384346" y="159653"/>
                    </a:lnTo>
                    <a:lnTo>
                      <a:pt x="370052" y="169290"/>
                    </a:lnTo>
                    <a:cubicBezTo>
                      <a:pt x="359511" y="173749"/>
                      <a:pt x="347922" y="176214"/>
                      <a:pt x="335757" y="176214"/>
                    </a:cubicBezTo>
                    <a:cubicBezTo>
                      <a:pt x="323592" y="176214"/>
                      <a:pt x="312003" y="173749"/>
                      <a:pt x="301462" y="169290"/>
                    </a:cubicBezTo>
                    <a:close/>
                    <a:moveTo>
                      <a:pt x="335757" y="0"/>
                    </a:moveTo>
                    <a:cubicBezTo>
                      <a:pt x="384417" y="0"/>
                      <a:pt x="423864" y="39447"/>
                      <a:pt x="423864" y="88107"/>
                    </a:cubicBezTo>
                    <a:lnTo>
                      <a:pt x="420253" y="105993"/>
                    </a:lnTo>
                    <a:lnTo>
                      <a:pt x="538728" y="194124"/>
                    </a:lnTo>
                    <a:lnTo>
                      <a:pt x="551493" y="185518"/>
                    </a:lnTo>
                    <a:cubicBezTo>
                      <a:pt x="562034" y="181059"/>
                      <a:pt x="573623" y="178594"/>
                      <a:pt x="585788" y="178594"/>
                    </a:cubicBezTo>
                    <a:cubicBezTo>
                      <a:pt x="634448" y="178594"/>
                      <a:pt x="673895" y="218041"/>
                      <a:pt x="673895" y="266701"/>
                    </a:cubicBezTo>
                    <a:cubicBezTo>
                      <a:pt x="673895" y="303196"/>
                      <a:pt x="651706" y="334509"/>
                      <a:pt x="620083" y="347884"/>
                    </a:cubicBezTo>
                    <a:lnTo>
                      <a:pt x="593016" y="353349"/>
                    </a:lnTo>
                    <a:lnTo>
                      <a:pt x="549222" y="490092"/>
                    </a:lnTo>
                    <a:lnTo>
                      <a:pt x="552839" y="492531"/>
                    </a:lnTo>
                    <a:cubicBezTo>
                      <a:pt x="568783" y="508475"/>
                      <a:pt x="578645" y="530502"/>
                      <a:pt x="578645" y="554832"/>
                    </a:cubicBezTo>
                    <a:cubicBezTo>
                      <a:pt x="578645" y="603492"/>
                      <a:pt x="539198" y="642939"/>
                      <a:pt x="490538" y="642939"/>
                    </a:cubicBezTo>
                    <a:cubicBezTo>
                      <a:pt x="454043" y="642939"/>
                      <a:pt x="422731" y="620750"/>
                      <a:pt x="409355" y="589127"/>
                    </a:cubicBezTo>
                    <a:lnTo>
                      <a:pt x="409084" y="587783"/>
                    </a:lnTo>
                    <a:lnTo>
                      <a:pt x="268154" y="587783"/>
                    </a:lnTo>
                    <a:lnTo>
                      <a:pt x="266921" y="593890"/>
                    </a:lnTo>
                    <a:cubicBezTo>
                      <a:pt x="253546" y="625513"/>
                      <a:pt x="222233" y="647702"/>
                      <a:pt x="185738" y="647702"/>
                    </a:cubicBezTo>
                    <a:cubicBezTo>
                      <a:pt x="137078" y="647702"/>
                      <a:pt x="97631" y="608255"/>
                      <a:pt x="97631" y="559595"/>
                    </a:cubicBezTo>
                    <a:cubicBezTo>
                      <a:pt x="97631" y="535265"/>
                      <a:pt x="107493" y="513238"/>
                      <a:pt x="123437" y="497294"/>
                    </a:cubicBezTo>
                    <a:lnTo>
                      <a:pt x="130921" y="492248"/>
                    </a:lnTo>
                    <a:lnTo>
                      <a:pt x="86036" y="356771"/>
                    </a:lnTo>
                    <a:lnTo>
                      <a:pt x="53812" y="350265"/>
                    </a:lnTo>
                    <a:cubicBezTo>
                      <a:pt x="22189" y="336890"/>
                      <a:pt x="0" y="305577"/>
                      <a:pt x="0" y="269082"/>
                    </a:cubicBezTo>
                    <a:cubicBezTo>
                      <a:pt x="0" y="220422"/>
                      <a:pt x="39447" y="180975"/>
                      <a:pt x="88107" y="180975"/>
                    </a:cubicBezTo>
                    <a:cubicBezTo>
                      <a:pt x="100272" y="180975"/>
                      <a:pt x="111861" y="183440"/>
                      <a:pt x="122402" y="187899"/>
                    </a:cubicBezTo>
                    <a:lnTo>
                      <a:pt x="129378" y="192602"/>
                    </a:lnTo>
                    <a:lnTo>
                      <a:pt x="250718" y="103300"/>
                    </a:lnTo>
                    <a:lnTo>
                      <a:pt x="247650" y="88107"/>
                    </a:lnTo>
                    <a:cubicBezTo>
                      <a:pt x="247650" y="39447"/>
                      <a:pt x="287097" y="0"/>
                      <a:pt x="335757" y="0"/>
                    </a:cubicBezTo>
                    <a:close/>
                  </a:path>
                </a:pathLst>
              </a:cu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grpSp>
          <p:nvGrpSpPr>
            <p:cNvPr id="375" name="Group 374"/>
            <p:cNvGrpSpPr/>
            <p:nvPr/>
          </p:nvGrpSpPr>
          <p:grpSpPr>
            <a:xfrm>
              <a:off x="4231223" y="3019262"/>
              <a:ext cx="2355492" cy="1432988"/>
              <a:chOff x="8271660" y="469727"/>
              <a:chExt cx="2355492" cy="1432988"/>
            </a:xfrm>
          </p:grpSpPr>
          <p:sp>
            <p:nvSpPr>
              <p:cNvPr id="42" name="Rectangle 41"/>
              <p:cNvSpPr/>
              <p:nvPr/>
            </p:nvSpPr>
            <p:spPr bwMode="auto">
              <a:xfrm>
                <a:off x="8271660" y="469727"/>
                <a:ext cx="2355492" cy="1432988"/>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Developer Services</a:t>
                </a:r>
              </a:p>
            </p:txBody>
          </p:sp>
          <p:grpSp>
            <p:nvGrpSpPr>
              <p:cNvPr id="144" name="Group 143"/>
              <p:cNvGrpSpPr/>
              <p:nvPr/>
            </p:nvGrpSpPr>
            <p:grpSpPr>
              <a:xfrm>
                <a:off x="8403450" y="918721"/>
                <a:ext cx="1016238" cy="309095"/>
                <a:chOff x="9025071" y="1995491"/>
                <a:chExt cx="1016238" cy="309095"/>
              </a:xfrm>
            </p:grpSpPr>
            <p:sp>
              <p:nvSpPr>
                <p:cNvPr id="167" name="TextBox 166"/>
                <p:cNvSpPr txBox="1"/>
                <p:nvPr/>
              </p:nvSpPr>
              <p:spPr>
                <a:xfrm>
                  <a:off x="9371926" y="2054561"/>
                  <a:ext cx="669383" cy="250025"/>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isual Studio</a:t>
                  </a:r>
                </a:p>
              </p:txBody>
            </p:sp>
            <p:pic>
              <p:nvPicPr>
                <p:cNvPr id="168" name="Picture 167" descr="Visual Studio Online.png"/>
                <p:cNvPicPr>
                  <a:picLocks noChangeAspect="1"/>
                </p:cNvPicPr>
                <p:nvPr/>
              </p:nvPicPr>
              <p:blipFill>
                <a:blip r:embed="rId37" cstate="print">
                  <a:biLevel thresh="25000"/>
                  <a:extLst>
                    <a:ext uri="{28A0092B-C50C-407E-A947-70E740481C1C}">
                      <a14:useLocalDpi xmlns:a14="http://schemas.microsoft.com/office/drawing/2010/main" val="0"/>
                    </a:ext>
                  </a:extLst>
                </a:blip>
                <a:stretch>
                  <a:fillRect/>
                </a:stretch>
              </p:blipFill>
              <p:spPr>
                <a:xfrm>
                  <a:off x="9025071" y="1995491"/>
                  <a:ext cx="290489" cy="290489"/>
                </a:xfrm>
                <a:prstGeom prst="rect">
                  <a:avLst/>
                </a:prstGeom>
              </p:spPr>
            </p:pic>
          </p:grpSp>
          <p:grpSp>
            <p:nvGrpSpPr>
              <p:cNvPr id="363" name="Group 362"/>
              <p:cNvGrpSpPr/>
              <p:nvPr/>
            </p:nvGrpSpPr>
            <p:grpSpPr>
              <a:xfrm>
                <a:off x="9485139" y="1461008"/>
                <a:ext cx="1033718" cy="308062"/>
                <a:chOff x="10156761" y="2537778"/>
                <a:chExt cx="1033718" cy="308062"/>
              </a:xfrm>
            </p:grpSpPr>
            <p:sp>
              <p:nvSpPr>
                <p:cNvPr id="169" name="TextBox 168"/>
                <p:cNvSpPr txBox="1"/>
                <p:nvPr/>
              </p:nvSpPr>
              <p:spPr>
                <a:xfrm>
                  <a:off x="10531323" y="2544735"/>
                  <a:ext cx="659156" cy="301105"/>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pp</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nsights</a:t>
                  </a:r>
                </a:p>
              </p:txBody>
            </p:sp>
            <p:pic>
              <p:nvPicPr>
                <p:cNvPr id="170" name="Picture 169" descr="Application Insights.png"/>
                <p:cNvPicPr>
                  <a:picLocks noChangeAspect="1"/>
                </p:cNvPicPr>
                <p:nvPr/>
              </p:nvPicPr>
              <p:blipFill>
                <a:blip r:embed="rId38" cstate="print">
                  <a:biLevel thresh="25000"/>
                  <a:extLst>
                    <a:ext uri="{28A0092B-C50C-407E-A947-70E740481C1C}">
                      <a14:useLocalDpi xmlns:a14="http://schemas.microsoft.com/office/drawing/2010/main" val="0"/>
                    </a:ext>
                  </a:extLst>
                </a:blip>
                <a:stretch>
                  <a:fillRect/>
                </a:stretch>
              </p:blipFill>
              <p:spPr>
                <a:xfrm>
                  <a:off x="10156761" y="2537778"/>
                  <a:ext cx="292274" cy="292274"/>
                </a:xfrm>
                <a:prstGeom prst="rect">
                  <a:avLst/>
                </a:prstGeom>
              </p:spPr>
            </p:pic>
          </p:grpSp>
          <p:grpSp>
            <p:nvGrpSpPr>
              <p:cNvPr id="361" name="Group 360"/>
              <p:cNvGrpSpPr/>
              <p:nvPr/>
            </p:nvGrpSpPr>
            <p:grpSpPr>
              <a:xfrm>
                <a:off x="9501495" y="894448"/>
                <a:ext cx="896892" cy="311069"/>
                <a:chOff x="10173117" y="1971218"/>
                <a:chExt cx="896892" cy="311069"/>
              </a:xfrm>
            </p:grpSpPr>
            <p:pic>
              <p:nvPicPr>
                <p:cNvPr id="273" name="Picture 272"/>
                <p:cNvPicPr>
                  <a:picLocks noChangeAspect="1"/>
                </p:cNvPicPr>
                <p:nvPr/>
              </p:nvPicPr>
              <p:blipFill>
                <a:blip r:embed="rId39" cstate="print">
                  <a:biLevel thresh="25000"/>
                  <a:extLst>
                    <a:ext uri="{28A0092B-C50C-407E-A947-70E740481C1C}">
                      <a14:useLocalDpi xmlns:a14="http://schemas.microsoft.com/office/drawing/2010/main" val="0"/>
                    </a:ext>
                  </a:extLst>
                </a:blip>
                <a:stretch>
                  <a:fillRect/>
                </a:stretch>
              </p:blipFill>
              <p:spPr>
                <a:xfrm>
                  <a:off x="10173117" y="1979632"/>
                  <a:ext cx="302655" cy="302655"/>
                </a:xfrm>
                <a:prstGeom prst="rect">
                  <a:avLst/>
                </a:prstGeom>
              </p:spPr>
            </p:pic>
            <p:sp>
              <p:nvSpPr>
                <p:cNvPr id="274" name="TextBox 273"/>
                <p:cNvSpPr txBox="1"/>
                <p:nvPr/>
              </p:nvSpPr>
              <p:spPr>
                <a:xfrm>
                  <a:off x="10528812" y="1971218"/>
                  <a:ext cx="541197" cy="250025"/>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DK</a:t>
                  </a:r>
                </a:p>
              </p:txBody>
            </p:sp>
          </p:grpSp>
          <p:grpSp>
            <p:nvGrpSpPr>
              <p:cNvPr id="374" name="Group 373"/>
              <p:cNvGrpSpPr/>
              <p:nvPr/>
            </p:nvGrpSpPr>
            <p:grpSpPr>
              <a:xfrm>
                <a:off x="8403428" y="1416107"/>
                <a:ext cx="1007716" cy="307161"/>
                <a:chOff x="8298657" y="1416107"/>
                <a:chExt cx="1007716" cy="307161"/>
              </a:xfrm>
            </p:grpSpPr>
            <p:sp>
              <p:nvSpPr>
                <p:cNvPr id="239" name="TextBox 238"/>
                <p:cNvSpPr txBox="1"/>
                <p:nvPr/>
              </p:nvSpPr>
              <p:spPr>
                <a:xfrm>
                  <a:off x="8645535" y="1473243"/>
                  <a:ext cx="660838" cy="250025"/>
                </a:xfrm>
                <a:prstGeom prst="rect">
                  <a:avLst/>
                </a:prstGeom>
                <a:noFill/>
                <a:ln>
                  <a:noFill/>
                </a:ln>
              </p:spPr>
              <p:txBody>
                <a:bodyPr wrap="none" lIns="0" tIns="27971" rIns="0" bIns="0" rtlCol="0" anchor="t">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S Online</a:t>
                  </a:r>
                </a:p>
              </p:txBody>
            </p:sp>
            <p:sp>
              <p:nvSpPr>
                <p:cNvPr id="371" name="Freeform 370"/>
                <p:cNvSpPr/>
                <p:nvPr/>
              </p:nvSpPr>
              <p:spPr bwMode="auto">
                <a:xfrm>
                  <a:off x="8298657" y="1416107"/>
                  <a:ext cx="290511" cy="249138"/>
                </a:xfrm>
                <a:custGeom>
                  <a:avLst/>
                  <a:gdLst>
                    <a:gd name="connsiteX0" fmla="*/ 20235 w 769143"/>
                    <a:gd name="connsiteY0" fmla="*/ 443405 h 659607"/>
                    <a:gd name="connsiteX1" fmla="*/ 84659 w 769143"/>
                    <a:gd name="connsiteY1" fmla="*/ 443405 h 659607"/>
                    <a:gd name="connsiteX2" fmla="*/ 133712 w 769143"/>
                    <a:gd name="connsiteY2" fmla="*/ 527981 h 659607"/>
                    <a:gd name="connsiteX3" fmla="*/ 182766 w 769143"/>
                    <a:gd name="connsiteY3" fmla="*/ 443405 h 659607"/>
                    <a:gd name="connsiteX4" fmla="*/ 251228 w 769143"/>
                    <a:gd name="connsiteY4" fmla="*/ 443405 h 659607"/>
                    <a:gd name="connsiteX5" fmla="*/ 271462 w 769143"/>
                    <a:gd name="connsiteY5" fmla="*/ 463640 h 659607"/>
                    <a:gd name="connsiteX6" fmla="*/ 271462 w 769143"/>
                    <a:gd name="connsiteY6" fmla="*/ 634610 h 659607"/>
                    <a:gd name="connsiteX7" fmla="*/ 251228 w 769143"/>
                    <a:gd name="connsiteY7" fmla="*/ 654845 h 659607"/>
                    <a:gd name="connsiteX8" fmla="*/ 20235 w 769143"/>
                    <a:gd name="connsiteY8" fmla="*/ 654845 h 659607"/>
                    <a:gd name="connsiteX9" fmla="*/ 0 w 769143"/>
                    <a:gd name="connsiteY9" fmla="*/ 634610 h 659607"/>
                    <a:gd name="connsiteX10" fmla="*/ 0 w 769143"/>
                    <a:gd name="connsiteY10" fmla="*/ 463640 h 659607"/>
                    <a:gd name="connsiteX11" fmla="*/ 20235 w 769143"/>
                    <a:gd name="connsiteY11" fmla="*/ 443405 h 659607"/>
                    <a:gd name="connsiteX12" fmla="*/ 330596 w 769143"/>
                    <a:gd name="connsiteY12" fmla="*/ 290513 h 659607"/>
                    <a:gd name="connsiteX13" fmla="*/ 443055 w 769143"/>
                    <a:gd name="connsiteY13" fmla="*/ 290513 h 659607"/>
                    <a:gd name="connsiteX14" fmla="*/ 528684 w 769143"/>
                    <a:gd name="connsiteY14" fmla="*/ 438150 h 659607"/>
                    <a:gd name="connsiteX15" fmla="*/ 614314 w 769143"/>
                    <a:gd name="connsiteY15" fmla="*/ 290513 h 659607"/>
                    <a:gd name="connsiteX16" fmla="*/ 733821 w 769143"/>
                    <a:gd name="connsiteY16" fmla="*/ 290513 h 659607"/>
                    <a:gd name="connsiteX17" fmla="*/ 769143 w 769143"/>
                    <a:gd name="connsiteY17" fmla="*/ 325835 h 659607"/>
                    <a:gd name="connsiteX18" fmla="*/ 769143 w 769143"/>
                    <a:gd name="connsiteY18" fmla="*/ 624285 h 659607"/>
                    <a:gd name="connsiteX19" fmla="*/ 733821 w 769143"/>
                    <a:gd name="connsiteY19" fmla="*/ 659607 h 659607"/>
                    <a:gd name="connsiteX20" fmla="*/ 330596 w 769143"/>
                    <a:gd name="connsiteY20" fmla="*/ 659607 h 659607"/>
                    <a:gd name="connsiteX21" fmla="*/ 295274 w 769143"/>
                    <a:gd name="connsiteY21" fmla="*/ 624285 h 659607"/>
                    <a:gd name="connsiteX22" fmla="*/ 295274 w 769143"/>
                    <a:gd name="connsiteY22" fmla="*/ 325835 h 659607"/>
                    <a:gd name="connsiteX23" fmla="*/ 330596 w 769143"/>
                    <a:gd name="connsiteY23" fmla="*/ 290513 h 659607"/>
                    <a:gd name="connsiteX24" fmla="*/ 134367 w 769143"/>
                    <a:gd name="connsiteY24" fmla="*/ 276981 h 659607"/>
                    <a:gd name="connsiteX25" fmla="*/ 211441 w 769143"/>
                    <a:gd name="connsiteY25" fmla="*/ 354055 h 659607"/>
                    <a:gd name="connsiteX26" fmla="*/ 134367 w 769143"/>
                    <a:gd name="connsiteY26" fmla="*/ 431128 h 659607"/>
                    <a:gd name="connsiteX27" fmla="*/ 57293 w 769143"/>
                    <a:gd name="connsiteY27" fmla="*/ 354055 h 659607"/>
                    <a:gd name="connsiteX28" fmla="*/ 134367 w 769143"/>
                    <a:gd name="connsiteY28" fmla="*/ 276981 h 659607"/>
                    <a:gd name="connsiteX29" fmla="*/ 529827 w 769143"/>
                    <a:gd name="connsiteY29" fmla="*/ 0 h 659607"/>
                    <a:gd name="connsiteX30" fmla="*/ 664368 w 769143"/>
                    <a:gd name="connsiteY30" fmla="*/ 134541 h 659607"/>
                    <a:gd name="connsiteX31" fmla="*/ 529827 w 769143"/>
                    <a:gd name="connsiteY31" fmla="*/ 269082 h 659607"/>
                    <a:gd name="connsiteX32" fmla="*/ 395286 w 769143"/>
                    <a:gd name="connsiteY32" fmla="*/ 134541 h 659607"/>
                    <a:gd name="connsiteX33" fmla="*/ 529827 w 769143"/>
                    <a:gd name="connsiteY33" fmla="*/ 0 h 659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9143" h="659607">
                      <a:moveTo>
                        <a:pt x="20235" y="443405"/>
                      </a:moveTo>
                      <a:lnTo>
                        <a:pt x="84659" y="443405"/>
                      </a:lnTo>
                      <a:lnTo>
                        <a:pt x="133712" y="527981"/>
                      </a:lnTo>
                      <a:lnTo>
                        <a:pt x="182766" y="443405"/>
                      </a:lnTo>
                      <a:lnTo>
                        <a:pt x="251228" y="443405"/>
                      </a:lnTo>
                      <a:cubicBezTo>
                        <a:pt x="262403" y="443405"/>
                        <a:pt x="271462" y="452464"/>
                        <a:pt x="271462" y="463640"/>
                      </a:cubicBezTo>
                      <a:lnTo>
                        <a:pt x="271462" y="634610"/>
                      </a:lnTo>
                      <a:cubicBezTo>
                        <a:pt x="271462" y="645786"/>
                        <a:pt x="262403" y="654845"/>
                        <a:pt x="251228" y="654845"/>
                      </a:cubicBezTo>
                      <a:lnTo>
                        <a:pt x="20235" y="654845"/>
                      </a:lnTo>
                      <a:cubicBezTo>
                        <a:pt x="9060" y="654845"/>
                        <a:pt x="0" y="645786"/>
                        <a:pt x="0" y="634610"/>
                      </a:cubicBezTo>
                      <a:lnTo>
                        <a:pt x="0" y="463640"/>
                      </a:lnTo>
                      <a:cubicBezTo>
                        <a:pt x="0" y="452464"/>
                        <a:pt x="9060" y="443405"/>
                        <a:pt x="20235" y="443405"/>
                      </a:cubicBezTo>
                      <a:close/>
                      <a:moveTo>
                        <a:pt x="330596" y="290513"/>
                      </a:moveTo>
                      <a:lnTo>
                        <a:pt x="443055" y="290513"/>
                      </a:lnTo>
                      <a:lnTo>
                        <a:pt x="528684" y="438150"/>
                      </a:lnTo>
                      <a:lnTo>
                        <a:pt x="614314" y="290513"/>
                      </a:lnTo>
                      <a:lnTo>
                        <a:pt x="733821" y="290513"/>
                      </a:lnTo>
                      <a:cubicBezTo>
                        <a:pt x="753329" y="290513"/>
                        <a:pt x="769143" y="306327"/>
                        <a:pt x="769143" y="325835"/>
                      </a:cubicBezTo>
                      <a:lnTo>
                        <a:pt x="769143" y="624285"/>
                      </a:lnTo>
                      <a:cubicBezTo>
                        <a:pt x="769143" y="643793"/>
                        <a:pt x="753329" y="659607"/>
                        <a:pt x="733821" y="659607"/>
                      </a:cubicBezTo>
                      <a:lnTo>
                        <a:pt x="330596" y="659607"/>
                      </a:lnTo>
                      <a:cubicBezTo>
                        <a:pt x="311088" y="659607"/>
                        <a:pt x="295274" y="643793"/>
                        <a:pt x="295274" y="624285"/>
                      </a:cubicBezTo>
                      <a:lnTo>
                        <a:pt x="295274" y="325835"/>
                      </a:lnTo>
                      <a:cubicBezTo>
                        <a:pt x="295274" y="306327"/>
                        <a:pt x="311088" y="290513"/>
                        <a:pt x="330596" y="290513"/>
                      </a:cubicBezTo>
                      <a:close/>
                      <a:moveTo>
                        <a:pt x="134367" y="276981"/>
                      </a:moveTo>
                      <a:cubicBezTo>
                        <a:pt x="176934" y="276981"/>
                        <a:pt x="211441" y="311488"/>
                        <a:pt x="211441" y="354055"/>
                      </a:cubicBezTo>
                      <a:cubicBezTo>
                        <a:pt x="211441" y="396621"/>
                        <a:pt x="176934" y="431128"/>
                        <a:pt x="134367" y="431128"/>
                      </a:cubicBezTo>
                      <a:cubicBezTo>
                        <a:pt x="91800" y="431128"/>
                        <a:pt x="57293" y="396621"/>
                        <a:pt x="57293" y="354055"/>
                      </a:cubicBezTo>
                      <a:cubicBezTo>
                        <a:pt x="57293" y="311488"/>
                        <a:pt x="91800" y="276981"/>
                        <a:pt x="134367" y="276981"/>
                      </a:cubicBezTo>
                      <a:close/>
                      <a:moveTo>
                        <a:pt x="529827" y="0"/>
                      </a:moveTo>
                      <a:cubicBezTo>
                        <a:pt x="604132" y="0"/>
                        <a:pt x="664368" y="60236"/>
                        <a:pt x="664368" y="134541"/>
                      </a:cubicBezTo>
                      <a:cubicBezTo>
                        <a:pt x="664368" y="208846"/>
                        <a:pt x="604132" y="269082"/>
                        <a:pt x="529827" y="269082"/>
                      </a:cubicBezTo>
                      <a:cubicBezTo>
                        <a:pt x="455522" y="269082"/>
                        <a:pt x="395286" y="208846"/>
                        <a:pt x="395286" y="134541"/>
                      </a:cubicBezTo>
                      <a:cubicBezTo>
                        <a:pt x="395286" y="60236"/>
                        <a:pt x="455522" y="0"/>
                        <a:pt x="529827"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grpSp>
        <p:grpSp>
          <p:nvGrpSpPr>
            <p:cNvPr id="15" name="Group 14"/>
            <p:cNvGrpSpPr/>
            <p:nvPr/>
          </p:nvGrpSpPr>
          <p:grpSpPr>
            <a:xfrm>
              <a:off x="1525742" y="5237334"/>
              <a:ext cx="861746" cy="356066"/>
              <a:chOff x="1815887" y="5237334"/>
              <a:chExt cx="861746" cy="356066"/>
            </a:xfrm>
          </p:grpSpPr>
          <p:sp>
            <p:nvSpPr>
              <p:cNvPr id="62" name="Rectangle 61"/>
              <p:cNvSpPr/>
              <p:nvPr/>
            </p:nvSpPr>
            <p:spPr bwMode="auto">
              <a:xfrm>
                <a:off x="1815887" y="5237334"/>
                <a:ext cx="861746" cy="35606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Container</a:t>
                </a:r>
              </a:p>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Service</a:t>
                </a:r>
              </a:p>
            </p:txBody>
          </p:sp>
          <p:grpSp>
            <p:nvGrpSpPr>
              <p:cNvPr id="412" name="Group 411"/>
              <p:cNvGrpSpPr/>
              <p:nvPr/>
            </p:nvGrpSpPr>
            <p:grpSpPr>
              <a:xfrm>
                <a:off x="1854319" y="5310201"/>
                <a:ext cx="221053" cy="170255"/>
                <a:chOff x="1410342" y="5288934"/>
                <a:chExt cx="294653" cy="226942"/>
              </a:xfrm>
            </p:grpSpPr>
            <p:grpSp>
              <p:nvGrpSpPr>
                <p:cNvPr id="402" name="Group 401"/>
                <p:cNvGrpSpPr/>
                <p:nvPr/>
              </p:nvGrpSpPr>
              <p:grpSpPr>
                <a:xfrm>
                  <a:off x="1428991" y="5308456"/>
                  <a:ext cx="97032" cy="104039"/>
                  <a:chOff x="1286878" y="3925073"/>
                  <a:chExt cx="291844" cy="312918"/>
                </a:xfrm>
                <a:solidFill>
                  <a:schemeClr val="bg1"/>
                </a:solidFill>
              </p:grpSpPr>
              <p:sp>
                <p:nvSpPr>
                  <p:cNvPr id="397" name="Diamond 396"/>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sp>
                <p:nvSpPr>
                  <p:cNvPr id="398" name="Diamond 397"/>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sp>
                <p:nvSpPr>
                  <p:cNvPr id="399" name="Diamond 398"/>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sp>
              <p:nvSpPr>
                <p:cNvPr id="403" name="Rounded Rectangle 402"/>
                <p:cNvSpPr/>
                <p:nvPr/>
              </p:nvSpPr>
              <p:spPr bwMode="auto">
                <a:xfrm>
                  <a:off x="1410342" y="5288934"/>
                  <a:ext cx="294653" cy="226942"/>
                </a:xfrm>
                <a:prstGeom prst="roundRect">
                  <a:avLst>
                    <a:gd name="adj" fmla="val 9184"/>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nvGrpSpPr>
                <p:cNvPr id="404" name="Group 403"/>
                <p:cNvGrpSpPr/>
                <p:nvPr/>
              </p:nvGrpSpPr>
              <p:grpSpPr>
                <a:xfrm>
                  <a:off x="1573839" y="5308987"/>
                  <a:ext cx="97032" cy="104039"/>
                  <a:chOff x="1286878" y="3925073"/>
                  <a:chExt cx="291844" cy="312918"/>
                </a:xfrm>
                <a:solidFill>
                  <a:schemeClr val="bg1"/>
                </a:solidFill>
              </p:grpSpPr>
              <p:sp>
                <p:nvSpPr>
                  <p:cNvPr id="405" name="Diamond 404"/>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sp>
                <p:nvSpPr>
                  <p:cNvPr id="406" name="Diamond 405"/>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sp>
                <p:nvSpPr>
                  <p:cNvPr id="407" name="Diamond 406"/>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grpSp>
              <p:nvGrpSpPr>
                <p:cNvPr id="408" name="Group 407"/>
                <p:cNvGrpSpPr/>
                <p:nvPr/>
              </p:nvGrpSpPr>
              <p:grpSpPr>
                <a:xfrm>
                  <a:off x="1505369" y="5390438"/>
                  <a:ext cx="97032" cy="104039"/>
                  <a:chOff x="1286878" y="3925073"/>
                  <a:chExt cx="291844" cy="312918"/>
                </a:xfrm>
                <a:solidFill>
                  <a:schemeClr val="bg1"/>
                </a:solidFill>
              </p:grpSpPr>
              <p:sp>
                <p:nvSpPr>
                  <p:cNvPr id="409" name="Diamond 408"/>
                  <p:cNvSpPr/>
                  <p:nvPr/>
                </p:nvSpPr>
                <p:spPr bwMode="auto">
                  <a:xfrm rot="19690132">
                    <a:off x="1286878" y="3991205"/>
                    <a:ext cx="148048" cy="245585"/>
                  </a:xfrm>
                  <a:prstGeom prst="diamond">
                    <a:avLst/>
                  </a:prstGeom>
                  <a:grpFill/>
                  <a:ln>
                    <a:noFill/>
                    <a:headEnd type="none" w="med" len="med"/>
                    <a:tailEnd type="none" w="med" len="med"/>
                  </a:ln>
                  <a:effectLst/>
                  <a:scene3d>
                    <a:camera prst="orthographicFront">
                      <a:rot lat="899860" lon="21583921" rev="2154000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sp>
                <p:nvSpPr>
                  <p:cNvPr id="410" name="Diamond 409"/>
                  <p:cNvSpPr/>
                  <p:nvPr/>
                </p:nvSpPr>
                <p:spPr bwMode="auto">
                  <a:xfrm rot="1935408">
                    <a:off x="1424781" y="3991343"/>
                    <a:ext cx="153941" cy="246648"/>
                  </a:xfrm>
                  <a:prstGeom prst="diamond">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sp>
                <p:nvSpPr>
                  <p:cNvPr id="411" name="Diamond 410"/>
                  <p:cNvSpPr/>
                  <p:nvPr/>
                </p:nvSpPr>
                <p:spPr bwMode="auto">
                  <a:xfrm rot="5400000">
                    <a:off x="1355358" y="3879251"/>
                    <a:ext cx="153941" cy="245585"/>
                  </a:xfrm>
                  <a:prstGeom prst="diamond">
                    <a:avLst/>
                  </a:prstGeom>
                  <a:grpFill/>
                  <a:ln>
                    <a:noFill/>
                    <a:headEnd type="none" w="med" len="med"/>
                    <a:tailEnd type="none" w="med" len="med"/>
                  </a:ln>
                  <a:effectLst/>
                  <a:scene3d>
                    <a:camera prst="orthographicFront">
                      <a:rot lat="21599979" lon="2400000" rev="0"/>
                    </a:camera>
                    <a:lightRig rig="threePt" dir="t"/>
                  </a:scene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grpSp>
        </p:grpSp>
        <p:grpSp>
          <p:nvGrpSpPr>
            <p:cNvPr id="23" name="Group 22"/>
            <p:cNvGrpSpPr/>
            <p:nvPr/>
          </p:nvGrpSpPr>
          <p:grpSpPr>
            <a:xfrm>
              <a:off x="7811112" y="5230981"/>
              <a:ext cx="691304" cy="346426"/>
              <a:chOff x="7811112" y="5230981"/>
              <a:chExt cx="691304" cy="346426"/>
            </a:xfrm>
          </p:grpSpPr>
          <p:sp>
            <p:nvSpPr>
              <p:cNvPr id="30" name="Rectangle 29"/>
              <p:cNvSpPr/>
              <p:nvPr/>
            </p:nvSpPr>
            <p:spPr bwMode="auto">
              <a:xfrm>
                <a:off x="7811112" y="5230981"/>
                <a:ext cx="691304"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DNS</a:t>
                </a:r>
              </a:p>
            </p:txBody>
          </p:sp>
          <p:pic>
            <p:nvPicPr>
              <p:cNvPr id="4" name="Picture 3"/>
              <p:cNvPicPr>
                <a:picLocks noChangeAspect="1"/>
              </p:cNvPicPr>
              <p:nvPr/>
            </p:nvPicPr>
            <p:blipFill>
              <a:blip r:embed="rId40" cstate="print">
                <a:biLevel thresh="25000"/>
                <a:extLst>
                  <a:ext uri="{28A0092B-C50C-407E-A947-70E740481C1C}">
                    <a14:useLocalDpi xmlns:a14="http://schemas.microsoft.com/office/drawing/2010/main" val="0"/>
                  </a:ext>
                </a:extLst>
              </a:blip>
              <a:stretch>
                <a:fillRect/>
              </a:stretch>
            </p:blipFill>
            <p:spPr>
              <a:xfrm>
                <a:off x="7860724" y="5289060"/>
                <a:ext cx="211665" cy="211665"/>
              </a:xfrm>
              <a:prstGeom prst="rect">
                <a:avLst/>
              </a:prstGeom>
            </p:spPr>
          </p:pic>
        </p:grpSp>
        <p:grpSp>
          <p:nvGrpSpPr>
            <p:cNvPr id="240" name="Group 239"/>
            <p:cNvGrpSpPr/>
            <p:nvPr/>
          </p:nvGrpSpPr>
          <p:grpSpPr>
            <a:xfrm>
              <a:off x="10458248" y="5230981"/>
              <a:ext cx="870398" cy="346426"/>
              <a:chOff x="10458248" y="5230981"/>
              <a:chExt cx="870398" cy="346426"/>
            </a:xfrm>
          </p:grpSpPr>
          <p:sp>
            <p:nvSpPr>
              <p:cNvPr id="34" name="Rectangle 33"/>
              <p:cNvSpPr/>
              <p:nvPr/>
            </p:nvSpPr>
            <p:spPr bwMode="auto">
              <a:xfrm>
                <a:off x="10458248" y="5230981"/>
                <a:ext cx="870398" cy="346426"/>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VPN Gateway</a:t>
                </a:r>
              </a:p>
            </p:txBody>
          </p:sp>
          <p:pic>
            <p:nvPicPr>
              <p:cNvPr id="10" name="Picture 9"/>
              <p:cNvPicPr>
                <a:picLocks noChangeAspect="1"/>
              </p:cNvPicPr>
              <p:nvPr/>
            </p:nvPicPr>
            <p:blipFill>
              <a:blip r:embed="rId41" cstate="print">
                <a:biLevel thresh="25000"/>
                <a:extLst>
                  <a:ext uri="{28A0092B-C50C-407E-A947-70E740481C1C}">
                    <a14:useLocalDpi xmlns:a14="http://schemas.microsoft.com/office/drawing/2010/main" val="0"/>
                  </a:ext>
                </a:extLst>
              </a:blip>
              <a:stretch>
                <a:fillRect/>
              </a:stretch>
            </p:blipFill>
            <p:spPr>
              <a:xfrm>
                <a:off x="10460633" y="5267779"/>
                <a:ext cx="241495" cy="241495"/>
              </a:xfrm>
              <a:prstGeom prst="rect">
                <a:avLst/>
              </a:prstGeom>
            </p:spPr>
          </p:pic>
        </p:grpSp>
        <p:grpSp>
          <p:nvGrpSpPr>
            <p:cNvPr id="21" name="Group 20"/>
            <p:cNvGrpSpPr/>
            <p:nvPr/>
          </p:nvGrpSpPr>
          <p:grpSpPr>
            <a:xfrm>
              <a:off x="6949070" y="5231313"/>
              <a:ext cx="829620" cy="346180"/>
              <a:chOff x="6949070" y="5231313"/>
              <a:chExt cx="829620" cy="346180"/>
            </a:xfrm>
          </p:grpSpPr>
          <p:sp>
            <p:nvSpPr>
              <p:cNvPr id="29" name="Rectangle 28"/>
              <p:cNvSpPr/>
              <p:nvPr/>
            </p:nvSpPr>
            <p:spPr bwMode="auto">
              <a:xfrm>
                <a:off x="6949070" y="5231313"/>
                <a:ext cx="829620" cy="346180"/>
              </a:xfrm>
              <a:prstGeom prst="rect">
                <a:avLst/>
              </a:prstGeom>
              <a:solidFill>
                <a:srgbClr val="005695"/>
              </a:solidFill>
              <a:ln w="6350" cap="flat" cmpd="sng" algn="ctr">
                <a:noFill/>
                <a:prstDash val="solid"/>
                <a:miter lim="800000"/>
                <a:headEnd type="none" w="med" len="med"/>
                <a:tailEnd type="none" w="med" len="med"/>
              </a:ln>
              <a:effectLst/>
            </p:spPr>
            <p:txBody>
              <a:bodyPr rot="0" spcFirstLastPara="0" vertOverflow="overflow" horzOverflow="overflow" vert="horz" wrap="square" lIns="310896" tIns="45720" rIns="0" bIns="143428" numCol="1" spcCol="0" rtlCol="0" fromWordArt="0" anchor="t" anchorCtr="0" forceAA="0" compatLnSpc="1">
                <a:prstTxWarp prst="textNoShape">
                  <a:avLst/>
                </a:prstTxWarp>
                <a:noAutofit/>
              </a:bodyPr>
              <a:lstStyle/>
              <a:p>
                <a:pPr defTabSz="895923" fontAlgn="base">
                  <a:lnSpc>
                    <a:spcPct val="90000"/>
                  </a:lnSpc>
                  <a:defRPr/>
                </a:pPr>
                <a:r>
                  <a:rPr lang="en-US" sz="800" kern="0" dirty="0">
                    <a:gradFill>
                      <a:gsLst>
                        <a:gs pos="0">
                          <a:srgbClr val="FFFFFF"/>
                        </a:gs>
                        <a:gs pos="100000">
                          <a:srgbClr val="FFFFFF"/>
                        </a:gs>
                      </a:gsLst>
                      <a:lin ang="5400000" scaled="0"/>
                    </a:gradFill>
                    <a:latin typeface="Segoe UI"/>
                    <a:ea typeface="Segoe UI" pitchFamily="34" charset="0"/>
                    <a:cs typeface="Segoe UI" pitchFamily="34" charset="0"/>
                  </a:rPr>
                  <a:t>Load Balancer</a:t>
                </a:r>
              </a:p>
            </p:txBody>
          </p:sp>
          <p:pic>
            <p:nvPicPr>
              <p:cNvPr id="12" name="Picture 11"/>
              <p:cNvPicPr>
                <a:picLocks noChangeAspect="1"/>
              </p:cNvPicPr>
              <p:nvPr/>
            </p:nvPicPr>
            <p:blipFill>
              <a:blip r:embed="rId42" cstate="print">
                <a:biLevel thresh="25000"/>
                <a:extLst>
                  <a:ext uri="{28A0092B-C50C-407E-A947-70E740481C1C}">
                    <a14:useLocalDpi xmlns:a14="http://schemas.microsoft.com/office/drawing/2010/main" val="0"/>
                  </a:ext>
                </a:extLst>
              </a:blip>
              <a:stretch>
                <a:fillRect/>
              </a:stretch>
            </p:blipFill>
            <p:spPr>
              <a:xfrm>
                <a:off x="6988668" y="5270432"/>
                <a:ext cx="238842" cy="238842"/>
              </a:xfrm>
              <a:prstGeom prst="rect">
                <a:avLst/>
              </a:prstGeom>
            </p:spPr>
          </p:pic>
        </p:grpSp>
        <p:grpSp>
          <p:nvGrpSpPr>
            <p:cNvPr id="243" name="Group 242"/>
            <p:cNvGrpSpPr/>
            <p:nvPr/>
          </p:nvGrpSpPr>
          <p:grpSpPr>
            <a:xfrm>
              <a:off x="10708345" y="2051336"/>
              <a:ext cx="1012582" cy="321430"/>
              <a:chOff x="6813227" y="457506"/>
              <a:chExt cx="1012582" cy="321430"/>
            </a:xfrm>
          </p:grpSpPr>
          <p:sp>
            <p:nvSpPr>
              <p:cNvPr id="244" name="TextBox 243"/>
              <p:cNvSpPr txBox="1"/>
              <p:nvPr/>
            </p:nvSpPr>
            <p:spPr>
              <a:xfrm>
                <a:off x="7166653" y="477831"/>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omain Services </a:t>
                </a:r>
                <a:b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br>
                <a:endPar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endParaRPr>
              </a:p>
            </p:txBody>
          </p:sp>
          <p:pic>
            <p:nvPicPr>
              <p:cNvPr id="245" name="Picture 244"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63" name="Group 62"/>
            <p:cNvGrpSpPr/>
            <p:nvPr/>
          </p:nvGrpSpPr>
          <p:grpSpPr>
            <a:xfrm>
              <a:off x="6746387" y="2470108"/>
              <a:ext cx="3718371" cy="1982142"/>
              <a:chOff x="6746387" y="2470108"/>
              <a:chExt cx="3718371" cy="1982142"/>
            </a:xfrm>
          </p:grpSpPr>
          <p:sp>
            <p:nvSpPr>
              <p:cNvPr id="39" name="Rectangle 38"/>
              <p:cNvSpPr/>
              <p:nvPr/>
            </p:nvSpPr>
            <p:spPr bwMode="auto">
              <a:xfrm>
                <a:off x="6746387" y="2470108"/>
                <a:ext cx="3525541" cy="1982142"/>
              </a:xfrm>
              <a:prstGeom prst="rect">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200" b="1" kern="0" dirty="0">
                    <a:gradFill>
                      <a:gsLst>
                        <a:gs pos="0">
                          <a:srgbClr val="FFFFFF"/>
                        </a:gs>
                        <a:gs pos="100000">
                          <a:srgbClr val="FFFFFF"/>
                        </a:gs>
                      </a:gsLst>
                      <a:lin ang="5400000" scaled="0"/>
                    </a:gradFill>
                    <a:latin typeface="Segoe UI"/>
                    <a:ea typeface="Segoe UI" pitchFamily="34" charset="0"/>
                    <a:cs typeface="Segoe UI" pitchFamily="34" charset="0"/>
                  </a:rPr>
                  <a:t>Analytics &amp; </a:t>
                </a:r>
                <a:r>
                  <a:rPr lang="en-US" sz="1200" b="1" kern="0" dirty="0" err="1">
                    <a:gradFill>
                      <a:gsLst>
                        <a:gs pos="0">
                          <a:srgbClr val="FFFFFF"/>
                        </a:gs>
                        <a:gs pos="100000">
                          <a:srgbClr val="FFFFFF"/>
                        </a:gs>
                      </a:gsLst>
                      <a:lin ang="5400000" scaled="0"/>
                    </a:gradFill>
                    <a:latin typeface="Segoe UI"/>
                    <a:ea typeface="Segoe UI" pitchFamily="34" charset="0"/>
                    <a:cs typeface="Segoe UI" pitchFamily="34" charset="0"/>
                  </a:rPr>
                  <a:t>IoT</a:t>
                </a:r>
                <a:endParaRPr lang="en-US" sz="1200" b="1"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81" name="Group 380"/>
              <p:cNvGrpSpPr/>
              <p:nvPr/>
            </p:nvGrpSpPr>
            <p:grpSpPr>
              <a:xfrm>
                <a:off x="6882162" y="2915123"/>
                <a:ext cx="1011681" cy="347362"/>
                <a:chOff x="6000733" y="3432032"/>
                <a:chExt cx="1011681" cy="347362"/>
              </a:xfrm>
            </p:grpSpPr>
            <p:sp>
              <p:nvSpPr>
                <p:cNvPr id="181" name="TextBox 180"/>
                <p:cNvSpPr txBox="1"/>
                <p:nvPr/>
              </p:nvSpPr>
              <p:spPr>
                <a:xfrm>
                  <a:off x="6353258" y="3478289"/>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DInsight</a:t>
                  </a:r>
                </a:p>
              </p:txBody>
            </p:sp>
            <p:pic>
              <p:nvPicPr>
                <p:cNvPr id="182" name="Picture 181"/>
                <p:cNvPicPr>
                  <a:picLocks noChangeAspect="1"/>
                </p:cNvPicPr>
                <p:nvPr/>
              </p:nvPicPr>
              <p:blipFill>
                <a:blip r:embed="rId43" cstate="print">
                  <a:biLevel thresh="25000"/>
                  <a:extLst>
                    <a:ext uri="{28A0092B-C50C-407E-A947-70E740481C1C}">
                      <a14:useLocalDpi xmlns:a14="http://schemas.microsoft.com/office/drawing/2010/main" val="0"/>
                    </a:ext>
                  </a:extLst>
                </a:blip>
                <a:stretch>
                  <a:fillRect/>
                </a:stretch>
              </p:blipFill>
              <p:spPr>
                <a:xfrm>
                  <a:off x="6000733" y="3432032"/>
                  <a:ext cx="296813" cy="296813"/>
                </a:xfrm>
                <a:prstGeom prst="rect">
                  <a:avLst/>
                </a:prstGeom>
              </p:spPr>
            </p:pic>
          </p:grpSp>
          <p:grpSp>
            <p:nvGrpSpPr>
              <p:cNvPr id="382" name="Group 381"/>
              <p:cNvGrpSpPr/>
              <p:nvPr/>
            </p:nvGrpSpPr>
            <p:grpSpPr>
              <a:xfrm>
                <a:off x="7737159" y="2963510"/>
                <a:ext cx="951185" cy="301105"/>
                <a:chOff x="6855730" y="3480419"/>
                <a:chExt cx="951185" cy="301105"/>
              </a:xfrm>
            </p:grpSpPr>
            <p:sp>
              <p:nvSpPr>
                <p:cNvPr id="183" name="TextBox 182"/>
                <p:cNvSpPr txBox="1"/>
                <p:nvPr/>
              </p:nvSpPr>
              <p:spPr>
                <a:xfrm>
                  <a:off x="7147759" y="3480419"/>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chin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earning</a:t>
                  </a:r>
                </a:p>
              </p:txBody>
            </p:sp>
            <p:pic>
              <p:nvPicPr>
                <p:cNvPr id="184" name="Picture 183"/>
                <p:cNvPicPr>
                  <a:picLocks noChangeAspect="1"/>
                </p:cNvPicPr>
                <p:nvPr/>
              </p:nvPicPr>
              <p:blipFill>
                <a:blip r:embed="rId44" cstate="print">
                  <a:biLevel thresh="25000"/>
                  <a:extLst>
                    <a:ext uri="{28A0092B-C50C-407E-A947-70E740481C1C}">
                      <a14:useLocalDpi xmlns:a14="http://schemas.microsoft.com/office/drawing/2010/main" val="0"/>
                    </a:ext>
                  </a:extLst>
                </a:blip>
                <a:stretch>
                  <a:fillRect/>
                </a:stretch>
              </p:blipFill>
              <p:spPr>
                <a:xfrm>
                  <a:off x="6855730" y="3501575"/>
                  <a:ext cx="248544" cy="248544"/>
                </a:xfrm>
                <a:prstGeom prst="rect">
                  <a:avLst/>
                </a:prstGeom>
              </p:spPr>
            </p:pic>
          </p:grpSp>
          <p:grpSp>
            <p:nvGrpSpPr>
              <p:cNvPr id="7" name="Group 6"/>
              <p:cNvGrpSpPr/>
              <p:nvPr/>
            </p:nvGrpSpPr>
            <p:grpSpPr>
              <a:xfrm>
                <a:off x="8577295" y="2946728"/>
                <a:ext cx="1002732" cy="320341"/>
                <a:chOff x="8577295" y="3022928"/>
                <a:chExt cx="1002732" cy="320341"/>
              </a:xfrm>
            </p:grpSpPr>
            <p:sp>
              <p:nvSpPr>
                <p:cNvPr id="185" name="TextBox 184"/>
                <p:cNvSpPr txBox="1"/>
                <p:nvPr/>
              </p:nvSpPr>
              <p:spPr>
                <a:xfrm>
                  <a:off x="8920871" y="3042164"/>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ream</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nalytics</a:t>
                  </a:r>
                </a:p>
              </p:txBody>
            </p:sp>
            <p:pic>
              <p:nvPicPr>
                <p:cNvPr id="186" name="Picture 185"/>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8577295" y="3022928"/>
                  <a:ext cx="310547" cy="310546"/>
                </a:xfrm>
                <a:prstGeom prst="rect">
                  <a:avLst/>
                </a:prstGeom>
              </p:spPr>
            </p:pic>
          </p:grpSp>
          <p:grpSp>
            <p:nvGrpSpPr>
              <p:cNvPr id="14" name="Group 13"/>
              <p:cNvGrpSpPr/>
              <p:nvPr/>
            </p:nvGrpSpPr>
            <p:grpSpPr>
              <a:xfrm>
                <a:off x="7143622" y="3482597"/>
                <a:ext cx="1002965" cy="334571"/>
                <a:chOff x="6886447" y="3615947"/>
                <a:chExt cx="1002965" cy="334571"/>
              </a:xfrm>
            </p:grpSpPr>
            <p:sp>
              <p:nvSpPr>
                <p:cNvPr id="187" name="TextBox 186"/>
                <p:cNvSpPr txBox="1"/>
                <p:nvPr/>
              </p:nvSpPr>
              <p:spPr>
                <a:xfrm>
                  <a:off x="7230256" y="3649413"/>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Factory</a:t>
                  </a:r>
                </a:p>
              </p:txBody>
            </p:sp>
            <p:pic>
              <p:nvPicPr>
                <p:cNvPr id="188" name="Picture 187"/>
                <p:cNvPicPr>
                  <a:picLocks noChangeAspect="1"/>
                </p:cNvPicPr>
                <p:nvPr/>
              </p:nvPicPr>
              <p:blipFill>
                <a:blip r:embed="rId46" cstate="print">
                  <a:biLevel thresh="25000"/>
                  <a:extLst>
                    <a:ext uri="{28A0092B-C50C-407E-A947-70E740481C1C}">
                      <a14:useLocalDpi xmlns:a14="http://schemas.microsoft.com/office/drawing/2010/main" val="0"/>
                    </a:ext>
                  </a:extLst>
                </a:blip>
                <a:stretch>
                  <a:fillRect/>
                </a:stretch>
              </p:blipFill>
              <p:spPr>
                <a:xfrm>
                  <a:off x="6886447" y="3615947"/>
                  <a:ext cx="302121" cy="302121"/>
                </a:xfrm>
                <a:prstGeom prst="rect">
                  <a:avLst/>
                </a:prstGeom>
              </p:spPr>
            </p:pic>
          </p:grpSp>
          <p:grpSp>
            <p:nvGrpSpPr>
              <p:cNvPr id="385" name="Group 384"/>
              <p:cNvGrpSpPr/>
              <p:nvPr/>
            </p:nvGrpSpPr>
            <p:grpSpPr>
              <a:xfrm>
                <a:off x="7981457" y="3490536"/>
                <a:ext cx="1005670" cy="327678"/>
                <a:chOff x="6842853" y="4064595"/>
                <a:chExt cx="1005670" cy="327678"/>
              </a:xfrm>
            </p:grpSpPr>
            <p:sp>
              <p:nvSpPr>
                <p:cNvPr id="189" name="TextBox 188"/>
                <p:cNvSpPr txBox="1"/>
                <p:nvPr/>
              </p:nvSpPr>
              <p:spPr>
                <a:xfrm>
                  <a:off x="7189367" y="4091168"/>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vent</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Hubs</a:t>
                  </a:r>
                </a:p>
              </p:txBody>
            </p:sp>
            <p:pic>
              <p:nvPicPr>
                <p:cNvPr id="190" name="Picture 189"/>
                <p:cNvPicPr>
                  <a:picLocks noChangeAspect="1"/>
                </p:cNvPicPr>
                <p:nvPr/>
              </p:nvPicPr>
              <p:blipFill>
                <a:blip r:embed="rId47" cstate="print">
                  <a:biLevel thresh="25000"/>
                  <a:extLst>
                    <a:ext uri="{28A0092B-C50C-407E-A947-70E740481C1C}">
                      <a14:useLocalDpi xmlns:a14="http://schemas.microsoft.com/office/drawing/2010/main" val="0"/>
                    </a:ext>
                  </a:extLst>
                </a:blip>
                <a:stretch>
                  <a:fillRect/>
                </a:stretch>
              </p:blipFill>
              <p:spPr>
                <a:xfrm>
                  <a:off x="6842853" y="4064595"/>
                  <a:ext cx="296417" cy="296417"/>
                </a:xfrm>
                <a:prstGeom prst="rect">
                  <a:avLst/>
                </a:prstGeom>
              </p:spPr>
            </p:pic>
          </p:grpSp>
          <p:grpSp>
            <p:nvGrpSpPr>
              <p:cNvPr id="386" name="Group 385"/>
              <p:cNvGrpSpPr/>
              <p:nvPr/>
            </p:nvGrpSpPr>
            <p:grpSpPr>
              <a:xfrm>
                <a:off x="8607766" y="4012490"/>
                <a:ext cx="989338" cy="296656"/>
                <a:chOff x="7373912" y="4453199"/>
                <a:chExt cx="989338" cy="296656"/>
              </a:xfrm>
            </p:grpSpPr>
            <p:sp>
              <p:nvSpPr>
                <p:cNvPr id="191" name="TextBox 190"/>
                <p:cNvSpPr txBox="1"/>
                <p:nvPr/>
              </p:nvSpPr>
              <p:spPr>
                <a:xfrm>
                  <a:off x="7704094" y="4468694"/>
                  <a:ext cx="659156" cy="258458"/>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obil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Engagement</a:t>
                  </a:r>
                </a:p>
              </p:txBody>
            </p:sp>
            <p:pic>
              <p:nvPicPr>
                <p:cNvPr id="192" name="Picture 191"/>
                <p:cNvPicPr>
                  <a:picLocks noChangeAspect="1"/>
                </p:cNvPicPr>
                <p:nvPr/>
              </p:nvPicPr>
              <p:blipFill>
                <a:blip r:embed="rId48" cstate="print">
                  <a:biLevel thresh="25000"/>
                  <a:extLst>
                    <a:ext uri="{28A0092B-C50C-407E-A947-70E740481C1C}">
                      <a14:useLocalDpi xmlns:a14="http://schemas.microsoft.com/office/drawing/2010/main" val="0"/>
                    </a:ext>
                  </a:extLst>
                </a:blip>
                <a:stretch>
                  <a:fillRect/>
                </a:stretch>
              </p:blipFill>
              <p:spPr>
                <a:xfrm>
                  <a:off x="7373912" y="4453199"/>
                  <a:ext cx="296656" cy="296656"/>
                </a:xfrm>
                <a:prstGeom prst="rect">
                  <a:avLst/>
                </a:prstGeom>
              </p:spPr>
            </p:pic>
          </p:grpSp>
          <p:grpSp>
            <p:nvGrpSpPr>
              <p:cNvPr id="8" name="Group 7"/>
              <p:cNvGrpSpPr/>
              <p:nvPr/>
            </p:nvGrpSpPr>
            <p:grpSpPr>
              <a:xfrm>
                <a:off x="9565545" y="2966401"/>
                <a:ext cx="899213" cy="301105"/>
                <a:chOff x="9565545" y="3042601"/>
                <a:chExt cx="899213" cy="301105"/>
              </a:xfrm>
            </p:grpSpPr>
            <p:sp>
              <p:nvSpPr>
                <p:cNvPr id="251" name="TextBox 250"/>
                <p:cNvSpPr txBox="1"/>
                <p:nvPr/>
              </p:nvSpPr>
              <p:spPr>
                <a:xfrm>
                  <a:off x="9805602" y="3042601"/>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Lake</a:t>
                  </a:r>
                </a:p>
              </p:txBody>
            </p:sp>
            <p:sp>
              <p:nvSpPr>
                <p:cNvPr id="250" name="Freeform 249"/>
                <p:cNvSpPr/>
                <p:nvPr/>
              </p:nvSpPr>
              <p:spPr bwMode="auto">
                <a:xfrm>
                  <a:off x="9565545" y="3050497"/>
                  <a:ext cx="197023" cy="271168"/>
                </a:xfrm>
                <a:custGeom>
                  <a:avLst/>
                  <a:gdLst>
                    <a:gd name="connsiteX0" fmla="*/ 438796 w 667945"/>
                    <a:gd name="connsiteY0" fmla="*/ 474896 h 919312"/>
                    <a:gd name="connsiteX1" fmla="*/ 457731 w 667945"/>
                    <a:gd name="connsiteY1" fmla="*/ 501690 h 919312"/>
                    <a:gd name="connsiteX2" fmla="*/ 503146 w 667945"/>
                    <a:gd name="connsiteY2" fmla="*/ 530902 h 919312"/>
                    <a:gd name="connsiteX3" fmla="*/ 556703 w 667945"/>
                    <a:gd name="connsiteY3" fmla="*/ 541217 h 919312"/>
                    <a:gd name="connsiteX4" fmla="*/ 560815 w 667945"/>
                    <a:gd name="connsiteY4" fmla="*/ 541217 h 919312"/>
                    <a:gd name="connsiteX5" fmla="*/ 614373 w 667945"/>
                    <a:gd name="connsiteY5" fmla="*/ 530902 h 919312"/>
                    <a:gd name="connsiteX6" fmla="*/ 659787 w 667945"/>
                    <a:gd name="connsiteY6" fmla="*/ 501690 h 919312"/>
                    <a:gd name="connsiteX7" fmla="*/ 667943 w 667945"/>
                    <a:gd name="connsiteY7" fmla="*/ 490150 h 919312"/>
                    <a:gd name="connsiteX8" fmla="*/ 667943 w 667945"/>
                    <a:gd name="connsiteY8" fmla="*/ 804964 h 919312"/>
                    <a:gd name="connsiteX9" fmla="*/ 665702 w 667945"/>
                    <a:gd name="connsiteY9" fmla="*/ 804964 h 919312"/>
                    <a:gd name="connsiteX10" fmla="*/ 667944 w 667945"/>
                    <a:gd name="connsiteY10" fmla="*/ 812105 h 919312"/>
                    <a:gd name="connsiteX11" fmla="*/ 333972 w 667945"/>
                    <a:gd name="connsiteY11" fmla="*/ 919312 h 919312"/>
                    <a:gd name="connsiteX12" fmla="*/ 0 w 667945"/>
                    <a:gd name="connsiteY12" fmla="*/ 812105 h 919312"/>
                    <a:gd name="connsiteX13" fmla="*/ 2243 w 667945"/>
                    <a:gd name="connsiteY13" fmla="*/ 804964 h 919312"/>
                    <a:gd name="connsiteX14" fmla="*/ 0 w 667945"/>
                    <a:gd name="connsiteY14" fmla="*/ 804964 h 919312"/>
                    <a:gd name="connsiteX15" fmla="*/ 0 w 667945"/>
                    <a:gd name="connsiteY15" fmla="*/ 506436 h 919312"/>
                    <a:gd name="connsiteX16" fmla="*/ 38038 w 667945"/>
                    <a:gd name="connsiteY16" fmla="*/ 530902 h 919312"/>
                    <a:gd name="connsiteX17" fmla="*/ 91595 w 667945"/>
                    <a:gd name="connsiteY17" fmla="*/ 541217 h 919312"/>
                    <a:gd name="connsiteX18" fmla="*/ 95707 w 667945"/>
                    <a:gd name="connsiteY18" fmla="*/ 541217 h 919312"/>
                    <a:gd name="connsiteX19" fmla="*/ 149265 w 667945"/>
                    <a:gd name="connsiteY19" fmla="*/ 530902 h 919312"/>
                    <a:gd name="connsiteX20" fmla="*/ 194679 w 667945"/>
                    <a:gd name="connsiteY20" fmla="*/ 501690 h 919312"/>
                    <a:gd name="connsiteX21" fmla="*/ 206242 w 667945"/>
                    <a:gd name="connsiteY21" fmla="*/ 485329 h 919312"/>
                    <a:gd name="connsiteX22" fmla="*/ 217804 w 667945"/>
                    <a:gd name="connsiteY22" fmla="*/ 501690 h 919312"/>
                    <a:gd name="connsiteX23" fmla="*/ 263219 w 667945"/>
                    <a:gd name="connsiteY23" fmla="*/ 530902 h 919312"/>
                    <a:gd name="connsiteX24" fmla="*/ 316776 w 667945"/>
                    <a:gd name="connsiteY24" fmla="*/ 541217 h 919312"/>
                    <a:gd name="connsiteX25" fmla="*/ 320888 w 667945"/>
                    <a:gd name="connsiteY25" fmla="*/ 541217 h 919312"/>
                    <a:gd name="connsiteX26" fmla="*/ 374446 w 667945"/>
                    <a:gd name="connsiteY26" fmla="*/ 530902 h 919312"/>
                    <a:gd name="connsiteX27" fmla="*/ 419860 w 667945"/>
                    <a:gd name="connsiteY27" fmla="*/ 501690 h 919312"/>
                    <a:gd name="connsiteX28" fmla="*/ 333973 w 667945"/>
                    <a:gd name="connsiteY28" fmla="*/ 35821 h 919312"/>
                    <a:gd name="connsiteX29" fmla="*/ 95251 w 667945"/>
                    <a:gd name="connsiteY29" fmla="*/ 106570 h 919312"/>
                    <a:gd name="connsiteX30" fmla="*/ 333973 w 667945"/>
                    <a:gd name="connsiteY30" fmla="*/ 177319 h 919312"/>
                    <a:gd name="connsiteX31" fmla="*/ 572695 w 667945"/>
                    <a:gd name="connsiteY31" fmla="*/ 106570 h 919312"/>
                    <a:gd name="connsiteX32" fmla="*/ 333973 w 667945"/>
                    <a:gd name="connsiteY32" fmla="*/ 35821 h 919312"/>
                    <a:gd name="connsiteX33" fmla="*/ 333973 w 667945"/>
                    <a:gd name="connsiteY33" fmla="*/ 0 h 919312"/>
                    <a:gd name="connsiteX34" fmla="*/ 661160 w 667945"/>
                    <a:gd name="connsiteY34" fmla="*/ 85601 h 919312"/>
                    <a:gd name="connsiteX35" fmla="*/ 667213 w 667945"/>
                    <a:gd name="connsiteY35" fmla="*/ 104877 h 919312"/>
                    <a:gd name="connsiteX36" fmla="*/ 667943 w 667945"/>
                    <a:gd name="connsiteY36" fmla="*/ 104877 h 919312"/>
                    <a:gd name="connsiteX37" fmla="*/ 667943 w 667945"/>
                    <a:gd name="connsiteY37" fmla="*/ 107201 h 919312"/>
                    <a:gd name="connsiteX38" fmla="*/ 667945 w 667945"/>
                    <a:gd name="connsiteY38" fmla="*/ 107207 h 919312"/>
                    <a:gd name="connsiteX39" fmla="*/ 667943 w 667945"/>
                    <a:gd name="connsiteY39" fmla="*/ 107214 h 919312"/>
                    <a:gd name="connsiteX40" fmla="*/ 667943 w 667945"/>
                    <a:gd name="connsiteY40" fmla="*/ 410649 h 919312"/>
                    <a:gd name="connsiteX41" fmla="*/ 659788 w 667945"/>
                    <a:gd name="connsiteY41" fmla="*/ 422188 h 919312"/>
                    <a:gd name="connsiteX42" fmla="*/ 558760 w 667945"/>
                    <a:gd name="connsiteY42" fmla="*/ 462111 h 919312"/>
                    <a:gd name="connsiteX43" fmla="*/ 457732 w 667945"/>
                    <a:gd name="connsiteY43" fmla="*/ 422188 h 919312"/>
                    <a:gd name="connsiteX44" fmla="*/ 438797 w 667945"/>
                    <a:gd name="connsiteY44" fmla="*/ 395394 h 919312"/>
                    <a:gd name="connsiteX45" fmla="*/ 419861 w 667945"/>
                    <a:gd name="connsiteY45" fmla="*/ 422188 h 919312"/>
                    <a:gd name="connsiteX46" fmla="*/ 318833 w 667945"/>
                    <a:gd name="connsiteY46" fmla="*/ 462111 h 919312"/>
                    <a:gd name="connsiteX47" fmla="*/ 217805 w 667945"/>
                    <a:gd name="connsiteY47" fmla="*/ 422188 h 919312"/>
                    <a:gd name="connsiteX48" fmla="*/ 206243 w 667945"/>
                    <a:gd name="connsiteY48" fmla="*/ 405827 h 919312"/>
                    <a:gd name="connsiteX49" fmla="*/ 194680 w 667945"/>
                    <a:gd name="connsiteY49" fmla="*/ 422188 h 919312"/>
                    <a:gd name="connsiteX50" fmla="*/ 93652 w 667945"/>
                    <a:gd name="connsiteY50" fmla="*/ 462111 h 919312"/>
                    <a:gd name="connsiteX51" fmla="*/ 38039 w 667945"/>
                    <a:gd name="connsiteY51" fmla="*/ 451400 h 919312"/>
                    <a:gd name="connsiteX52" fmla="*/ 0 w 667945"/>
                    <a:gd name="connsiteY52" fmla="*/ 426933 h 919312"/>
                    <a:gd name="connsiteX53" fmla="*/ 0 w 667945"/>
                    <a:gd name="connsiteY53" fmla="*/ 104877 h 919312"/>
                    <a:gd name="connsiteX54" fmla="*/ 733 w 667945"/>
                    <a:gd name="connsiteY54" fmla="*/ 104877 h 919312"/>
                    <a:gd name="connsiteX55" fmla="*/ 6786 w 667945"/>
                    <a:gd name="connsiteY55" fmla="*/ 85601 h 919312"/>
                    <a:gd name="connsiteX56" fmla="*/ 333973 w 667945"/>
                    <a:gd name="connsiteY56" fmla="*/ 0 h 91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667945" h="919312">
                      <a:moveTo>
                        <a:pt x="438796" y="474896"/>
                      </a:moveTo>
                      <a:lnTo>
                        <a:pt x="457731" y="501690"/>
                      </a:lnTo>
                      <a:cubicBezTo>
                        <a:pt x="470659" y="514024"/>
                        <a:pt x="486052" y="524004"/>
                        <a:pt x="503146" y="530902"/>
                      </a:cubicBezTo>
                      <a:lnTo>
                        <a:pt x="556703" y="541217"/>
                      </a:lnTo>
                      <a:lnTo>
                        <a:pt x="560815" y="541217"/>
                      </a:lnTo>
                      <a:lnTo>
                        <a:pt x="614373" y="530902"/>
                      </a:lnTo>
                      <a:cubicBezTo>
                        <a:pt x="631466" y="524004"/>
                        <a:pt x="646860" y="514024"/>
                        <a:pt x="659787" y="501690"/>
                      </a:cubicBezTo>
                      <a:lnTo>
                        <a:pt x="667943" y="490150"/>
                      </a:lnTo>
                      <a:lnTo>
                        <a:pt x="667943" y="804964"/>
                      </a:lnTo>
                      <a:lnTo>
                        <a:pt x="665702" y="804964"/>
                      </a:lnTo>
                      <a:lnTo>
                        <a:pt x="667944" y="812105"/>
                      </a:lnTo>
                      <a:cubicBezTo>
                        <a:pt x="667944" y="871314"/>
                        <a:pt x="518420" y="919312"/>
                        <a:pt x="333972" y="919312"/>
                      </a:cubicBezTo>
                      <a:cubicBezTo>
                        <a:pt x="149524" y="919312"/>
                        <a:pt x="0" y="871314"/>
                        <a:pt x="0" y="812105"/>
                      </a:cubicBezTo>
                      <a:lnTo>
                        <a:pt x="2243" y="804964"/>
                      </a:lnTo>
                      <a:lnTo>
                        <a:pt x="0" y="804964"/>
                      </a:lnTo>
                      <a:lnTo>
                        <a:pt x="0" y="506436"/>
                      </a:lnTo>
                      <a:lnTo>
                        <a:pt x="38038" y="530902"/>
                      </a:lnTo>
                      <a:lnTo>
                        <a:pt x="91595" y="541217"/>
                      </a:lnTo>
                      <a:lnTo>
                        <a:pt x="95707" y="541217"/>
                      </a:lnTo>
                      <a:lnTo>
                        <a:pt x="149265" y="530902"/>
                      </a:lnTo>
                      <a:cubicBezTo>
                        <a:pt x="166358" y="524004"/>
                        <a:pt x="181752" y="514024"/>
                        <a:pt x="194679" y="501690"/>
                      </a:cubicBezTo>
                      <a:lnTo>
                        <a:pt x="206242" y="485329"/>
                      </a:lnTo>
                      <a:lnTo>
                        <a:pt x="217804" y="501690"/>
                      </a:lnTo>
                      <a:cubicBezTo>
                        <a:pt x="230732" y="514024"/>
                        <a:pt x="246125" y="524004"/>
                        <a:pt x="263219" y="530902"/>
                      </a:cubicBezTo>
                      <a:lnTo>
                        <a:pt x="316776" y="541217"/>
                      </a:lnTo>
                      <a:lnTo>
                        <a:pt x="320888" y="541217"/>
                      </a:lnTo>
                      <a:lnTo>
                        <a:pt x="374446" y="530902"/>
                      </a:lnTo>
                      <a:cubicBezTo>
                        <a:pt x="391539" y="524004"/>
                        <a:pt x="406933" y="514024"/>
                        <a:pt x="419860" y="501690"/>
                      </a:cubicBezTo>
                      <a:close/>
                      <a:moveTo>
                        <a:pt x="333973" y="35821"/>
                      </a:moveTo>
                      <a:cubicBezTo>
                        <a:pt x="202130" y="35821"/>
                        <a:pt x="95251" y="67496"/>
                        <a:pt x="95251" y="106570"/>
                      </a:cubicBezTo>
                      <a:cubicBezTo>
                        <a:pt x="95251" y="145644"/>
                        <a:pt x="202130" y="177319"/>
                        <a:pt x="333973" y="177319"/>
                      </a:cubicBezTo>
                      <a:cubicBezTo>
                        <a:pt x="465816" y="177319"/>
                        <a:pt x="572695" y="145644"/>
                        <a:pt x="572695" y="106570"/>
                      </a:cubicBezTo>
                      <a:cubicBezTo>
                        <a:pt x="572695" y="67496"/>
                        <a:pt x="465816" y="35821"/>
                        <a:pt x="333973" y="35821"/>
                      </a:cubicBezTo>
                      <a:close/>
                      <a:moveTo>
                        <a:pt x="333973" y="0"/>
                      </a:moveTo>
                      <a:cubicBezTo>
                        <a:pt x="495365" y="0"/>
                        <a:pt x="630018" y="36748"/>
                        <a:pt x="661160" y="85601"/>
                      </a:cubicBezTo>
                      <a:lnTo>
                        <a:pt x="667213" y="104877"/>
                      </a:lnTo>
                      <a:lnTo>
                        <a:pt x="667943" y="104877"/>
                      </a:lnTo>
                      <a:lnTo>
                        <a:pt x="667943" y="107201"/>
                      </a:lnTo>
                      <a:lnTo>
                        <a:pt x="667945" y="107207"/>
                      </a:lnTo>
                      <a:lnTo>
                        <a:pt x="667943" y="107214"/>
                      </a:lnTo>
                      <a:lnTo>
                        <a:pt x="667943" y="410649"/>
                      </a:lnTo>
                      <a:lnTo>
                        <a:pt x="659788" y="422188"/>
                      </a:lnTo>
                      <a:cubicBezTo>
                        <a:pt x="633933" y="446855"/>
                        <a:pt x="598214" y="462111"/>
                        <a:pt x="558760" y="462111"/>
                      </a:cubicBezTo>
                      <a:cubicBezTo>
                        <a:pt x="519306" y="462111"/>
                        <a:pt x="483587" y="446855"/>
                        <a:pt x="457732" y="422188"/>
                      </a:cubicBezTo>
                      <a:lnTo>
                        <a:pt x="438797" y="395394"/>
                      </a:lnTo>
                      <a:lnTo>
                        <a:pt x="419861" y="422188"/>
                      </a:lnTo>
                      <a:cubicBezTo>
                        <a:pt x="394006" y="446855"/>
                        <a:pt x="358287" y="462111"/>
                        <a:pt x="318833" y="462111"/>
                      </a:cubicBezTo>
                      <a:cubicBezTo>
                        <a:pt x="279379" y="462111"/>
                        <a:pt x="243660" y="446855"/>
                        <a:pt x="217805" y="422188"/>
                      </a:cubicBezTo>
                      <a:lnTo>
                        <a:pt x="206243" y="405827"/>
                      </a:lnTo>
                      <a:lnTo>
                        <a:pt x="194680" y="422188"/>
                      </a:lnTo>
                      <a:cubicBezTo>
                        <a:pt x="168825" y="446855"/>
                        <a:pt x="133106" y="462111"/>
                        <a:pt x="93652" y="462111"/>
                      </a:cubicBezTo>
                      <a:cubicBezTo>
                        <a:pt x="73925" y="462111"/>
                        <a:pt x="55132" y="458297"/>
                        <a:pt x="38039" y="451400"/>
                      </a:cubicBezTo>
                      <a:lnTo>
                        <a:pt x="0" y="426933"/>
                      </a:lnTo>
                      <a:lnTo>
                        <a:pt x="0" y="104877"/>
                      </a:lnTo>
                      <a:lnTo>
                        <a:pt x="733" y="104877"/>
                      </a:lnTo>
                      <a:lnTo>
                        <a:pt x="6786" y="85601"/>
                      </a:lnTo>
                      <a:cubicBezTo>
                        <a:pt x="37928" y="36748"/>
                        <a:pt x="172581" y="0"/>
                        <a:pt x="333973"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grpSp>
            <p:nvGrpSpPr>
              <p:cNvPr id="255" name="Group 254"/>
              <p:cNvGrpSpPr/>
              <p:nvPr/>
            </p:nvGrpSpPr>
            <p:grpSpPr>
              <a:xfrm>
                <a:off x="7681297" y="3997243"/>
                <a:ext cx="737589" cy="366384"/>
                <a:chOff x="7328872" y="3997243"/>
                <a:chExt cx="737589" cy="366384"/>
              </a:xfrm>
            </p:grpSpPr>
            <p:pic>
              <p:nvPicPr>
                <p:cNvPr id="6" name="Picture 5"/>
                <p:cNvPicPr>
                  <a:picLocks noChangeAspect="1"/>
                </p:cNvPicPr>
                <p:nvPr/>
              </p:nvPicPr>
              <p:blipFill>
                <a:blip r:embed="rId49" cstate="print">
                  <a:biLevel thresh="25000"/>
                  <a:extLst>
                    <a:ext uri="{28A0092B-C50C-407E-A947-70E740481C1C}">
                      <a14:useLocalDpi xmlns:a14="http://schemas.microsoft.com/office/drawing/2010/main" val="0"/>
                    </a:ext>
                  </a:extLst>
                </a:blip>
                <a:stretch>
                  <a:fillRect/>
                </a:stretch>
              </p:blipFill>
              <p:spPr>
                <a:xfrm>
                  <a:off x="7328872" y="3997243"/>
                  <a:ext cx="309231" cy="309231"/>
                </a:xfrm>
                <a:prstGeom prst="rect">
                  <a:avLst/>
                </a:prstGeom>
              </p:spPr>
            </p:pic>
            <p:sp>
              <p:nvSpPr>
                <p:cNvPr id="248" name="TextBox 247"/>
                <p:cNvSpPr txBox="1"/>
                <p:nvPr/>
              </p:nvSpPr>
              <p:spPr>
                <a:xfrm>
                  <a:off x="7699610" y="4049446"/>
                  <a:ext cx="366851" cy="314181"/>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err="1">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IoT</a:t>
                  </a: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 Hub</a:t>
                  </a:r>
                </a:p>
              </p:txBody>
            </p:sp>
          </p:grpSp>
          <p:grpSp>
            <p:nvGrpSpPr>
              <p:cNvPr id="259" name="Group 258"/>
              <p:cNvGrpSpPr/>
              <p:nvPr/>
            </p:nvGrpSpPr>
            <p:grpSpPr>
              <a:xfrm>
                <a:off x="8911462" y="3483686"/>
                <a:ext cx="1033650" cy="325042"/>
                <a:chOff x="8882887" y="3483686"/>
                <a:chExt cx="1033650" cy="325042"/>
              </a:xfrm>
            </p:grpSpPr>
            <p:sp>
              <p:nvSpPr>
                <p:cNvPr id="260" name="TextBox 259"/>
                <p:cNvSpPr txBox="1"/>
                <p:nvPr/>
              </p:nvSpPr>
              <p:spPr>
                <a:xfrm>
                  <a:off x="9257381" y="3502246"/>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ata </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Catalog</a:t>
                  </a:r>
                </a:p>
              </p:txBody>
            </p:sp>
            <p:pic>
              <p:nvPicPr>
                <p:cNvPr id="261" name="Picture 260"/>
                <p:cNvPicPr>
                  <a:picLocks noChangeAspect="1"/>
                </p:cNvPicPr>
                <p:nvPr/>
              </p:nvPicPr>
              <p:blipFill>
                <a:blip r:embed="rId50" cstate="print">
                  <a:biLevel thresh="25000"/>
                  <a:extLst>
                    <a:ext uri="{28A0092B-C50C-407E-A947-70E740481C1C}">
                      <a14:useLocalDpi xmlns:a14="http://schemas.microsoft.com/office/drawing/2010/main" val="0"/>
                    </a:ext>
                  </a:extLst>
                </a:blip>
                <a:stretch>
                  <a:fillRect/>
                </a:stretch>
              </p:blipFill>
              <p:spPr>
                <a:xfrm>
                  <a:off x="8882887" y="3483686"/>
                  <a:ext cx="325042" cy="325042"/>
                </a:xfrm>
                <a:prstGeom prst="rect">
                  <a:avLst/>
                </a:prstGeom>
              </p:spPr>
            </p:pic>
          </p:grpSp>
        </p:grpSp>
        <p:sp>
          <p:nvSpPr>
            <p:cNvPr id="75" name="Rectangle 74"/>
            <p:cNvSpPr/>
            <p:nvPr/>
          </p:nvSpPr>
          <p:spPr bwMode="auto">
            <a:xfrm>
              <a:off x="355123" y="532357"/>
              <a:ext cx="1547714" cy="4154154"/>
            </a:xfrm>
            <a:prstGeom prst="rect">
              <a:avLst/>
            </a:prstGeom>
            <a:solidFill>
              <a:srgbClr val="1B3C72"/>
            </a:solidFill>
            <a:ln w="6350" cap="flat" cmpd="sng" algn="ctr">
              <a:noFill/>
              <a:prstDash val="solid"/>
              <a:miter lim="800000"/>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5923" fontAlgn="base">
                <a:lnSpc>
                  <a:spcPct val="90000"/>
                </a:lnSpc>
                <a:defRPr/>
              </a:pPr>
              <a:r>
                <a:rPr lang="en-US" sz="1400" b="1" kern="0" dirty="0">
                  <a:solidFill>
                    <a:srgbClr val="FFFFFF"/>
                  </a:solidFill>
                  <a:latin typeface="Segoe UI"/>
                  <a:ea typeface="Segoe UI" pitchFamily="34" charset="0"/>
                  <a:cs typeface="Segoe UI" pitchFamily="34" charset="0"/>
                </a:rPr>
                <a:t>Security &amp; Management</a:t>
              </a:r>
            </a:p>
          </p:txBody>
        </p:sp>
        <p:grpSp>
          <p:nvGrpSpPr>
            <p:cNvPr id="334" name="Group 333"/>
            <p:cNvGrpSpPr/>
            <p:nvPr/>
          </p:nvGrpSpPr>
          <p:grpSpPr>
            <a:xfrm>
              <a:off x="559429" y="1513821"/>
              <a:ext cx="1012582" cy="321430"/>
              <a:chOff x="6813227" y="457506"/>
              <a:chExt cx="1012582" cy="321430"/>
            </a:xfrm>
          </p:grpSpPr>
          <p:sp>
            <p:nvSpPr>
              <p:cNvPr id="193" name="TextBox 192"/>
              <p:cNvSpPr txBox="1"/>
              <p:nvPr/>
            </p:nvSpPr>
            <p:spPr>
              <a:xfrm>
                <a:off x="7166653" y="477831"/>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ctiv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Directory</a:t>
                </a:r>
              </a:p>
            </p:txBody>
          </p:sp>
          <p:pic>
            <p:nvPicPr>
              <p:cNvPr id="194" name="Picture 193"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335" name="Group 334"/>
            <p:cNvGrpSpPr/>
            <p:nvPr/>
          </p:nvGrpSpPr>
          <p:grpSpPr>
            <a:xfrm>
              <a:off x="559429" y="2343272"/>
              <a:ext cx="974572" cy="311021"/>
              <a:chOff x="7922427" y="464301"/>
              <a:chExt cx="974572" cy="311021"/>
            </a:xfrm>
          </p:grpSpPr>
          <p:sp>
            <p:nvSpPr>
              <p:cNvPr id="195" name="TextBox 194"/>
              <p:cNvSpPr txBox="1"/>
              <p:nvPr/>
            </p:nvSpPr>
            <p:spPr>
              <a:xfrm>
                <a:off x="8237843" y="474217"/>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ulti-Factor</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hentication</a:t>
                </a:r>
              </a:p>
            </p:txBody>
          </p:sp>
          <p:pic>
            <p:nvPicPr>
              <p:cNvPr id="196" name="Picture 195" descr="Multi-Factor Authentication.png"/>
              <p:cNvPicPr>
                <a:picLocks noChangeAspect="1"/>
              </p:cNvPicPr>
              <p:nvPr/>
            </p:nvPicPr>
            <p:blipFill>
              <a:blip r:embed="rId51" cstate="print">
                <a:biLevel thresh="25000"/>
                <a:extLst>
                  <a:ext uri="{28A0092B-C50C-407E-A947-70E740481C1C}">
                    <a14:useLocalDpi xmlns:a14="http://schemas.microsoft.com/office/drawing/2010/main" val="0"/>
                  </a:ext>
                </a:extLst>
              </a:blip>
              <a:stretch>
                <a:fillRect/>
              </a:stretch>
            </p:blipFill>
            <p:spPr>
              <a:xfrm>
                <a:off x="7922427" y="464301"/>
                <a:ext cx="288019" cy="288019"/>
              </a:xfrm>
              <a:prstGeom prst="rect">
                <a:avLst/>
              </a:prstGeom>
            </p:spPr>
          </p:pic>
        </p:grpSp>
        <p:grpSp>
          <p:nvGrpSpPr>
            <p:cNvPr id="331" name="Group 330"/>
            <p:cNvGrpSpPr/>
            <p:nvPr/>
          </p:nvGrpSpPr>
          <p:grpSpPr>
            <a:xfrm>
              <a:off x="559429" y="2732241"/>
              <a:ext cx="1008498" cy="337139"/>
              <a:chOff x="2492088" y="428524"/>
              <a:chExt cx="1008498" cy="337139"/>
            </a:xfrm>
          </p:grpSpPr>
          <p:sp>
            <p:nvSpPr>
              <p:cNvPr id="198" name="TextBox 197"/>
              <p:cNvSpPr txBox="1"/>
              <p:nvPr/>
            </p:nvSpPr>
            <p:spPr>
              <a:xfrm>
                <a:off x="2841430" y="464557"/>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utomation</a:t>
                </a:r>
              </a:p>
            </p:txBody>
          </p:sp>
          <p:pic>
            <p:nvPicPr>
              <p:cNvPr id="199" name="Picture 198" descr="Azure automation.png"/>
              <p:cNvPicPr>
                <a:picLocks noChangeAspect="1"/>
              </p:cNvPicPr>
              <p:nvPr/>
            </p:nvPicPr>
            <p:blipFill>
              <a:blip r:embed="rId52" cstate="print">
                <a:biLevel thresh="25000"/>
                <a:extLst>
                  <a:ext uri="{28A0092B-C50C-407E-A947-70E740481C1C}">
                    <a14:useLocalDpi xmlns:a14="http://schemas.microsoft.com/office/drawing/2010/main" val="0"/>
                  </a:ext>
                </a:extLst>
              </a:blip>
              <a:stretch>
                <a:fillRect/>
              </a:stretch>
            </p:blipFill>
            <p:spPr>
              <a:xfrm>
                <a:off x="2492088" y="428524"/>
                <a:ext cx="289607" cy="289607"/>
              </a:xfrm>
              <a:prstGeom prst="rect">
                <a:avLst/>
              </a:prstGeom>
            </p:spPr>
          </p:pic>
        </p:grpSp>
        <p:grpSp>
          <p:nvGrpSpPr>
            <p:cNvPr id="332" name="Group 331"/>
            <p:cNvGrpSpPr/>
            <p:nvPr/>
          </p:nvGrpSpPr>
          <p:grpSpPr>
            <a:xfrm>
              <a:off x="559429" y="1128118"/>
              <a:ext cx="1000133" cy="348052"/>
              <a:chOff x="3528269" y="417611"/>
              <a:chExt cx="1000133" cy="348052"/>
            </a:xfrm>
          </p:grpSpPr>
          <p:sp>
            <p:nvSpPr>
              <p:cNvPr id="200" name="TextBox 199"/>
              <p:cNvSpPr txBox="1"/>
              <p:nvPr/>
            </p:nvSpPr>
            <p:spPr>
              <a:xfrm>
                <a:off x="3869246" y="464557"/>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Portal</a:t>
                </a:r>
              </a:p>
            </p:txBody>
          </p:sp>
          <p:pic>
            <p:nvPicPr>
              <p:cNvPr id="201" name="Picture 200" descr="Azure subscription.png"/>
              <p:cNvPicPr>
                <a:picLocks noChangeAspect="1"/>
              </p:cNvPicPr>
              <p:nvPr/>
            </p:nvPicPr>
            <p:blipFill>
              <a:blip r:embed="rId53" cstate="print">
                <a:biLevel thresh="25000"/>
                <a:extLst>
                  <a:ext uri="{28A0092B-C50C-407E-A947-70E740481C1C}">
                    <a14:useLocalDpi xmlns:a14="http://schemas.microsoft.com/office/drawing/2010/main" val="0"/>
                  </a:ext>
                </a:extLst>
              </a:blip>
              <a:stretch>
                <a:fillRect/>
              </a:stretch>
            </p:blipFill>
            <p:spPr>
              <a:xfrm>
                <a:off x="3528269" y="417611"/>
                <a:ext cx="286236" cy="286236"/>
              </a:xfrm>
              <a:prstGeom prst="rect">
                <a:avLst/>
              </a:prstGeom>
            </p:spPr>
          </p:pic>
        </p:grpSp>
        <p:grpSp>
          <p:nvGrpSpPr>
            <p:cNvPr id="333" name="Group 332"/>
            <p:cNvGrpSpPr/>
            <p:nvPr/>
          </p:nvGrpSpPr>
          <p:grpSpPr>
            <a:xfrm>
              <a:off x="559429" y="3509522"/>
              <a:ext cx="1006664" cy="360438"/>
              <a:chOff x="4552624" y="449871"/>
              <a:chExt cx="1006664" cy="360438"/>
            </a:xfrm>
          </p:grpSpPr>
          <p:sp>
            <p:nvSpPr>
              <p:cNvPr id="204" name="TextBox 203"/>
              <p:cNvSpPr txBox="1"/>
              <p:nvPr/>
            </p:nvSpPr>
            <p:spPr>
              <a:xfrm>
                <a:off x="4900132" y="509203"/>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Key Vault</a:t>
                </a:r>
              </a:p>
            </p:txBody>
          </p:sp>
          <p:pic>
            <p:nvPicPr>
              <p:cNvPr id="205" name="Picture 204" descr="AzureKeyVault_icon_white.png"/>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4552624" y="449871"/>
                <a:ext cx="235263" cy="261402"/>
              </a:xfrm>
              <a:prstGeom prst="rect">
                <a:avLst/>
              </a:prstGeom>
            </p:spPr>
          </p:pic>
        </p:grpSp>
        <p:grpSp>
          <p:nvGrpSpPr>
            <p:cNvPr id="336" name="Group 335"/>
            <p:cNvGrpSpPr/>
            <p:nvPr/>
          </p:nvGrpSpPr>
          <p:grpSpPr>
            <a:xfrm>
              <a:off x="559429" y="3887273"/>
              <a:ext cx="1024650" cy="317273"/>
              <a:chOff x="9096923" y="436026"/>
              <a:chExt cx="1024650" cy="317273"/>
            </a:xfrm>
          </p:grpSpPr>
          <p:sp>
            <p:nvSpPr>
              <p:cNvPr id="230" name="TextBox 229"/>
              <p:cNvSpPr txBox="1"/>
              <p:nvPr/>
            </p:nvSpPr>
            <p:spPr>
              <a:xfrm>
                <a:off x="9462417" y="452194"/>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tore/</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Marketplace</a:t>
                </a:r>
              </a:p>
            </p:txBody>
          </p:sp>
          <p:pic>
            <p:nvPicPr>
              <p:cNvPr id="231" name="Picture 230" descr="Azure Marketplace.png"/>
              <p:cNvPicPr>
                <a:picLocks noChangeAspect="1"/>
              </p:cNvPicPr>
              <p:nvPr/>
            </p:nvPicPr>
            <p:blipFill>
              <a:blip r:embed="rId55" cstate="print">
                <a:biLevel thresh="25000"/>
                <a:extLst>
                  <a:ext uri="{28A0092B-C50C-407E-A947-70E740481C1C}">
                    <a14:useLocalDpi xmlns:a14="http://schemas.microsoft.com/office/drawing/2010/main" val="0"/>
                  </a:ext>
                </a:extLst>
              </a:blip>
              <a:stretch>
                <a:fillRect/>
              </a:stretch>
            </p:blipFill>
            <p:spPr>
              <a:xfrm>
                <a:off x="9096923" y="436026"/>
                <a:ext cx="291303" cy="291303"/>
              </a:xfrm>
              <a:prstGeom prst="rect">
                <a:avLst/>
              </a:prstGeom>
            </p:spPr>
          </p:pic>
        </p:grpSp>
        <p:grpSp>
          <p:nvGrpSpPr>
            <p:cNvPr id="417" name="Group 416"/>
            <p:cNvGrpSpPr/>
            <p:nvPr/>
          </p:nvGrpSpPr>
          <p:grpSpPr>
            <a:xfrm>
              <a:off x="559429" y="4356417"/>
              <a:ext cx="1008388" cy="309244"/>
              <a:chOff x="559429" y="4065187"/>
              <a:chExt cx="1008388" cy="309244"/>
            </a:xfrm>
          </p:grpSpPr>
          <p:pic>
            <p:nvPicPr>
              <p:cNvPr id="413" name="Picture 412"/>
              <p:cNvPicPr>
                <a:picLocks noChangeAspect="1"/>
              </p:cNvPicPr>
              <p:nvPr/>
            </p:nvPicPr>
            <p:blipFill>
              <a:blip r:embed="rId56" cstate="print">
                <a:biLevel thresh="25000"/>
                <a:extLst>
                  <a:ext uri="{28A0092B-C50C-407E-A947-70E740481C1C}">
                    <a14:useLocalDpi xmlns:a14="http://schemas.microsoft.com/office/drawing/2010/main" val="0"/>
                  </a:ext>
                </a:extLst>
              </a:blip>
              <a:stretch>
                <a:fillRect/>
              </a:stretch>
            </p:blipFill>
            <p:spPr>
              <a:xfrm>
                <a:off x="559429" y="4065187"/>
                <a:ext cx="252028" cy="252028"/>
              </a:xfrm>
              <a:prstGeom prst="rect">
                <a:avLst/>
              </a:prstGeom>
            </p:spPr>
          </p:pic>
          <p:sp>
            <p:nvSpPr>
              <p:cNvPr id="414" name="TextBox 413"/>
              <p:cNvSpPr txBox="1"/>
              <p:nvPr/>
            </p:nvSpPr>
            <p:spPr>
              <a:xfrm>
                <a:off x="908661" y="4073326"/>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VM Image Gallery</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mp; VM Depot</a:t>
                </a:r>
              </a:p>
            </p:txBody>
          </p:sp>
        </p:grpSp>
        <p:grpSp>
          <p:nvGrpSpPr>
            <p:cNvPr id="256" name="Group 255"/>
            <p:cNvGrpSpPr/>
            <p:nvPr/>
          </p:nvGrpSpPr>
          <p:grpSpPr>
            <a:xfrm>
              <a:off x="559429" y="1904238"/>
              <a:ext cx="1012582" cy="321430"/>
              <a:chOff x="6813227" y="457506"/>
              <a:chExt cx="1012582" cy="321430"/>
            </a:xfrm>
          </p:grpSpPr>
          <p:sp>
            <p:nvSpPr>
              <p:cNvPr id="257" name="TextBox 256"/>
              <p:cNvSpPr txBox="1"/>
              <p:nvPr/>
            </p:nvSpPr>
            <p:spPr>
              <a:xfrm>
                <a:off x="7166653" y="477831"/>
                <a:ext cx="659156" cy="301105"/>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Azure AD</a:t>
                </a:r>
              </a:p>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B2C</a:t>
                </a:r>
              </a:p>
            </p:txBody>
          </p:sp>
          <p:pic>
            <p:nvPicPr>
              <p:cNvPr id="258" name="Picture 257" descr="Azure Active Directory.png"/>
              <p:cNvPicPr>
                <a:picLocks noChangeAspect="1"/>
              </p:cNvPicPr>
              <p:nvPr/>
            </p:nvPicPr>
            <p:blipFill>
              <a:blip r:embed="rId26" cstate="print">
                <a:biLevel thresh="25000"/>
                <a:extLst>
                  <a:ext uri="{28A0092B-C50C-407E-A947-70E740481C1C}">
                    <a14:useLocalDpi xmlns:a14="http://schemas.microsoft.com/office/drawing/2010/main" val="0"/>
                  </a:ext>
                </a:extLst>
              </a:blip>
              <a:stretch>
                <a:fillRect/>
              </a:stretch>
            </p:blipFill>
            <p:spPr>
              <a:xfrm>
                <a:off x="6813227" y="457506"/>
                <a:ext cx="298103" cy="298102"/>
              </a:xfrm>
              <a:prstGeom prst="rect">
                <a:avLst/>
              </a:prstGeom>
            </p:spPr>
          </p:pic>
        </p:grpSp>
        <p:grpSp>
          <p:nvGrpSpPr>
            <p:cNvPr id="44" name="Group 43"/>
            <p:cNvGrpSpPr/>
            <p:nvPr/>
          </p:nvGrpSpPr>
          <p:grpSpPr>
            <a:xfrm>
              <a:off x="532599" y="3107117"/>
              <a:ext cx="1025516" cy="333331"/>
              <a:chOff x="532599" y="3107117"/>
              <a:chExt cx="1025516" cy="333331"/>
            </a:xfrm>
          </p:grpSpPr>
          <p:pic>
            <p:nvPicPr>
              <p:cNvPr id="262" name="Picture 261"/>
              <p:cNvPicPr>
                <a:picLocks noChangeAspect="1"/>
              </p:cNvPicPr>
              <p:nvPr/>
            </p:nvPicPr>
            <p:blipFill>
              <a:blip r:embed="rId57" cstate="print">
                <a:biLevel thresh="25000"/>
                <a:extLst>
                  <a:ext uri="{28A0092B-C50C-407E-A947-70E740481C1C}">
                    <a14:useLocalDpi xmlns:a14="http://schemas.microsoft.com/office/drawing/2010/main" val="0"/>
                  </a:ext>
                </a:extLst>
              </a:blip>
              <a:stretch>
                <a:fillRect/>
              </a:stretch>
            </p:blipFill>
            <p:spPr>
              <a:xfrm>
                <a:off x="532599" y="3107117"/>
                <a:ext cx="333331" cy="333331"/>
              </a:xfrm>
              <a:prstGeom prst="rect">
                <a:avLst/>
              </a:prstGeom>
            </p:spPr>
          </p:pic>
          <p:sp>
            <p:nvSpPr>
              <p:cNvPr id="263" name="TextBox 262"/>
              <p:cNvSpPr txBox="1"/>
              <p:nvPr/>
            </p:nvSpPr>
            <p:spPr>
              <a:xfrm>
                <a:off x="898959" y="3138949"/>
                <a:ext cx="659156" cy="301106"/>
              </a:xfrm>
              <a:prstGeom prst="rect">
                <a:avLst/>
              </a:prstGeom>
              <a:noFill/>
              <a:ln>
                <a:noFill/>
              </a:ln>
            </p:spPr>
            <p:txBody>
              <a:bodyPr wrap="none" lIns="0" tIns="27971" rIns="0" bIns="0" rtlCol="0">
                <a:noAutofit/>
              </a:bodyPr>
              <a:lstStyle/>
              <a:p>
                <a:pPr defTabSz="913950" eaLnBrk="0" fontAlgn="base" hangingPunct="0">
                  <a:lnSpc>
                    <a:spcPts val="800"/>
                  </a:lnSpc>
                  <a:spcBef>
                    <a:spcPct val="0"/>
                  </a:spcBef>
                  <a:spcAft>
                    <a:spcPct val="0"/>
                  </a:spcAft>
                  <a:defRPr/>
                </a:pPr>
                <a:r>
                  <a:rPr lang="en-US" sz="700" dirty="0">
                    <a:solidFill>
                      <a:prstClr val="white"/>
                    </a:solidFill>
                    <a:latin typeface="Segoe UI Light" panose="020B0502040204020203" pitchFamily="34" charset="0"/>
                    <a:ea typeface="Arial Unicode MS" panose="020B0604020202020204" pitchFamily="34" charset="-128"/>
                    <a:cs typeface="Segoe UI Light" panose="020B0502040204020203" pitchFamily="34" charset="0"/>
                  </a:rPr>
                  <a:t>Scheduler</a:t>
                </a:r>
              </a:p>
            </p:txBody>
          </p:sp>
        </p:grpSp>
      </p:grpSp>
    </p:spTree>
    <p:extLst>
      <p:ext uri="{BB962C8B-B14F-4D97-AF65-F5344CB8AC3E}">
        <p14:creationId xmlns:p14="http://schemas.microsoft.com/office/powerpoint/2010/main" val="238121798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250"/>
                                  </p:stCondLst>
                                  <p:childTnLst>
                                    <p:set>
                                      <p:cBhvr>
                                        <p:cTn id="6" dur="1" fill="hold">
                                          <p:stCondLst>
                                            <p:cond delay="0"/>
                                          </p:stCondLst>
                                        </p:cTn>
                                        <p:tgtEl>
                                          <p:spTgt spid="249"/>
                                        </p:tgtEl>
                                        <p:attrNameLst>
                                          <p:attrName>style.visibility</p:attrName>
                                        </p:attrNameLst>
                                      </p:cBhvr>
                                      <p:to>
                                        <p:strVal val="visible"/>
                                      </p:to>
                                    </p:set>
                                    <p:animEffect transition="in" filter="fade">
                                      <p:cBhvr>
                                        <p:cTn id="7" dur="2000"/>
                                        <p:tgtEl>
                                          <p:spTgt spid="249"/>
                                        </p:tgtEl>
                                      </p:cBhvr>
                                    </p:animEffect>
                                    <p:anim calcmode="lin" valueType="num">
                                      <p:cBhvr>
                                        <p:cTn id="8" dur="2000" fill="hold"/>
                                        <p:tgtEl>
                                          <p:spTgt spid="249"/>
                                        </p:tgtEl>
                                        <p:attrNameLst>
                                          <p:attrName>ppt_x</p:attrName>
                                        </p:attrNameLst>
                                      </p:cBhvr>
                                      <p:tavLst>
                                        <p:tav tm="0">
                                          <p:val>
                                            <p:strVal val="#ppt_x"/>
                                          </p:val>
                                        </p:tav>
                                        <p:tav tm="100000">
                                          <p:val>
                                            <p:strVal val="#ppt_x"/>
                                          </p:val>
                                        </p:tav>
                                      </p:tavLst>
                                    </p:anim>
                                    <p:anim calcmode="lin" valueType="num">
                                      <p:cBhvr>
                                        <p:cTn id="9" dur="2000" fill="hold"/>
                                        <p:tgtEl>
                                          <p:spTgt spid="2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smtClean="0"/>
              <a:t>Architecture Lambda</a:t>
            </a:r>
            <a:endParaRPr lang="fr-FR" dirty="0"/>
          </a:p>
        </p:txBody>
      </p:sp>
      <p:sp>
        <p:nvSpPr>
          <p:cNvPr id="14" name="Espace réservé du texte 13"/>
          <p:cNvSpPr>
            <a:spLocks noGrp="1"/>
          </p:cNvSpPr>
          <p:nvPr>
            <p:ph type="body" sz="quarter" idx="13"/>
          </p:nvPr>
        </p:nvSpPr>
        <p:spPr/>
        <p:txBody>
          <a:bodyPr/>
          <a:lstStyle/>
          <a:p>
            <a:endParaRPr lang="fr-FR"/>
          </a:p>
        </p:txBody>
      </p:sp>
      <p:sp>
        <p:nvSpPr>
          <p:cNvPr id="3" name="Rectangle 2"/>
          <p:cNvSpPr/>
          <p:nvPr/>
        </p:nvSpPr>
        <p:spPr bwMode="auto">
          <a:xfrm>
            <a:off x="1292523" y="1980049"/>
            <a:ext cx="1396314" cy="63871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fr-FR" sz="2400" dirty="0" smtClean="0">
                <a:gradFill>
                  <a:gsLst>
                    <a:gs pos="0">
                      <a:srgbClr val="FFFFFF"/>
                    </a:gs>
                    <a:gs pos="100000">
                      <a:srgbClr val="FFFFFF"/>
                    </a:gs>
                  </a:gsLst>
                  <a:lin ang="5400000" scaled="0"/>
                </a:gradFill>
                <a:ea typeface="Segoe UI" pitchFamily="34" charset="0"/>
                <a:cs typeface="Segoe UI" pitchFamily="34" charset="0"/>
              </a:rPr>
              <a:t>Events</a:t>
            </a:r>
          </a:p>
        </p:txBody>
      </p:sp>
      <p:sp>
        <p:nvSpPr>
          <p:cNvPr id="4" name="Rectangle 3"/>
          <p:cNvSpPr/>
          <p:nvPr/>
        </p:nvSpPr>
        <p:spPr bwMode="auto">
          <a:xfrm>
            <a:off x="3367296" y="4684316"/>
            <a:ext cx="1691917" cy="98247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storage</a:t>
            </a:r>
          </a:p>
        </p:txBody>
      </p:sp>
      <p:sp>
        <p:nvSpPr>
          <p:cNvPr id="5" name="Rectangle 4"/>
          <p:cNvSpPr/>
          <p:nvPr/>
        </p:nvSpPr>
        <p:spPr bwMode="auto">
          <a:xfrm>
            <a:off x="5202941" y="3058151"/>
            <a:ext cx="1684746" cy="9804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ear</a:t>
            </a:r>
            <a:br>
              <a:rPr lang="en-US" sz="2400" dirty="0" smtClean="0">
                <a:gradFill>
                  <a:gsLst>
                    <a:gs pos="0">
                      <a:srgbClr val="FFFFFF"/>
                    </a:gs>
                    <a:gs pos="100000">
                      <a:srgbClr val="FFFFFF"/>
                    </a:gs>
                  </a:gsLst>
                  <a:lin ang="5400000" scaled="0"/>
                </a:gradFill>
                <a:ea typeface="Segoe UI" pitchFamily="34" charset="0"/>
                <a:cs typeface="Segoe UI" pitchFamily="34" charset="0"/>
              </a:rPr>
            </a:br>
            <a:r>
              <a:rPr lang="en-US" sz="2400" dirty="0" smtClean="0">
                <a:gradFill>
                  <a:gsLst>
                    <a:gs pos="0">
                      <a:srgbClr val="FFFFFF"/>
                    </a:gs>
                    <a:gs pos="100000">
                      <a:srgbClr val="FFFFFF"/>
                    </a:gs>
                  </a:gsLst>
                  <a:lin ang="5400000" scaled="0"/>
                </a:gradFill>
                <a:ea typeface="Segoe UI" pitchFamily="34" charset="0"/>
                <a:cs typeface="Segoe UI" pitchFamily="34" charset="0"/>
              </a:rPr>
              <a:t>Real Time</a:t>
            </a:r>
          </a:p>
        </p:txBody>
      </p:sp>
      <p:sp>
        <p:nvSpPr>
          <p:cNvPr id="6" name="Rectangle 5"/>
          <p:cNvSpPr/>
          <p:nvPr/>
        </p:nvSpPr>
        <p:spPr bwMode="auto">
          <a:xfrm>
            <a:off x="7031414" y="3058151"/>
            <a:ext cx="1637572" cy="98047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fr-FR" sz="2400" dirty="0" smtClean="0">
                <a:gradFill>
                  <a:gsLst>
                    <a:gs pos="0">
                      <a:srgbClr val="FFFFFF"/>
                    </a:gs>
                    <a:gs pos="100000">
                      <a:srgbClr val="FFFFFF"/>
                    </a:gs>
                  </a:gsLst>
                  <a:lin ang="5400000" scaled="0"/>
                </a:gradFill>
                <a:ea typeface="Segoe UI" pitchFamily="34" charset="0"/>
                <a:cs typeface="Segoe UI" pitchFamily="34" charset="0"/>
              </a:rPr>
              <a:t>DB</a:t>
            </a:r>
          </a:p>
          <a:p>
            <a:pPr algn="ctr" defTabSz="932472" fontAlgn="base">
              <a:lnSpc>
                <a:spcPct val="90000"/>
              </a:lnSpc>
              <a:spcBef>
                <a:spcPct val="0"/>
              </a:spcBef>
              <a:spcAft>
                <a:spcPct val="0"/>
              </a:spcAft>
            </a:pPr>
            <a:r>
              <a:rPr lang="fr-FR" sz="1400" smtClean="0">
                <a:gradFill>
                  <a:gsLst>
                    <a:gs pos="0">
                      <a:srgbClr val="FFFFFF"/>
                    </a:gs>
                    <a:gs pos="100000">
                      <a:srgbClr val="FFFFFF"/>
                    </a:gs>
                  </a:gsLst>
                  <a:lin ang="5400000" scaled="0"/>
                </a:gradFill>
                <a:ea typeface="Segoe UI" pitchFamily="34" charset="0"/>
                <a:cs typeface="Segoe UI" pitchFamily="34" charset="0"/>
              </a:rPr>
              <a:t>SQL/noSQL</a:t>
            </a:r>
            <a:endParaRPr lang="fr-FR" sz="1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202941" y="4684318"/>
            <a:ext cx="1684746" cy="9824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fr-FR" sz="2400" dirty="0" smtClean="0">
                <a:gradFill>
                  <a:gsLst>
                    <a:gs pos="0">
                      <a:srgbClr val="FFFFFF"/>
                    </a:gs>
                    <a:gs pos="100000">
                      <a:srgbClr val="FFFFFF"/>
                    </a:gs>
                  </a:gsLst>
                  <a:lin ang="5400000" scaled="0"/>
                </a:gradFill>
                <a:ea typeface="Segoe UI" pitchFamily="34" charset="0"/>
                <a:cs typeface="Segoe UI" pitchFamily="34" charset="0"/>
              </a:rPr>
              <a:t>batch</a:t>
            </a:r>
          </a:p>
        </p:txBody>
      </p:sp>
      <p:sp>
        <p:nvSpPr>
          <p:cNvPr id="8" name="Rectangle 7"/>
          <p:cNvSpPr/>
          <p:nvPr/>
        </p:nvSpPr>
        <p:spPr bwMode="auto">
          <a:xfrm>
            <a:off x="8812713" y="3058151"/>
            <a:ext cx="1697728" cy="260863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query</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 &amp; </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merge</a:t>
            </a:r>
          </a:p>
        </p:txBody>
      </p:sp>
      <p:sp>
        <p:nvSpPr>
          <p:cNvPr id="9" name="Rectangle 8"/>
          <p:cNvSpPr/>
          <p:nvPr/>
        </p:nvSpPr>
        <p:spPr bwMode="auto">
          <a:xfrm>
            <a:off x="7031414" y="4684317"/>
            <a:ext cx="1637572" cy="98247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fr-FR" sz="2400" dirty="0" smtClean="0">
                <a:gradFill>
                  <a:gsLst>
                    <a:gs pos="0">
                      <a:srgbClr val="FFFFFF"/>
                    </a:gs>
                    <a:gs pos="100000">
                      <a:srgbClr val="FFFFFF"/>
                    </a:gs>
                  </a:gsLst>
                  <a:lin ang="5400000" scaled="0"/>
                </a:gradFill>
                <a:ea typeface="Segoe UI" pitchFamily="34" charset="0"/>
                <a:cs typeface="Segoe UI" pitchFamily="34" charset="0"/>
              </a:rPr>
              <a:t>Storage</a:t>
            </a:r>
            <a:r>
              <a:rPr lang="fr-FR" sz="2400" dirty="0">
                <a:gradFill>
                  <a:gsLst>
                    <a:gs pos="0">
                      <a:srgbClr val="FFFFFF"/>
                    </a:gs>
                    <a:gs pos="100000">
                      <a:srgbClr val="FFFFFF"/>
                    </a:gs>
                  </a:gsLst>
                  <a:lin ang="5400000" scaled="0"/>
                </a:gradFill>
                <a:ea typeface="Segoe UI" pitchFamily="34" charset="0"/>
                <a:cs typeface="Segoe UI" pitchFamily="34" charset="0"/>
              </a:rPr>
              <a:t>,</a:t>
            </a:r>
            <a:r>
              <a:rPr lang="fr-FR" sz="2400" dirty="0" smtClean="0">
                <a:gradFill>
                  <a:gsLst>
                    <a:gs pos="0">
                      <a:srgbClr val="FFFFFF"/>
                    </a:gs>
                    <a:gs pos="100000">
                      <a:srgbClr val="FFFFFF"/>
                    </a:gs>
                  </a:gsLst>
                  <a:lin ang="5400000" scaled="0"/>
                </a:gradFill>
                <a:ea typeface="Segoe UI" pitchFamily="34" charset="0"/>
                <a:cs typeface="Segoe UI" pitchFamily="34" charset="0"/>
              </a:rPr>
              <a:t> DB</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00193" y="1868569"/>
            <a:ext cx="1211599" cy="1988624"/>
          </a:xfrm>
          <a:prstGeom prst="rect">
            <a:avLst/>
          </a:prstGeom>
        </p:spPr>
      </p:pic>
      <p:sp>
        <p:nvSpPr>
          <p:cNvPr id="11" name="Right Arrow 10"/>
          <p:cNvSpPr/>
          <p:nvPr/>
        </p:nvSpPr>
        <p:spPr bwMode="auto">
          <a:xfrm>
            <a:off x="2869735" y="2148555"/>
            <a:ext cx="504059" cy="30170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ight Arrow 11"/>
          <p:cNvSpPr/>
          <p:nvPr/>
        </p:nvSpPr>
        <p:spPr bwMode="auto">
          <a:xfrm>
            <a:off x="4659292" y="3416436"/>
            <a:ext cx="504059" cy="30170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ight Arrow 12"/>
          <p:cNvSpPr/>
          <p:nvPr/>
        </p:nvSpPr>
        <p:spPr bwMode="auto">
          <a:xfrm rot="5400000">
            <a:off x="3267320" y="4120114"/>
            <a:ext cx="504059" cy="301701"/>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fr-FR"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7144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d-ID" dirty="0"/>
              <a:t>Meet the Team</a:t>
            </a:r>
          </a:p>
        </p:txBody>
      </p:sp>
      <p:sp>
        <p:nvSpPr>
          <p:cNvPr id="8" name="TextBox 23"/>
          <p:cNvSpPr txBox="1"/>
          <p:nvPr/>
        </p:nvSpPr>
        <p:spPr>
          <a:xfrm>
            <a:off x="4503399" y="4186381"/>
            <a:ext cx="2584695" cy="369332"/>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b="1" dirty="0">
                <a:latin typeface="+mj-lt"/>
              </a:rPr>
              <a:t>A</a:t>
            </a:r>
            <a:r>
              <a:rPr lang="id-ID" b="1" dirty="0" smtClean="0">
                <a:latin typeface="+mj-lt"/>
              </a:rPr>
              <a:t>y</a:t>
            </a:r>
            <a:r>
              <a:rPr lang="fr-FR" b="1" dirty="0" err="1" smtClean="0">
                <a:latin typeface="+mj-lt"/>
              </a:rPr>
              <a:t>meric</a:t>
            </a:r>
            <a:r>
              <a:rPr lang="fr-FR" b="1" dirty="0" smtClean="0">
                <a:latin typeface="+mj-lt"/>
              </a:rPr>
              <a:t> </a:t>
            </a:r>
            <a:r>
              <a:rPr lang="fr-FR" b="1" dirty="0" err="1" smtClean="0">
                <a:latin typeface="+mj-lt"/>
              </a:rPr>
              <a:t>Weinbach</a:t>
            </a:r>
            <a:endParaRPr lang="id-ID" b="1" dirty="0">
              <a:latin typeface="+mj-lt"/>
            </a:endParaRPr>
          </a:p>
        </p:txBody>
      </p:sp>
      <p:sp>
        <p:nvSpPr>
          <p:cNvPr id="10" name="Freeform 16"/>
          <p:cNvSpPr>
            <a:spLocks/>
          </p:cNvSpPr>
          <p:nvPr/>
        </p:nvSpPr>
        <p:spPr bwMode="auto">
          <a:xfrm>
            <a:off x="5692766" y="5699466"/>
            <a:ext cx="205963" cy="167375"/>
          </a:xfrm>
          <a:custGeom>
            <a:avLst/>
            <a:gdLst>
              <a:gd name="T0" fmla="*/ 368 w 368"/>
              <a:gd name="T1" fmla="*/ 36 h 299"/>
              <a:gd name="T2" fmla="*/ 324 w 368"/>
              <a:gd name="T3" fmla="*/ 48 h 299"/>
              <a:gd name="T4" fmla="*/ 358 w 368"/>
              <a:gd name="T5" fmla="*/ 6 h 299"/>
              <a:gd name="T6" fmla="*/ 310 w 368"/>
              <a:gd name="T7" fmla="*/ 24 h 299"/>
              <a:gd name="T8" fmla="*/ 255 w 368"/>
              <a:gd name="T9" fmla="*/ 0 h 299"/>
              <a:gd name="T10" fmla="*/ 179 w 368"/>
              <a:gd name="T11" fmla="*/ 76 h 299"/>
              <a:gd name="T12" fmla="*/ 181 w 368"/>
              <a:gd name="T13" fmla="*/ 93 h 299"/>
              <a:gd name="T14" fmla="*/ 25 w 368"/>
              <a:gd name="T15" fmla="*/ 14 h 299"/>
              <a:gd name="T16" fmla="*/ 15 w 368"/>
              <a:gd name="T17" fmla="*/ 52 h 299"/>
              <a:gd name="T18" fmla="*/ 49 w 368"/>
              <a:gd name="T19" fmla="*/ 115 h 299"/>
              <a:gd name="T20" fmla="*/ 15 w 368"/>
              <a:gd name="T21" fmla="*/ 106 h 299"/>
              <a:gd name="T22" fmla="*/ 14 w 368"/>
              <a:gd name="T23" fmla="*/ 106 h 299"/>
              <a:gd name="T24" fmla="*/ 75 w 368"/>
              <a:gd name="T25" fmla="*/ 181 h 299"/>
              <a:gd name="T26" fmla="*/ 55 w 368"/>
              <a:gd name="T27" fmla="*/ 183 h 299"/>
              <a:gd name="T28" fmla="*/ 41 w 368"/>
              <a:gd name="T29" fmla="*/ 182 h 299"/>
              <a:gd name="T30" fmla="*/ 111 w 368"/>
              <a:gd name="T31" fmla="*/ 234 h 299"/>
              <a:gd name="T32" fmla="*/ 18 w 368"/>
              <a:gd name="T33" fmla="*/ 267 h 299"/>
              <a:gd name="T34" fmla="*/ 0 w 368"/>
              <a:gd name="T35" fmla="*/ 265 h 299"/>
              <a:gd name="T36" fmla="*/ 115 w 368"/>
              <a:gd name="T37" fmla="*/ 299 h 299"/>
              <a:gd name="T38" fmla="*/ 330 w 368"/>
              <a:gd name="T39" fmla="*/ 85 h 299"/>
              <a:gd name="T40" fmla="*/ 330 w 368"/>
              <a:gd name="T41" fmla="*/ 75 h 299"/>
              <a:gd name="T42" fmla="*/ 368 w 368"/>
              <a:gd name="T43" fmla="*/ 3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8" h="299">
                <a:moveTo>
                  <a:pt x="368" y="36"/>
                </a:moveTo>
                <a:cubicBezTo>
                  <a:pt x="354" y="42"/>
                  <a:pt x="340" y="46"/>
                  <a:pt x="324" y="48"/>
                </a:cubicBezTo>
                <a:cubicBezTo>
                  <a:pt x="340" y="38"/>
                  <a:pt x="352" y="24"/>
                  <a:pt x="358" y="6"/>
                </a:cubicBezTo>
                <a:cubicBezTo>
                  <a:pt x="343" y="15"/>
                  <a:pt x="327" y="21"/>
                  <a:pt x="310" y="24"/>
                </a:cubicBezTo>
                <a:cubicBezTo>
                  <a:pt x="296" y="10"/>
                  <a:pt x="276" y="0"/>
                  <a:pt x="255" y="0"/>
                </a:cubicBezTo>
                <a:cubicBezTo>
                  <a:pt x="213" y="0"/>
                  <a:pt x="179" y="34"/>
                  <a:pt x="179" y="76"/>
                </a:cubicBezTo>
                <a:cubicBezTo>
                  <a:pt x="179" y="82"/>
                  <a:pt x="180" y="88"/>
                  <a:pt x="181" y="93"/>
                </a:cubicBezTo>
                <a:cubicBezTo>
                  <a:pt x="118" y="90"/>
                  <a:pt x="63" y="60"/>
                  <a:pt x="25" y="14"/>
                </a:cubicBezTo>
                <a:cubicBezTo>
                  <a:pt x="19" y="25"/>
                  <a:pt x="15" y="38"/>
                  <a:pt x="15" y="52"/>
                </a:cubicBezTo>
                <a:cubicBezTo>
                  <a:pt x="15" y="78"/>
                  <a:pt x="28" y="101"/>
                  <a:pt x="49" y="115"/>
                </a:cubicBezTo>
                <a:cubicBezTo>
                  <a:pt x="36" y="115"/>
                  <a:pt x="25" y="111"/>
                  <a:pt x="15" y="106"/>
                </a:cubicBezTo>
                <a:cubicBezTo>
                  <a:pt x="14" y="106"/>
                  <a:pt x="14" y="106"/>
                  <a:pt x="14" y="106"/>
                </a:cubicBezTo>
                <a:cubicBezTo>
                  <a:pt x="14" y="143"/>
                  <a:pt x="41" y="174"/>
                  <a:pt x="75" y="181"/>
                </a:cubicBezTo>
                <a:cubicBezTo>
                  <a:pt x="69" y="182"/>
                  <a:pt x="62" y="183"/>
                  <a:pt x="55" y="183"/>
                </a:cubicBezTo>
                <a:cubicBezTo>
                  <a:pt x="50" y="183"/>
                  <a:pt x="46" y="183"/>
                  <a:pt x="41" y="182"/>
                </a:cubicBezTo>
                <a:cubicBezTo>
                  <a:pt x="51" y="212"/>
                  <a:pt x="78" y="234"/>
                  <a:pt x="111" y="234"/>
                </a:cubicBezTo>
                <a:cubicBezTo>
                  <a:pt x="86" y="254"/>
                  <a:pt x="53" y="267"/>
                  <a:pt x="18" y="267"/>
                </a:cubicBezTo>
                <a:cubicBezTo>
                  <a:pt x="12" y="267"/>
                  <a:pt x="6" y="266"/>
                  <a:pt x="0" y="265"/>
                </a:cubicBezTo>
                <a:cubicBezTo>
                  <a:pt x="33" y="287"/>
                  <a:pt x="73" y="299"/>
                  <a:pt x="115" y="299"/>
                </a:cubicBezTo>
                <a:cubicBezTo>
                  <a:pt x="254" y="299"/>
                  <a:pt x="330" y="184"/>
                  <a:pt x="330" y="85"/>
                </a:cubicBezTo>
                <a:cubicBezTo>
                  <a:pt x="330" y="81"/>
                  <a:pt x="330" y="78"/>
                  <a:pt x="330" y="75"/>
                </a:cubicBezTo>
                <a:cubicBezTo>
                  <a:pt x="345" y="64"/>
                  <a:pt x="358" y="51"/>
                  <a:pt x="368" y="3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3" name="TextBox 23"/>
          <p:cNvSpPr txBox="1"/>
          <p:nvPr/>
        </p:nvSpPr>
        <p:spPr>
          <a:xfrm>
            <a:off x="4698842" y="5376422"/>
            <a:ext cx="2087563" cy="276999"/>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FR" sz="1200" dirty="0" smtClean="0">
                <a:solidFill>
                  <a:schemeClr val="tx2"/>
                </a:solidFill>
              </a:rPr>
              <a:t>@</a:t>
            </a:r>
            <a:r>
              <a:rPr lang="fr-FR" sz="1200" dirty="0" err="1" smtClean="0">
                <a:solidFill>
                  <a:schemeClr val="tx2"/>
                </a:solidFill>
              </a:rPr>
              <a:t>aymericw</a:t>
            </a:r>
            <a:endParaRPr lang="id-ID" sz="1200" dirty="0">
              <a:solidFill>
                <a:schemeClr val="tx2"/>
              </a:solidFill>
            </a:endParaRPr>
          </a:p>
        </p:txBody>
      </p:sp>
      <p:cxnSp>
        <p:nvCxnSpPr>
          <p:cNvPr id="21" name="Straight Connector 20"/>
          <p:cNvCxnSpPr/>
          <p:nvPr/>
        </p:nvCxnSpPr>
        <p:spPr>
          <a:xfrm>
            <a:off x="4926753" y="4760082"/>
            <a:ext cx="180848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 name="Espace réservé pour une image  5"/>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18" r="18"/>
          <a:stretch>
            <a:fillRect/>
          </a:stretch>
        </p:blipFill>
        <p:spPr>
          <a:xfrm>
            <a:off x="4383055" y="1930511"/>
            <a:ext cx="2880000" cy="2160000"/>
          </a:xfrm>
        </p:spPr>
      </p:pic>
    </p:spTree>
    <p:extLst>
      <p:ext uri="{BB962C8B-B14F-4D97-AF65-F5344CB8AC3E}">
        <p14:creationId xmlns:p14="http://schemas.microsoft.com/office/powerpoint/2010/main" val="2592553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par>
                          <p:cTn id="11" fill="hold">
                            <p:stCondLst>
                              <p:cond delay="750"/>
                            </p:stCondLst>
                            <p:childTnLst>
                              <p:par>
                                <p:cTn id="12" presetID="16" presetClass="entr" presetSubtype="37" fill="hold" nodeType="after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barn(outVertical)">
                                      <p:cBhvr>
                                        <p:cTn id="14" dur="500"/>
                                        <p:tgtEl>
                                          <p:spTgt spid="21"/>
                                        </p:tgtEl>
                                      </p:cBhvr>
                                    </p:animEffect>
                                  </p:childTnLst>
                                </p:cTn>
                              </p:par>
                            </p:childTnLst>
                          </p:cTn>
                        </p:par>
                        <p:par>
                          <p:cTn id="15" fill="hold">
                            <p:stCondLst>
                              <p:cond delay="1250"/>
                            </p:stCondLst>
                            <p:childTnLst>
                              <p:par>
                                <p:cTn id="16" presetID="53" presetClass="entr" presetSubtype="16"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 calcmode="lin" valueType="num">
                                      <p:cBhvr>
                                        <p:cTn id="18" dur="500" fill="hold"/>
                                        <p:tgtEl>
                                          <p:spTgt spid="10"/>
                                        </p:tgtEl>
                                        <p:attrNameLst>
                                          <p:attrName>ppt_w</p:attrName>
                                        </p:attrNameLst>
                                      </p:cBhvr>
                                      <p:tavLst>
                                        <p:tav tm="0">
                                          <p:val>
                                            <p:fltVal val="0"/>
                                          </p:val>
                                        </p:tav>
                                        <p:tav tm="100000">
                                          <p:val>
                                            <p:strVal val="#ppt_w"/>
                                          </p:val>
                                        </p:tav>
                                      </p:tavLst>
                                    </p:anim>
                                    <p:anim calcmode="lin" valueType="num">
                                      <p:cBhvr>
                                        <p:cTn id="19" dur="500" fill="hold"/>
                                        <p:tgtEl>
                                          <p:spTgt spid="10"/>
                                        </p:tgtEl>
                                        <p:attrNameLst>
                                          <p:attrName>ppt_h</p:attrName>
                                        </p:attrNameLst>
                                      </p:cBhvr>
                                      <p:tavLst>
                                        <p:tav tm="0">
                                          <p:val>
                                            <p:fltVal val="0"/>
                                          </p:val>
                                        </p:tav>
                                        <p:tav tm="100000">
                                          <p:val>
                                            <p:strVal val="#ppt_h"/>
                                          </p:val>
                                        </p:tav>
                                      </p:tavLst>
                                    </p:anim>
                                    <p:animEffect transition="in" filter="fade">
                                      <p:cBhvr>
                                        <p:cTn id="2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animBg="1"/>
      <p:bldP spid="1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normAutofit fontScale="90000"/>
          </a:bodyPr>
          <a:lstStyle/>
          <a:p>
            <a:pPr>
              <a:spcBef>
                <a:spcPts val="0"/>
              </a:spcBef>
            </a:pPr>
            <a:r>
              <a:rPr lang="en-US" dirty="0"/>
              <a:t>Azure IoT Suite</a:t>
            </a:r>
            <a:br>
              <a:rPr lang="en-US" dirty="0"/>
            </a:br>
            <a:r>
              <a:rPr lang="en-US" sz="3100" spc="0" dirty="0">
                <a:ln>
                  <a:noFill/>
                </a:ln>
                <a:gradFill>
                  <a:gsLst>
                    <a:gs pos="0">
                      <a:srgbClr val="0078D7"/>
                    </a:gs>
                    <a:gs pos="100000">
                      <a:srgbClr val="0078D7"/>
                    </a:gs>
                  </a:gsLst>
                  <a:lin ang="5400000" scaled="0"/>
                </a:gradFill>
                <a:latin typeface="Segoe UI Light" panose="020B0502040204020203" pitchFamily="34" charset="0"/>
                <a:cs typeface="Segoe UI Light" panose="020B0502040204020203" pitchFamily="34" charset="0"/>
              </a:rPr>
              <a:t>Get started in minutes &amp; customize to meet your </a:t>
            </a:r>
            <a:r>
              <a:rPr lang="en-US" sz="3100" spc="0" dirty="0" smtClean="0">
                <a:ln>
                  <a:noFill/>
                </a:ln>
                <a:gradFill>
                  <a:gsLst>
                    <a:gs pos="0">
                      <a:srgbClr val="0078D7"/>
                    </a:gs>
                    <a:gs pos="100000">
                      <a:srgbClr val="0078D7"/>
                    </a:gs>
                  </a:gsLst>
                  <a:lin ang="5400000" scaled="0"/>
                </a:gradFill>
                <a:latin typeface="Segoe UI Light" panose="020B0502040204020203" pitchFamily="34" charset="0"/>
                <a:cs typeface="Segoe UI Light" panose="020B0502040204020203" pitchFamily="34" charset="0"/>
              </a:rPr>
              <a:t>needs</a:t>
            </a:r>
            <a:br>
              <a:rPr lang="en-US" sz="3100" spc="0" dirty="0" smtClean="0">
                <a:ln>
                  <a:noFill/>
                </a:ln>
                <a:gradFill>
                  <a:gsLst>
                    <a:gs pos="0">
                      <a:srgbClr val="0078D7"/>
                    </a:gs>
                    <a:gs pos="100000">
                      <a:srgbClr val="0078D7"/>
                    </a:gs>
                  </a:gsLst>
                  <a:lin ang="5400000" scaled="0"/>
                </a:gradFill>
                <a:latin typeface="Segoe UI Light" panose="020B0502040204020203" pitchFamily="34" charset="0"/>
                <a:cs typeface="Segoe UI Light" panose="020B0502040204020203" pitchFamily="34" charset="0"/>
              </a:rPr>
            </a:br>
            <a:r>
              <a:rPr lang="en-US" sz="3100" spc="0" dirty="0">
                <a:ln>
                  <a:noFill/>
                </a:ln>
                <a:gradFill>
                  <a:gsLst>
                    <a:gs pos="0">
                      <a:srgbClr val="0078D7"/>
                    </a:gs>
                    <a:gs pos="100000">
                      <a:srgbClr val="0078D7"/>
                    </a:gs>
                  </a:gsLst>
                  <a:lin ang="5400000" scaled="0"/>
                </a:gradFill>
                <a:latin typeface="Segoe UI Light" panose="020B0502040204020203" pitchFamily="34" charset="0"/>
                <a:cs typeface="Segoe UI Light" panose="020B0502040204020203" pitchFamily="34" charset="0"/>
              </a:rPr>
              <a:t>Remote Monitoring Service Architecture</a:t>
            </a:r>
            <a:r>
              <a:rPr lang="en-US" sz="3100" spc="0" dirty="0">
                <a:ln>
                  <a:noFill/>
                </a:ln>
                <a:gradFill>
                  <a:gsLst>
                    <a:gs pos="0">
                      <a:srgbClr val="0078D7"/>
                    </a:gs>
                    <a:gs pos="100000">
                      <a:srgbClr val="0078D7"/>
                    </a:gs>
                  </a:gsLst>
                  <a:lin ang="5400000" scaled="0"/>
                </a:gradFill>
                <a:latin typeface="Segoe UI"/>
              </a:rPr>
              <a:t/>
            </a:r>
            <a:br>
              <a:rPr lang="en-US" sz="3100" spc="0" dirty="0">
                <a:ln>
                  <a:noFill/>
                </a:ln>
                <a:gradFill>
                  <a:gsLst>
                    <a:gs pos="0">
                      <a:srgbClr val="0078D7"/>
                    </a:gs>
                    <a:gs pos="100000">
                      <a:srgbClr val="0078D7"/>
                    </a:gs>
                  </a:gsLst>
                  <a:lin ang="5400000" scaled="0"/>
                </a:gradFill>
                <a:latin typeface="Segoe UI"/>
              </a:rPr>
            </a:br>
            <a:r>
              <a:rPr lang="en-US" sz="3100" spc="0" dirty="0">
                <a:ln>
                  <a:noFill/>
                </a:ln>
                <a:gradFill>
                  <a:gsLst>
                    <a:gs pos="0">
                      <a:srgbClr val="0078D7"/>
                    </a:gs>
                    <a:gs pos="100000">
                      <a:srgbClr val="0078D7"/>
                    </a:gs>
                  </a:gsLst>
                  <a:lin ang="5400000" scaled="0"/>
                </a:gradFill>
                <a:latin typeface="Segoe UI"/>
                <a:cs typeface="+mn-cs"/>
              </a:rPr>
              <a:t/>
            </a:r>
            <a:br>
              <a:rPr lang="en-US" sz="3100" spc="0" dirty="0">
                <a:ln>
                  <a:noFill/>
                </a:ln>
                <a:gradFill>
                  <a:gsLst>
                    <a:gs pos="0">
                      <a:srgbClr val="0078D7"/>
                    </a:gs>
                    <a:gs pos="100000">
                      <a:srgbClr val="0078D7"/>
                    </a:gs>
                  </a:gsLst>
                  <a:lin ang="5400000" scaled="0"/>
                </a:gradFill>
                <a:latin typeface="Segoe UI"/>
                <a:cs typeface="+mn-cs"/>
              </a:rPr>
            </a:br>
            <a:r>
              <a:rPr lang="en-US" dirty="0"/>
              <a:t> </a:t>
            </a:r>
          </a:p>
        </p:txBody>
      </p:sp>
      <p:sp>
        <p:nvSpPr>
          <p:cNvPr id="2" name="Espace réservé du texte 1"/>
          <p:cNvSpPr>
            <a:spLocks noGrp="1"/>
          </p:cNvSpPr>
          <p:nvPr>
            <p:ph type="body" sz="quarter" idx="13"/>
          </p:nvPr>
        </p:nvSpPr>
        <p:spPr/>
        <p:txBody>
          <a:bodyPr/>
          <a:lstStyle/>
          <a:p>
            <a:endParaRPr lang="fr-FR"/>
          </a:p>
        </p:txBody>
      </p:sp>
      <p:sp>
        <p:nvSpPr>
          <p:cNvPr id="3" name="Espace réservé pour une image  2"/>
          <p:cNvSpPr>
            <a:spLocks noGrp="1"/>
          </p:cNvSpPr>
          <p:nvPr>
            <p:ph type="pic" sz="quarter" idx="17"/>
          </p:nvPr>
        </p:nvSpPr>
        <p:spPr/>
      </p:sp>
      <p:sp>
        <p:nvSpPr>
          <p:cNvPr id="5" name="Title 1"/>
          <p:cNvSpPr txBox="1">
            <a:spLocks/>
          </p:cNvSpPr>
          <p:nvPr/>
        </p:nvSpPr>
        <p:spPr>
          <a:xfrm>
            <a:off x="418642" y="1635896"/>
            <a:ext cx="11655840" cy="899665"/>
          </a:xfrm>
          <a:prstGeom prst="rect">
            <a:avLst/>
          </a:prstGeom>
        </p:spPr>
        <p:txBody>
          <a:bodyPr vert="horz" wrap="square" lIns="143422" tIns="89639" rIns="143422" bIns="8963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defRPr/>
            </a:pPr>
            <a:r>
              <a:rPr lang="en-US" sz="4700" spc="-100" dirty="0">
                <a:gradFill>
                  <a:gsLst>
                    <a:gs pos="1250">
                      <a:srgbClr val="505050"/>
                    </a:gs>
                    <a:gs pos="100000">
                      <a:srgbClr val="505050"/>
                    </a:gs>
                  </a:gsLst>
                  <a:lin ang="5400000" scaled="0"/>
                </a:gradFill>
                <a:latin typeface="Segoe UI Light"/>
              </a:rPr>
              <a:t/>
            </a:r>
            <a:br>
              <a:rPr lang="en-US" sz="4700" spc="-100" dirty="0">
                <a:gradFill>
                  <a:gsLst>
                    <a:gs pos="1250">
                      <a:srgbClr val="505050"/>
                    </a:gs>
                    <a:gs pos="100000">
                      <a:srgbClr val="505050"/>
                    </a:gs>
                  </a:gsLst>
                  <a:lin ang="5400000" scaled="0"/>
                </a:gradFill>
                <a:latin typeface="Segoe UI Light"/>
              </a:rPr>
            </a:br>
            <a:endParaRPr lang="en-US" sz="3900" spc="-100" dirty="0">
              <a:gradFill>
                <a:gsLst>
                  <a:gs pos="0">
                    <a:srgbClr val="0078D7"/>
                  </a:gs>
                  <a:gs pos="100000">
                    <a:srgbClr val="0078D7"/>
                  </a:gs>
                </a:gsLst>
                <a:lin ang="5400000" scaled="0"/>
              </a:gradFill>
              <a:latin typeface="Segoe UI Light"/>
            </a:endParaRPr>
          </a:p>
        </p:txBody>
      </p:sp>
      <p:sp>
        <p:nvSpPr>
          <p:cNvPr id="141" name="Azuee Iot Suite"/>
          <p:cNvSpPr>
            <a:spLocks noChangeArrowheads="1"/>
          </p:cNvSpPr>
          <p:nvPr/>
        </p:nvSpPr>
        <p:spPr bwMode="auto">
          <a:xfrm>
            <a:off x="3117948" y="1962631"/>
            <a:ext cx="5534659" cy="4012083"/>
          </a:xfrm>
          <a:prstGeom prst="rect">
            <a:avLst/>
          </a:prstGeom>
          <a:solidFill>
            <a:schemeClr val="accent1">
              <a:lumMod val="40000"/>
              <a:lumOff val="60000"/>
            </a:schemeClr>
          </a:solidFill>
          <a:ln>
            <a:noFill/>
          </a:ln>
        </p:spPr>
        <p:txBody>
          <a:bodyPr vert="horz" wrap="square" lIns="89639" tIns="44819" rIns="89639" bIns="44819" numCol="1" anchor="t" anchorCtr="0" compatLnSpc="1">
            <a:prstTxWarp prst="textNoShape">
              <a:avLst/>
            </a:prstTxWarp>
          </a:bodyPr>
          <a:lstStyle/>
          <a:p>
            <a:pPr defTabSz="597576">
              <a:defRPr/>
            </a:pPr>
            <a:endParaRPr lang="en-US" kern="0" dirty="0">
              <a:solidFill>
                <a:prstClr val="white"/>
              </a:solidFill>
              <a:latin typeface="Segoe UI"/>
            </a:endParaRPr>
          </a:p>
        </p:txBody>
      </p:sp>
      <p:sp>
        <p:nvSpPr>
          <p:cNvPr id="142" name="Rectangle 148"/>
          <p:cNvSpPr>
            <a:spLocks noChangeArrowheads="1"/>
          </p:cNvSpPr>
          <p:nvPr/>
        </p:nvSpPr>
        <p:spPr bwMode="auto">
          <a:xfrm>
            <a:off x="6995961" y="3028794"/>
            <a:ext cx="3301204" cy="2319033"/>
          </a:xfrm>
          <a:prstGeom prst="rect">
            <a:avLst/>
          </a:prstGeom>
          <a:noFill/>
          <a:ln>
            <a:noFill/>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grpSp>
        <p:nvGrpSpPr>
          <p:cNvPr id="143" name="Group 142"/>
          <p:cNvGrpSpPr/>
          <p:nvPr/>
        </p:nvGrpSpPr>
        <p:grpSpPr>
          <a:xfrm>
            <a:off x="1957110" y="4046027"/>
            <a:ext cx="1033379" cy="113626"/>
            <a:chOff x="2220913" y="3722688"/>
            <a:chExt cx="1054100" cy="115888"/>
          </a:xfrm>
          <a:solidFill>
            <a:srgbClr val="505050">
              <a:lumMod val="75000"/>
            </a:srgbClr>
          </a:solidFill>
        </p:grpSpPr>
        <p:sp>
          <p:nvSpPr>
            <p:cNvPr id="144" name="Line 18"/>
            <p:cNvSpPr>
              <a:spLocks noChangeShapeType="1"/>
            </p:cNvSpPr>
            <p:nvPr/>
          </p:nvSpPr>
          <p:spPr bwMode="auto">
            <a:xfrm>
              <a:off x="2220913" y="3779838"/>
              <a:ext cx="966788" cy="0"/>
            </a:xfrm>
            <a:prstGeom prst="line">
              <a:avLst/>
            </a:prstGeom>
            <a:grpFill/>
            <a:ln w="22225" cap="rnd">
              <a:solidFill>
                <a:srgbClr val="505050">
                  <a:lumMod val="75000"/>
                </a:srgbClr>
              </a:solidFill>
              <a:prstDash val="solid"/>
              <a:round/>
              <a:headEnd/>
              <a:tailEnd/>
            </a:ln>
            <a:extLst/>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45" name="Freeform 19"/>
            <p:cNvSpPr>
              <a:spLocks/>
            </p:cNvSpPr>
            <p:nvPr/>
          </p:nvSpPr>
          <p:spPr bwMode="auto">
            <a:xfrm>
              <a:off x="3159125" y="3722688"/>
              <a:ext cx="115888" cy="115888"/>
            </a:xfrm>
            <a:custGeom>
              <a:avLst/>
              <a:gdLst>
                <a:gd name="T0" fmla="*/ 171 w 171"/>
                <a:gd name="T1" fmla="*/ 85 h 171"/>
                <a:gd name="T2" fmla="*/ 0 w 171"/>
                <a:gd name="T3" fmla="*/ 171 h 171"/>
                <a:gd name="T4" fmla="*/ 0 w 171"/>
                <a:gd name="T5" fmla="*/ 0 h 171"/>
                <a:gd name="T6" fmla="*/ 171 w 171"/>
                <a:gd name="T7" fmla="*/ 85 h 171"/>
              </a:gdLst>
              <a:ahLst/>
              <a:cxnLst>
                <a:cxn ang="0">
                  <a:pos x="T0" y="T1"/>
                </a:cxn>
                <a:cxn ang="0">
                  <a:pos x="T2" y="T3"/>
                </a:cxn>
                <a:cxn ang="0">
                  <a:pos x="T4" y="T5"/>
                </a:cxn>
                <a:cxn ang="0">
                  <a:pos x="T6" y="T7"/>
                </a:cxn>
              </a:cxnLst>
              <a:rect l="0" t="0" r="r" b="b"/>
              <a:pathLst>
                <a:path w="171" h="171">
                  <a:moveTo>
                    <a:pt x="171" y="85"/>
                  </a:moveTo>
                  <a:lnTo>
                    <a:pt x="0" y="171"/>
                  </a:lnTo>
                  <a:cubicBezTo>
                    <a:pt x="27" y="117"/>
                    <a:pt x="27" y="54"/>
                    <a:pt x="0" y="0"/>
                  </a:cubicBezTo>
                  <a:lnTo>
                    <a:pt x="171" y="85"/>
                  </a:lnTo>
                  <a:close/>
                </a:path>
              </a:pathLst>
            </a:cu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grpSp>
        <p:nvGrpSpPr>
          <p:cNvPr id="146" name="Group 145"/>
          <p:cNvGrpSpPr/>
          <p:nvPr/>
        </p:nvGrpSpPr>
        <p:grpSpPr>
          <a:xfrm>
            <a:off x="1957109" y="4301295"/>
            <a:ext cx="1020928" cy="113626"/>
            <a:chOff x="2220913" y="3983038"/>
            <a:chExt cx="1041400" cy="115888"/>
          </a:xfrm>
        </p:grpSpPr>
        <p:sp>
          <p:nvSpPr>
            <p:cNvPr id="147"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48"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149" name="Rectangle 20"/>
          <p:cNvSpPr>
            <a:spLocks noChangeArrowheads="1"/>
          </p:cNvSpPr>
          <p:nvPr/>
        </p:nvSpPr>
        <p:spPr bwMode="auto">
          <a:xfrm>
            <a:off x="10498628" y="2719786"/>
            <a:ext cx="1076502" cy="2797859"/>
          </a:xfrm>
          <a:prstGeom prst="rect">
            <a:avLst/>
          </a:prstGeom>
          <a:solidFill>
            <a:srgbClr val="89CBFF"/>
          </a:solidFill>
          <a:ln w="9525" cap="flat" cmpd="sng" algn="ctr">
            <a:noFill/>
            <a:prstDash val="solid"/>
            <a:headEnd type="none" w="med" len="med"/>
            <a:tailEnd type="none" w="med" len="med"/>
          </a:ln>
          <a:effectLst/>
        </p:spPr>
        <p:txBody>
          <a:bodyPr rot="0" spcFirstLastPara="0" vertOverflow="overflow" horzOverflow="overflow" vert="horz" wrap="square" lIns="179277" tIns="143422" rIns="179277" bIns="143422" numCol="1" spcCol="0" rtlCol="0" fromWordArt="0" anchor="ctr" anchorCtr="0" forceAA="0" compatLnSpc="1">
            <a:prstTxWarp prst="textNoShape">
              <a:avLst/>
            </a:prstTxWarp>
            <a:noAutofit/>
          </a:bodyPr>
          <a:lstStyle/>
          <a:p>
            <a:pPr defTabSz="914202">
              <a:defRPr/>
            </a:pPr>
            <a:r>
              <a:rPr lang="en-US" altLang="en-US" sz="1600" b="1" kern="0" dirty="0">
                <a:solidFill>
                  <a:srgbClr val="0078D7"/>
                </a:solidFill>
                <a:latin typeface="Segoe UI Light" panose="020B0502040204020203" pitchFamily="34" charset="0"/>
                <a:cs typeface="Segoe UI Light" panose="020B0502040204020203" pitchFamily="34" charset="0"/>
              </a:rPr>
              <a:t>Business Process</a:t>
            </a:r>
          </a:p>
          <a:p>
            <a:pPr defTabSz="914202">
              <a:defRPr/>
            </a:pPr>
            <a:r>
              <a:rPr lang="en-US" sz="1600" b="1" kern="0" dirty="0">
                <a:solidFill>
                  <a:srgbClr val="0078D7"/>
                </a:solidFill>
                <a:latin typeface="Segoe UI Light" panose="020B0502040204020203" pitchFamily="34" charset="0"/>
                <a:cs typeface="Segoe UI Light" panose="020B0502040204020203" pitchFamily="34" charset="0"/>
              </a:rPr>
              <a:t/>
            </a:r>
            <a:br>
              <a:rPr lang="en-US" sz="1600" b="1" kern="0" dirty="0">
                <a:solidFill>
                  <a:srgbClr val="0078D7"/>
                </a:solidFill>
                <a:latin typeface="Segoe UI Light" panose="020B0502040204020203" pitchFamily="34" charset="0"/>
                <a:cs typeface="Segoe UI Light" panose="020B0502040204020203" pitchFamily="34" charset="0"/>
              </a:rPr>
            </a:br>
            <a:r>
              <a:rPr lang="en-US" sz="1400" kern="0" dirty="0">
                <a:solidFill>
                  <a:srgbClr val="0078D7"/>
                </a:solidFill>
                <a:latin typeface="Segoe UI Light" panose="020B0502040204020203" pitchFamily="34" charset="0"/>
                <a:cs typeface="Segoe UI Light" panose="020B0502040204020203" pitchFamily="34" charset="0"/>
              </a:rPr>
              <a:t>ERP/CRM</a:t>
            </a:r>
          </a:p>
        </p:txBody>
      </p:sp>
      <p:sp>
        <p:nvSpPr>
          <p:cNvPr id="150" name="Freeform 149"/>
          <p:cNvSpPr>
            <a:spLocks noChangeAspect="1"/>
          </p:cNvSpPr>
          <p:nvPr/>
        </p:nvSpPr>
        <p:spPr bwMode="auto">
          <a:xfrm rot="5280000">
            <a:off x="3384778" y="3895568"/>
            <a:ext cx="438601" cy="557630"/>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w="10795" cap="flat" cmpd="sng" algn="ctr">
            <a:noFill/>
            <a:prstDash val="solid"/>
            <a:headEnd type="none" w="med" len="med"/>
            <a:tailEnd type="none" w="med" len="med"/>
          </a:ln>
          <a:effectLst/>
        </p:spPr>
        <p:txBody>
          <a:bodyPr vert="horz" wrap="square" lIns="0" tIns="45718" rIns="0" bIns="45718" numCol="1" rtlCol="0" anchor="ctr" anchorCtr="0" compatLnSpc="1">
            <a:prstTxWarp prst="textNoShape">
              <a:avLst/>
            </a:prstTxWarp>
          </a:bodyPr>
          <a:lstStyle/>
          <a:p>
            <a:pPr algn="ctr" defTabSz="914080" fontAlgn="base">
              <a:spcBef>
                <a:spcPct val="0"/>
              </a:spcBef>
              <a:spcAft>
                <a:spcPct val="0"/>
              </a:spcAft>
              <a:defRPr/>
            </a:pPr>
            <a:endParaRPr lang="en-US" sz="2000" kern="0" dirty="0">
              <a:gradFill>
                <a:gsLst>
                  <a:gs pos="5417">
                    <a:srgbClr val="505050"/>
                  </a:gs>
                  <a:gs pos="100000">
                    <a:srgbClr val="505050"/>
                  </a:gs>
                </a:gsLst>
                <a:lin ang="5400000" scaled="0"/>
              </a:gradFill>
              <a:latin typeface="Segoe UI"/>
            </a:endParaRPr>
          </a:p>
        </p:txBody>
      </p:sp>
      <p:grpSp>
        <p:nvGrpSpPr>
          <p:cNvPr id="151" name="Group 150"/>
          <p:cNvGrpSpPr/>
          <p:nvPr/>
        </p:nvGrpSpPr>
        <p:grpSpPr>
          <a:xfrm>
            <a:off x="5477432" y="3945484"/>
            <a:ext cx="507354" cy="505868"/>
            <a:chOff x="2296894" y="-3310276"/>
            <a:chExt cx="484187" cy="498475"/>
          </a:xfrm>
        </p:grpSpPr>
        <p:sp>
          <p:nvSpPr>
            <p:cNvPr id="152"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53"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54"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55"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56"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57"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58"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59"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160" name="Rectangle 180"/>
          <p:cNvSpPr>
            <a:spLocks noChangeArrowheads="1"/>
          </p:cNvSpPr>
          <p:nvPr/>
        </p:nvSpPr>
        <p:spPr bwMode="auto">
          <a:xfrm>
            <a:off x="5394656" y="4472448"/>
            <a:ext cx="658690"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dirty="0">
                <a:solidFill>
                  <a:srgbClr val="0078D7"/>
                </a:solidFill>
                <a:latin typeface="Segoe UI" panose="020B0502040204020203" pitchFamily="34" charset="0"/>
              </a:rPr>
              <a:t>Event Hub</a:t>
            </a:r>
            <a:endParaRPr lang="en-US" altLang="en-US" kern="0" dirty="0">
              <a:solidFill>
                <a:prstClr val="black"/>
              </a:solidFill>
            </a:endParaRPr>
          </a:p>
        </p:txBody>
      </p:sp>
      <p:sp>
        <p:nvSpPr>
          <p:cNvPr id="161" name="Line 181"/>
          <p:cNvSpPr>
            <a:spLocks noChangeShapeType="1"/>
          </p:cNvSpPr>
          <p:nvPr/>
        </p:nvSpPr>
        <p:spPr bwMode="auto">
          <a:xfrm>
            <a:off x="3835543" y="4189856"/>
            <a:ext cx="373510" cy="0"/>
          </a:xfrm>
          <a:prstGeom prst="line">
            <a:avLst/>
          </a:prstGeom>
          <a:noFill/>
          <a:ln w="23813" cap="rnd">
            <a:solidFill>
              <a:srgbClr val="0070C0"/>
            </a:solidFill>
            <a:prstDash val="solid"/>
            <a:round/>
            <a:headEnd/>
            <a:tailEnd/>
          </a:ln>
          <a:extLst>
            <a:ext uri="{909E8E84-426E-40dd-AFC4-6F175D3DCCD1}">
              <a14:hiddenFill xmlns:a14="http://schemas.microsoft.com/office/drawing/2010/main" xmlns="">
                <a:no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62" name="Freeform 182"/>
          <p:cNvSpPr>
            <a:spLocks/>
          </p:cNvSpPr>
          <p:nvPr/>
        </p:nvSpPr>
        <p:spPr bwMode="auto">
          <a:xfrm>
            <a:off x="4177928" y="4127595"/>
            <a:ext cx="126059" cy="124521"/>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63" name="Line 183"/>
          <p:cNvSpPr>
            <a:spLocks noChangeShapeType="1"/>
          </p:cNvSpPr>
          <p:nvPr/>
        </p:nvSpPr>
        <p:spPr bwMode="auto">
          <a:xfrm>
            <a:off x="5959883" y="4189857"/>
            <a:ext cx="333049" cy="2953"/>
          </a:xfrm>
          <a:prstGeom prst="line">
            <a:avLst/>
          </a:prstGeom>
          <a:noFill/>
          <a:ln w="23813" cap="rnd">
            <a:solidFill>
              <a:srgbClr val="0070C0"/>
            </a:solidFill>
            <a:prstDash val="solid"/>
            <a:round/>
            <a:headEnd/>
            <a:tailEnd/>
          </a:ln>
          <a:extLst>
            <a:ext uri="{909E8E84-426E-40dd-AFC4-6F175D3DCCD1}">
              <a14:hiddenFill xmlns:a14="http://schemas.microsoft.com/office/drawing/2010/main" xmlns="">
                <a:no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64" name="Freeform 184"/>
          <p:cNvSpPr>
            <a:spLocks/>
          </p:cNvSpPr>
          <p:nvPr/>
        </p:nvSpPr>
        <p:spPr bwMode="auto">
          <a:xfrm>
            <a:off x="6229121" y="4119653"/>
            <a:ext cx="124503" cy="124521"/>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grpSp>
        <p:nvGrpSpPr>
          <p:cNvPr id="165" name="Group 164"/>
          <p:cNvGrpSpPr/>
          <p:nvPr/>
        </p:nvGrpSpPr>
        <p:grpSpPr>
          <a:xfrm>
            <a:off x="5497665" y="3122090"/>
            <a:ext cx="449768" cy="390685"/>
            <a:chOff x="2317532" y="-4150064"/>
            <a:chExt cx="458787" cy="398463"/>
          </a:xfrm>
        </p:grpSpPr>
        <p:sp>
          <p:nvSpPr>
            <p:cNvPr id="166"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67"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68"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69"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170" name="Rectangle 189"/>
          <p:cNvSpPr>
            <a:spLocks noChangeArrowheads="1"/>
          </p:cNvSpPr>
          <p:nvPr/>
        </p:nvSpPr>
        <p:spPr bwMode="auto">
          <a:xfrm>
            <a:off x="5300016" y="3528338"/>
            <a:ext cx="886129"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dirty="0">
                <a:solidFill>
                  <a:srgbClr val="0078D7"/>
                </a:solidFill>
                <a:latin typeface="Segoe UI" panose="020B0502040204020203" pitchFamily="34" charset="0"/>
              </a:rPr>
              <a:t>Storage Blobs</a:t>
            </a:r>
            <a:endParaRPr lang="en-US" altLang="en-US" kern="0" dirty="0">
              <a:solidFill>
                <a:prstClr val="black"/>
              </a:solidFill>
            </a:endParaRPr>
          </a:p>
        </p:txBody>
      </p:sp>
      <p:sp>
        <p:nvSpPr>
          <p:cNvPr id="171" name="Freeform 190"/>
          <p:cNvSpPr>
            <a:spLocks noEditPoints="1"/>
          </p:cNvSpPr>
          <p:nvPr/>
        </p:nvSpPr>
        <p:spPr bwMode="auto">
          <a:xfrm>
            <a:off x="7579984" y="3117419"/>
            <a:ext cx="305034" cy="398468"/>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rgbClr val="0078D7"/>
          </a:solidFill>
          <a:ln w="0">
            <a:no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72" name="Rectangle 191"/>
          <p:cNvSpPr>
            <a:spLocks noChangeArrowheads="1"/>
          </p:cNvSpPr>
          <p:nvPr/>
        </p:nvSpPr>
        <p:spPr bwMode="auto">
          <a:xfrm>
            <a:off x="7346541" y="3509661"/>
            <a:ext cx="838878"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a:solidFill>
                  <a:srgbClr val="0078D7"/>
                </a:solidFill>
                <a:latin typeface="Segoe UI" panose="020B0502040204020203" pitchFamily="34" charset="0"/>
              </a:rPr>
              <a:t>DocumentDB</a:t>
            </a:r>
            <a:endParaRPr lang="en-US" altLang="en-US" kern="0">
              <a:solidFill>
                <a:prstClr val="black"/>
              </a:solidFill>
            </a:endParaRPr>
          </a:p>
        </p:txBody>
      </p:sp>
      <p:sp>
        <p:nvSpPr>
          <p:cNvPr id="173" name="Freeform 193"/>
          <p:cNvSpPr>
            <a:spLocks/>
          </p:cNvSpPr>
          <p:nvPr/>
        </p:nvSpPr>
        <p:spPr bwMode="auto">
          <a:xfrm>
            <a:off x="7670249" y="3702669"/>
            <a:ext cx="124503" cy="124521"/>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74" name="Freeform 194"/>
          <p:cNvSpPr>
            <a:spLocks/>
          </p:cNvSpPr>
          <p:nvPr/>
        </p:nvSpPr>
        <p:spPr bwMode="auto">
          <a:xfrm>
            <a:off x="4626139" y="3318208"/>
            <a:ext cx="757914" cy="627276"/>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75" name="Freeform 195"/>
          <p:cNvSpPr>
            <a:spLocks/>
          </p:cNvSpPr>
          <p:nvPr/>
        </p:nvSpPr>
        <p:spPr bwMode="auto">
          <a:xfrm>
            <a:off x="5352928" y="3254393"/>
            <a:ext cx="126059" cy="126078"/>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grpSp>
        <p:nvGrpSpPr>
          <p:cNvPr id="176" name="Group 175"/>
          <p:cNvGrpSpPr/>
          <p:nvPr/>
        </p:nvGrpSpPr>
        <p:grpSpPr>
          <a:xfrm>
            <a:off x="6033532" y="2392342"/>
            <a:ext cx="498014" cy="442051"/>
            <a:chOff x="3314482" y="-4918414"/>
            <a:chExt cx="508000" cy="450850"/>
          </a:xfrm>
        </p:grpSpPr>
        <p:sp>
          <p:nvSpPr>
            <p:cNvPr id="177"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nvGrpSpPr>
            <p:cNvPr id="178" name="Group 177"/>
            <p:cNvGrpSpPr/>
            <p:nvPr/>
          </p:nvGrpSpPr>
          <p:grpSpPr>
            <a:xfrm>
              <a:off x="3395444" y="-4880314"/>
              <a:ext cx="363537" cy="342900"/>
              <a:chOff x="3395444" y="-4880314"/>
              <a:chExt cx="363537" cy="342900"/>
            </a:xfrm>
          </p:grpSpPr>
          <p:sp>
            <p:nvSpPr>
              <p:cNvPr id="179"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0"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1"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2"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3"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4"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5"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6"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7"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8"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89"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90"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91"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grpSp>
      <p:sp>
        <p:nvSpPr>
          <p:cNvPr id="192" name="Rectangle 212"/>
          <p:cNvSpPr>
            <a:spLocks noChangeArrowheads="1"/>
          </p:cNvSpPr>
          <p:nvPr/>
        </p:nvSpPr>
        <p:spPr bwMode="auto">
          <a:xfrm>
            <a:off x="5976513" y="2915561"/>
            <a:ext cx="593061"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dirty="0">
                <a:solidFill>
                  <a:srgbClr val="0078D7"/>
                </a:solidFill>
                <a:latin typeface="Segoe UI" panose="020B0502040204020203" pitchFamily="34" charset="0"/>
              </a:rPr>
              <a:t>Web App</a:t>
            </a:r>
            <a:endParaRPr lang="en-US" altLang="en-US" kern="0" dirty="0">
              <a:solidFill>
                <a:prstClr val="black"/>
              </a:solidFill>
            </a:endParaRPr>
          </a:p>
        </p:txBody>
      </p:sp>
      <p:sp>
        <p:nvSpPr>
          <p:cNvPr id="193" name="Freeform 213"/>
          <p:cNvSpPr>
            <a:spLocks/>
          </p:cNvSpPr>
          <p:nvPr/>
        </p:nvSpPr>
        <p:spPr bwMode="auto">
          <a:xfrm>
            <a:off x="7399804" y="2589761"/>
            <a:ext cx="332698" cy="43271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rgbClr val="0070C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94" name="Freeform 214"/>
          <p:cNvSpPr>
            <a:spLocks/>
          </p:cNvSpPr>
          <p:nvPr/>
        </p:nvSpPr>
        <p:spPr bwMode="auto">
          <a:xfrm>
            <a:off x="7289576" y="2543324"/>
            <a:ext cx="122947" cy="124521"/>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rgbClr val="0070C0"/>
          </a:solidFill>
          <a:ln w="0">
            <a:no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95" name="Freeform 215"/>
          <p:cNvSpPr>
            <a:spLocks/>
          </p:cNvSpPr>
          <p:nvPr/>
        </p:nvSpPr>
        <p:spPr bwMode="auto">
          <a:xfrm>
            <a:off x="7670249" y="2992898"/>
            <a:ext cx="124503" cy="124521"/>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96" name="Freeform 216"/>
          <p:cNvSpPr>
            <a:spLocks/>
          </p:cNvSpPr>
          <p:nvPr/>
        </p:nvSpPr>
        <p:spPr bwMode="auto">
          <a:xfrm>
            <a:off x="5723327" y="2589760"/>
            <a:ext cx="138249" cy="518321"/>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rgbClr val="0070C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97" name="Line 217"/>
          <p:cNvSpPr>
            <a:spLocks noChangeShapeType="1"/>
          </p:cNvSpPr>
          <p:nvPr/>
        </p:nvSpPr>
        <p:spPr bwMode="auto">
          <a:xfrm flipH="1" flipV="1">
            <a:off x="6589164" y="3370479"/>
            <a:ext cx="6226" cy="521432"/>
          </a:xfrm>
          <a:prstGeom prst="line">
            <a:avLst/>
          </a:prstGeom>
          <a:noFill/>
          <a:ln w="23813" cap="rnd">
            <a:solidFill>
              <a:srgbClr val="0070C0"/>
            </a:solidFill>
            <a:prstDash val="solid"/>
            <a:round/>
            <a:headEnd/>
            <a:tailEnd/>
          </a:ln>
          <a:extLst>
            <a:ext uri="{909E8E84-426E-40dd-AFC4-6F175D3DCCD1}">
              <a14:hiddenFill xmlns:a14="http://schemas.microsoft.com/office/drawing/2010/main" xmlns="">
                <a:no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98" name="Freeform 218"/>
          <p:cNvSpPr>
            <a:spLocks/>
          </p:cNvSpPr>
          <p:nvPr/>
        </p:nvSpPr>
        <p:spPr bwMode="auto">
          <a:xfrm>
            <a:off x="6526816" y="3254561"/>
            <a:ext cx="124503" cy="124521"/>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199" name="Freeform 234"/>
          <p:cNvSpPr>
            <a:spLocks/>
          </p:cNvSpPr>
          <p:nvPr/>
        </p:nvSpPr>
        <p:spPr bwMode="auto">
          <a:xfrm>
            <a:off x="3567861" y="2589762"/>
            <a:ext cx="2376459" cy="1262333"/>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rgbClr val="0070C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00" name="Freeform 235"/>
          <p:cNvSpPr>
            <a:spLocks/>
          </p:cNvSpPr>
          <p:nvPr/>
        </p:nvSpPr>
        <p:spPr bwMode="auto">
          <a:xfrm>
            <a:off x="3505608" y="3804953"/>
            <a:ext cx="124503" cy="124521"/>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grpSp>
        <p:nvGrpSpPr>
          <p:cNvPr id="201" name="Group 200"/>
          <p:cNvGrpSpPr/>
          <p:nvPr/>
        </p:nvGrpSpPr>
        <p:grpSpPr>
          <a:xfrm>
            <a:off x="4311769" y="3945485"/>
            <a:ext cx="628741" cy="488745"/>
            <a:chOff x="1107857" y="-3310276"/>
            <a:chExt cx="641349" cy="498475"/>
          </a:xfrm>
        </p:grpSpPr>
        <p:sp>
          <p:nvSpPr>
            <p:cNvPr id="202"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03"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04"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05"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206" name="Rectangle 240"/>
          <p:cNvSpPr>
            <a:spLocks noChangeArrowheads="1"/>
          </p:cNvSpPr>
          <p:nvPr/>
        </p:nvSpPr>
        <p:spPr bwMode="auto">
          <a:xfrm>
            <a:off x="4125013" y="4457576"/>
            <a:ext cx="1058326"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dirty="0">
                <a:solidFill>
                  <a:srgbClr val="0078D7"/>
                </a:solidFill>
                <a:latin typeface="Segoe UI" panose="020B0502040204020203" pitchFamily="34" charset="0"/>
              </a:rPr>
              <a:t>Stream Analytics</a:t>
            </a:r>
            <a:endParaRPr lang="en-US" altLang="en-US" kern="0" dirty="0">
              <a:solidFill>
                <a:prstClr val="black"/>
              </a:solidFill>
            </a:endParaRPr>
          </a:p>
        </p:txBody>
      </p:sp>
      <p:sp>
        <p:nvSpPr>
          <p:cNvPr id="207" name="Line 241"/>
          <p:cNvSpPr>
            <a:spLocks noChangeShapeType="1"/>
          </p:cNvSpPr>
          <p:nvPr/>
        </p:nvSpPr>
        <p:spPr bwMode="auto">
          <a:xfrm>
            <a:off x="4957630" y="4189856"/>
            <a:ext cx="418642" cy="0"/>
          </a:xfrm>
          <a:prstGeom prst="line">
            <a:avLst/>
          </a:prstGeom>
          <a:noFill/>
          <a:ln w="23813" cap="rnd">
            <a:solidFill>
              <a:srgbClr val="0070C0"/>
            </a:solidFill>
            <a:prstDash val="solid"/>
            <a:round/>
            <a:headEnd/>
            <a:tailEnd/>
          </a:ln>
          <a:extLst>
            <a:ext uri="{909E8E84-426E-40dd-AFC4-6F175D3DCCD1}">
              <a14:hiddenFill xmlns:a14="http://schemas.microsoft.com/office/drawing/2010/main" xmlns="">
                <a:no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08" name="Freeform 242"/>
          <p:cNvSpPr>
            <a:spLocks/>
          </p:cNvSpPr>
          <p:nvPr/>
        </p:nvSpPr>
        <p:spPr bwMode="auto">
          <a:xfrm>
            <a:off x="5345148" y="4127595"/>
            <a:ext cx="126059" cy="124521"/>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grpSp>
        <p:nvGrpSpPr>
          <p:cNvPr id="209" name="Group 208"/>
          <p:cNvGrpSpPr/>
          <p:nvPr/>
        </p:nvGrpSpPr>
        <p:grpSpPr>
          <a:xfrm>
            <a:off x="8866210" y="3965032"/>
            <a:ext cx="417088" cy="418704"/>
            <a:chOff x="5737007" y="-3299164"/>
            <a:chExt cx="425450" cy="427038"/>
          </a:xfrm>
        </p:grpSpPr>
        <p:sp>
          <p:nvSpPr>
            <p:cNvPr id="210"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11" name="Oval 249"/>
            <p:cNvSpPr>
              <a:spLocks noChangeArrowheads="1"/>
            </p:cNvSpPr>
            <p:nvPr/>
          </p:nvSpPr>
          <p:spPr bwMode="auto">
            <a:xfrm>
              <a:off x="5937032" y="-3132476"/>
              <a:ext cx="60325" cy="60325"/>
            </a:xfrm>
            <a:prstGeom prst="ellipse">
              <a:avLst/>
            </a:pr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212" name="Rectangle 250"/>
          <p:cNvSpPr>
            <a:spLocks noChangeArrowheads="1"/>
          </p:cNvSpPr>
          <p:nvPr/>
        </p:nvSpPr>
        <p:spPr bwMode="auto">
          <a:xfrm>
            <a:off x="8690782" y="4463270"/>
            <a:ext cx="697951"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dirty="0">
                <a:solidFill>
                  <a:srgbClr val="0078D7"/>
                </a:solidFill>
                <a:latin typeface="Segoe UI" panose="020B0502040204020203" pitchFamily="34" charset="0"/>
              </a:rPr>
              <a:t>Logic Apps</a:t>
            </a:r>
            <a:endParaRPr lang="en-US" altLang="en-US" kern="0" dirty="0">
              <a:solidFill>
                <a:prstClr val="black"/>
              </a:solidFill>
            </a:endParaRPr>
          </a:p>
        </p:txBody>
      </p:sp>
      <p:sp>
        <p:nvSpPr>
          <p:cNvPr id="213" name="Line 251"/>
          <p:cNvSpPr>
            <a:spLocks noChangeShapeType="1"/>
          </p:cNvSpPr>
          <p:nvPr/>
        </p:nvSpPr>
        <p:spPr bwMode="auto">
          <a:xfrm>
            <a:off x="6960580" y="4198527"/>
            <a:ext cx="1785069" cy="0"/>
          </a:xfrm>
          <a:prstGeom prst="line">
            <a:avLst/>
          </a:prstGeom>
          <a:noFill/>
          <a:ln w="23813" cap="rnd">
            <a:solidFill>
              <a:srgbClr val="0070C0"/>
            </a:solidFill>
            <a:prstDash val="solid"/>
            <a:round/>
            <a:headEnd/>
            <a:tailEnd/>
          </a:ln>
          <a:extLst>
            <a:ext uri="{909E8E84-426E-40dd-AFC4-6F175D3DCCD1}">
              <a14:hiddenFill xmlns:a14="http://schemas.microsoft.com/office/drawing/2010/main" xmlns="">
                <a:no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14" name="Freeform 252"/>
          <p:cNvSpPr>
            <a:spLocks/>
          </p:cNvSpPr>
          <p:nvPr/>
        </p:nvSpPr>
        <p:spPr bwMode="auto">
          <a:xfrm>
            <a:off x="8714521" y="4136267"/>
            <a:ext cx="124503" cy="124521"/>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rgbClr val="0070C0"/>
          </a:solidFill>
          <a:ln w="0">
            <a:solidFill>
              <a:srgbClr val="0070C0"/>
            </a:solidFill>
            <a:prstDash val="solid"/>
            <a:round/>
            <a:headEnd/>
            <a:tailEnd/>
          </a:ln>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grpSp>
        <p:nvGrpSpPr>
          <p:cNvPr id="215" name="Group 214"/>
          <p:cNvGrpSpPr/>
          <p:nvPr/>
        </p:nvGrpSpPr>
        <p:grpSpPr>
          <a:xfrm>
            <a:off x="7698960" y="4983763"/>
            <a:ext cx="470001" cy="476293"/>
            <a:chOff x="4355882" y="-2354601"/>
            <a:chExt cx="479425" cy="485775"/>
          </a:xfrm>
        </p:grpSpPr>
        <p:sp>
          <p:nvSpPr>
            <p:cNvPr id="216"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17"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18"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219" name="Rectangle 256"/>
          <p:cNvSpPr>
            <a:spLocks noChangeArrowheads="1"/>
          </p:cNvSpPr>
          <p:nvPr/>
        </p:nvSpPr>
        <p:spPr bwMode="auto">
          <a:xfrm>
            <a:off x="7762767" y="5517644"/>
            <a:ext cx="381327"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a:solidFill>
                  <a:srgbClr val="0078D7"/>
                </a:solidFill>
                <a:latin typeface="Segoe UI" panose="020B0502040204020203" pitchFamily="34" charset="0"/>
              </a:rPr>
              <a:t>Azure </a:t>
            </a:r>
            <a:endParaRPr lang="en-US" altLang="en-US" kern="0">
              <a:solidFill>
                <a:prstClr val="black"/>
              </a:solidFill>
            </a:endParaRPr>
          </a:p>
        </p:txBody>
      </p:sp>
      <p:sp>
        <p:nvSpPr>
          <p:cNvPr id="220" name="Rectangle 257"/>
          <p:cNvSpPr>
            <a:spLocks noChangeArrowheads="1"/>
          </p:cNvSpPr>
          <p:nvPr/>
        </p:nvSpPr>
        <p:spPr bwMode="auto">
          <a:xfrm>
            <a:off x="7451507" y="5687306"/>
            <a:ext cx="1000480"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a:solidFill>
                  <a:srgbClr val="0078D7"/>
                </a:solidFill>
                <a:latin typeface="Segoe UI" panose="020B0502040204020203" pitchFamily="34" charset="0"/>
              </a:rPr>
              <a:t>Active Directory</a:t>
            </a:r>
            <a:endParaRPr lang="en-US" altLang="en-US" kern="0">
              <a:solidFill>
                <a:prstClr val="black"/>
              </a:solidFill>
            </a:endParaRPr>
          </a:p>
        </p:txBody>
      </p:sp>
      <p:sp>
        <p:nvSpPr>
          <p:cNvPr id="221" name="Rectangle 260"/>
          <p:cNvSpPr>
            <a:spLocks noChangeArrowheads="1"/>
          </p:cNvSpPr>
          <p:nvPr/>
        </p:nvSpPr>
        <p:spPr bwMode="auto">
          <a:xfrm>
            <a:off x="3346867" y="4457577"/>
            <a:ext cx="501784"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a:solidFill>
                  <a:srgbClr val="0078D7"/>
                </a:solidFill>
                <a:latin typeface="Segoe UI" panose="020B0502040204020203" pitchFamily="34" charset="0"/>
              </a:rPr>
              <a:t>IoT Hub</a:t>
            </a:r>
            <a:endParaRPr lang="en-US" altLang="en-US" kern="0">
              <a:solidFill>
                <a:prstClr val="black"/>
              </a:solidFill>
            </a:endParaRPr>
          </a:p>
        </p:txBody>
      </p:sp>
      <p:grpSp>
        <p:nvGrpSpPr>
          <p:cNvPr id="222" name="Group 221"/>
          <p:cNvGrpSpPr/>
          <p:nvPr/>
        </p:nvGrpSpPr>
        <p:grpSpPr>
          <a:xfrm>
            <a:off x="6362961" y="3968672"/>
            <a:ext cx="498014" cy="440494"/>
            <a:chOff x="3314482" y="-3310276"/>
            <a:chExt cx="508000" cy="449263"/>
          </a:xfrm>
        </p:grpSpPr>
        <p:sp>
          <p:nvSpPr>
            <p:cNvPr id="223"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24"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25"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26"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27"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28"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29"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30"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31"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32"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33"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34"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35"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36"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237" name="Rectangle 275"/>
          <p:cNvSpPr>
            <a:spLocks noChangeArrowheads="1"/>
          </p:cNvSpPr>
          <p:nvPr/>
        </p:nvSpPr>
        <p:spPr bwMode="auto">
          <a:xfrm>
            <a:off x="6310544" y="4462308"/>
            <a:ext cx="640036"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597576">
              <a:defRPr/>
            </a:pPr>
            <a:r>
              <a:rPr lang="en-US" altLang="en-US" sz="1100" kern="0" dirty="0">
                <a:solidFill>
                  <a:srgbClr val="0078D7"/>
                </a:solidFill>
                <a:latin typeface="Segoe UI" panose="020B0502040204020203" pitchFamily="34" charset="0"/>
              </a:rPr>
              <a:t>Web Jobs</a:t>
            </a:r>
            <a:endParaRPr lang="en-US" altLang="en-US" kern="0" dirty="0">
              <a:solidFill>
                <a:prstClr val="black"/>
              </a:solidFill>
            </a:endParaRPr>
          </a:p>
        </p:txBody>
      </p:sp>
      <p:grpSp>
        <p:nvGrpSpPr>
          <p:cNvPr id="247" name="Group 246"/>
          <p:cNvGrpSpPr/>
          <p:nvPr/>
        </p:nvGrpSpPr>
        <p:grpSpPr>
          <a:xfrm>
            <a:off x="9387621" y="4025738"/>
            <a:ext cx="986329" cy="154781"/>
            <a:chOff x="2220913" y="3983038"/>
            <a:chExt cx="1041400" cy="115888"/>
          </a:xfrm>
        </p:grpSpPr>
        <p:sp>
          <p:nvSpPr>
            <p:cNvPr id="248"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49"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grpSp>
        <p:nvGrpSpPr>
          <p:cNvPr id="250" name="1 Devices - sensors"/>
          <p:cNvGrpSpPr/>
          <p:nvPr/>
        </p:nvGrpSpPr>
        <p:grpSpPr>
          <a:xfrm>
            <a:off x="-117551" y="2033280"/>
            <a:ext cx="3585963" cy="3419715"/>
            <a:chOff x="-977339" y="2485984"/>
            <a:chExt cx="3976839" cy="3501091"/>
          </a:xfrm>
        </p:grpSpPr>
        <p:sp>
          <p:nvSpPr>
            <p:cNvPr id="251" name="TextBox 250"/>
            <p:cNvSpPr txBox="1"/>
            <p:nvPr/>
          </p:nvSpPr>
          <p:spPr>
            <a:xfrm>
              <a:off x="-977339" y="2485984"/>
              <a:ext cx="3976839" cy="850772"/>
            </a:xfrm>
            <a:prstGeom prst="rect">
              <a:avLst/>
            </a:prstGeom>
            <a:noFill/>
            <a:ln>
              <a:noFill/>
              <a:headEnd type="none" w="med" len="med"/>
              <a:tailEnd type="none" w="med" len="med"/>
            </a:ln>
          </p:spPr>
          <p:txBody>
            <a:bodyPr wrap="square" lIns="0" tIns="0" rIns="0" bIns="0" rtlCol="0">
              <a:spAutoFit/>
            </a:bodyPr>
            <a:lstStyle/>
            <a:p>
              <a:pPr algn="ctr" defTabSz="913993">
                <a:defRPr/>
              </a:pPr>
              <a:r>
                <a:rPr lang="en-US" b="1" kern="0" dirty="0">
                  <a:solidFill>
                    <a:srgbClr val="087CD8"/>
                  </a:solidFill>
                  <a:latin typeface="Segoe UI Light" panose="020B0502040204020203" pitchFamily="34" charset="0"/>
                </a:rPr>
                <a:t>Devices</a:t>
              </a:r>
            </a:p>
            <a:p>
              <a:pPr algn="ctr" defTabSz="913993">
                <a:defRPr/>
              </a:pPr>
              <a:r>
                <a:rPr lang="en-US" sz="1200" kern="0" dirty="0">
                  <a:solidFill>
                    <a:srgbClr val="087CD8"/>
                  </a:solidFill>
                  <a:latin typeface="Segoe UI Light" panose="020B0502040204020203" pitchFamily="34" charset="0"/>
                  <a:cs typeface="Segoe UI Light" panose="020B0502040204020203" pitchFamily="34" charset="0"/>
                </a:rPr>
                <a:t>Azure IoT SDK (OSS)</a:t>
              </a:r>
            </a:p>
            <a:p>
              <a:pPr algn="ctr" defTabSz="913993">
                <a:defRPr/>
              </a:pPr>
              <a:r>
                <a:rPr lang="en-US" sz="1200" kern="0" dirty="0">
                  <a:solidFill>
                    <a:srgbClr val="087CD8"/>
                  </a:solidFill>
                  <a:latin typeface="Segoe UI Light" panose="020B0502040204020203" pitchFamily="34" charset="0"/>
                  <a:cs typeface="Segoe UI Light" panose="020B0502040204020203" pitchFamily="34" charset="0"/>
                </a:rPr>
                <a:t>Linux, RTOS, mBed, Windows, </a:t>
              </a:r>
            </a:p>
            <a:p>
              <a:pPr algn="ctr" defTabSz="913993">
                <a:defRPr/>
              </a:pPr>
              <a:r>
                <a:rPr lang="en-US" sz="1200" kern="0" dirty="0">
                  <a:solidFill>
                    <a:srgbClr val="087CD8"/>
                  </a:solidFill>
                  <a:latin typeface="Segoe UI Light" panose="020B0502040204020203" pitchFamily="34" charset="0"/>
                  <a:cs typeface="Segoe UI Light" panose="020B0502040204020203" pitchFamily="34" charset="0"/>
                </a:rPr>
                <a:t>Android, iOS </a:t>
              </a:r>
            </a:p>
          </p:txBody>
        </p:sp>
        <p:sp>
          <p:nvSpPr>
            <p:cNvPr id="252" name="Rectangle 251"/>
            <p:cNvSpPr/>
            <p:nvPr/>
          </p:nvSpPr>
          <p:spPr bwMode="auto">
            <a:xfrm>
              <a:off x="814417" y="3511836"/>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895725" fontAlgn="base">
                <a:spcBef>
                  <a:spcPct val="0"/>
                </a:spcBef>
                <a:spcAft>
                  <a:spcPct val="0"/>
                </a:spcAft>
                <a:defRPr/>
              </a:pPr>
              <a:endParaRPr lang="en-US" kern="0" spc="-50" dirty="0">
                <a:solidFill>
                  <a:prstClr val="black"/>
                </a:solidFill>
                <a:latin typeface="Segoe UI"/>
                <a:ea typeface="Segoe UI" pitchFamily="34" charset="0"/>
                <a:cs typeface="Segoe UI" pitchFamily="34" charset="0"/>
              </a:endParaRPr>
            </a:p>
          </p:txBody>
        </p:sp>
        <p:sp>
          <p:nvSpPr>
            <p:cNvPr id="253" name="Frame 5"/>
            <p:cNvSpPr>
              <a:spLocks noChangeAspect="1"/>
            </p:cNvSpPr>
            <p:nvPr/>
          </p:nvSpPr>
          <p:spPr bwMode="auto">
            <a:xfrm>
              <a:off x="856938" y="354806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53694" fontAlgn="base">
                <a:spcBef>
                  <a:spcPct val="0"/>
                </a:spcBef>
                <a:spcAft>
                  <a:spcPct val="0"/>
                </a:spcAft>
                <a:defRPr/>
              </a:pPr>
              <a:endParaRPr lang="en-US" sz="2300" kern="0" spc="-5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4" name="Rectangle 253"/>
            <p:cNvSpPr/>
            <p:nvPr/>
          </p:nvSpPr>
          <p:spPr bwMode="auto">
            <a:xfrm>
              <a:off x="814417" y="3873444"/>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895725" fontAlgn="base">
                <a:spcBef>
                  <a:spcPct val="0"/>
                </a:spcBef>
                <a:spcAft>
                  <a:spcPct val="0"/>
                </a:spcAft>
                <a:defRPr/>
              </a:pPr>
              <a:endParaRPr lang="en-US" kern="0" spc="-50" dirty="0">
                <a:solidFill>
                  <a:prstClr val="black"/>
                </a:solidFill>
                <a:latin typeface="Segoe UI"/>
                <a:ea typeface="Segoe UI" pitchFamily="34" charset="0"/>
                <a:cs typeface="Segoe UI" pitchFamily="34" charset="0"/>
              </a:endParaRPr>
            </a:p>
          </p:txBody>
        </p:sp>
        <p:sp>
          <p:nvSpPr>
            <p:cNvPr id="255" name="Frame 5"/>
            <p:cNvSpPr>
              <a:spLocks noChangeAspect="1"/>
            </p:cNvSpPr>
            <p:nvPr/>
          </p:nvSpPr>
          <p:spPr bwMode="auto">
            <a:xfrm>
              <a:off x="856938" y="3909673"/>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53694" fontAlgn="base">
                <a:spcBef>
                  <a:spcPct val="0"/>
                </a:spcBef>
                <a:spcAft>
                  <a:spcPct val="0"/>
                </a:spcAft>
                <a:defRPr/>
              </a:pPr>
              <a:endParaRPr lang="en-US" sz="2300" kern="0" spc="-5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p:cNvSpPr/>
            <p:nvPr/>
          </p:nvSpPr>
          <p:spPr bwMode="auto">
            <a:xfrm>
              <a:off x="814417" y="422799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895725" fontAlgn="base">
                <a:spcBef>
                  <a:spcPct val="0"/>
                </a:spcBef>
                <a:spcAft>
                  <a:spcPct val="0"/>
                </a:spcAft>
                <a:defRPr/>
              </a:pPr>
              <a:endParaRPr lang="en-US" kern="0" spc="-50" dirty="0">
                <a:solidFill>
                  <a:prstClr val="black"/>
                </a:solidFill>
                <a:latin typeface="Segoe UI"/>
                <a:ea typeface="Segoe UI" pitchFamily="34" charset="0"/>
                <a:cs typeface="Segoe UI" pitchFamily="34" charset="0"/>
              </a:endParaRPr>
            </a:p>
          </p:txBody>
        </p:sp>
        <p:sp>
          <p:nvSpPr>
            <p:cNvPr id="257" name="Frame 5"/>
            <p:cNvSpPr>
              <a:spLocks noChangeAspect="1"/>
            </p:cNvSpPr>
            <p:nvPr/>
          </p:nvSpPr>
          <p:spPr bwMode="auto">
            <a:xfrm>
              <a:off x="856938" y="426422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53694" fontAlgn="base">
                <a:spcBef>
                  <a:spcPct val="0"/>
                </a:spcBef>
                <a:spcAft>
                  <a:spcPct val="0"/>
                </a:spcAft>
                <a:defRPr/>
              </a:pPr>
              <a:endParaRPr lang="en-US" sz="2300" kern="0" spc="-5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8" name="Rectangle 257"/>
            <p:cNvSpPr/>
            <p:nvPr/>
          </p:nvSpPr>
          <p:spPr bwMode="auto">
            <a:xfrm>
              <a:off x="814417" y="4588407"/>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895725" fontAlgn="base">
                <a:spcBef>
                  <a:spcPct val="0"/>
                </a:spcBef>
                <a:spcAft>
                  <a:spcPct val="0"/>
                </a:spcAft>
                <a:defRPr/>
              </a:pPr>
              <a:endParaRPr lang="en-US" kern="0" spc="-50" dirty="0">
                <a:solidFill>
                  <a:prstClr val="black"/>
                </a:solidFill>
                <a:latin typeface="Segoe UI"/>
                <a:ea typeface="Segoe UI" pitchFamily="34" charset="0"/>
                <a:cs typeface="Segoe UI" pitchFamily="34" charset="0"/>
              </a:endParaRPr>
            </a:p>
          </p:txBody>
        </p:sp>
        <p:sp>
          <p:nvSpPr>
            <p:cNvPr id="259" name="Frame 5"/>
            <p:cNvSpPr>
              <a:spLocks noChangeAspect="1"/>
            </p:cNvSpPr>
            <p:nvPr/>
          </p:nvSpPr>
          <p:spPr bwMode="auto">
            <a:xfrm>
              <a:off x="856938" y="4624635"/>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53694" fontAlgn="base">
                <a:spcBef>
                  <a:spcPct val="0"/>
                </a:spcBef>
                <a:spcAft>
                  <a:spcPct val="0"/>
                </a:spcAft>
                <a:defRPr/>
              </a:pPr>
              <a:endParaRPr lang="en-US" sz="2300" kern="0" spc="-5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0" name="Rectangle 259"/>
            <p:cNvSpPr/>
            <p:nvPr/>
          </p:nvSpPr>
          <p:spPr bwMode="auto">
            <a:xfrm>
              <a:off x="814417" y="4948865"/>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895725" fontAlgn="base">
                <a:spcBef>
                  <a:spcPct val="0"/>
                </a:spcBef>
                <a:spcAft>
                  <a:spcPct val="0"/>
                </a:spcAft>
                <a:defRPr/>
              </a:pPr>
              <a:endParaRPr lang="en-US" kern="0" spc="-50" dirty="0">
                <a:solidFill>
                  <a:prstClr val="black"/>
                </a:solidFill>
                <a:latin typeface="Segoe UI"/>
                <a:ea typeface="Segoe UI" pitchFamily="34" charset="0"/>
                <a:cs typeface="Segoe UI" pitchFamily="34" charset="0"/>
              </a:endParaRPr>
            </a:p>
          </p:txBody>
        </p:sp>
        <p:sp>
          <p:nvSpPr>
            <p:cNvPr id="261" name="Frame 5"/>
            <p:cNvSpPr>
              <a:spLocks noChangeAspect="1"/>
            </p:cNvSpPr>
            <p:nvPr/>
          </p:nvSpPr>
          <p:spPr bwMode="auto">
            <a:xfrm>
              <a:off x="856938" y="4985094"/>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53694" fontAlgn="base">
                <a:spcBef>
                  <a:spcPct val="0"/>
                </a:spcBef>
                <a:spcAft>
                  <a:spcPct val="0"/>
                </a:spcAft>
                <a:defRPr/>
              </a:pPr>
              <a:endParaRPr lang="en-US" sz="2300" kern="0" spc="-5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2" name="Rectangle 261"/>
            <p:cNvSpPr/>
            <p:nvPr/>
          </p:nvSpPr>
          <p:spPr bwMode="auto">
            <a:xfrm>
              <a:off x="814417" y="530704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895725" fontAlgn="base">
                <a:spcBef>
                  <a:spcPct val="0"/>
                </a:spcBef>
                <a:spcAft>
                  <a:spcPct val="0"/>
                </a:spcAft>
                <a:defRPr/>
              </a:pPr>
              <a:endParaRPr lang="en-US" kern="0" spc="-50" dirty="0">
                <a:solidFill>
                  <a:prstClr val="black"/>
                </a:solidFill>
                <a:latin typeface="Segoe UI"/>
                <a:ea typeface="Segoe UI" pitchFamily="34" charset="0"/>
                <a:cs typeface="Segoe UI" pitchFamily="34" charset="0"/>
              </a:endParaRPr>
            </a:p>
          </p:txBody>
        </p:sp>
        <p:sp>
          <p:nvSpPr>
            <p:cNvPr id="263" name="Frame 5"/>
            <p:cNvSpPr>
              <a:spLocks noChangeAspect="1"/>
            </p:cNvSpPr>
            <p:nvPr/>
          </p:nvSpPr>
          <p:spPr bwMode="auto">
            <a:xfrm>
              <a:off x="856938" y="534327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53694" fontAlgn="base">
                <a:spcBef>
                  <a:spcPct val="0"/>
                </a:spcBef>
                <a:spcAft>
                  <a:spcPct val="0"/>
                </a:spcAft>
                <a:defRPr/>
              </a:pPr>
              <a:endParaRPr lang="en-US" sz="2300" kern="0" spc="-5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4" name="Rectangle 263"/>
            <p:cNvSpPr/>
            <p:nvPr/>
          </p:nvSpPr>
          <p:spPr bwMode="auto">
            <a:xfrm>
              <a:off x="814417" y="5665173"/>
              <a:ext cx="333651" cy="321902"/>
            </a:xfrm>
            <a:prstGeom prst="rect">
              <a:avLst/>
            </a:prstGeom>
            <a:gradFill flip="none" rotWithShape="1">
              <a:gsLst>
                <a:gs pos="50000">
                  <a:srgbClr val="5EB6DA"/>
                </a:gs>
                <a:gs pos="50000">
                  <a:srgbClr val="3999C6"/>
                </a:gs>
              </a:gsLst>
              <a:lin ang="8100000" scaled="1"/>
              <a:tileRect/>
            </a:gradFill>
            <a:ln w="9525" cap="flat" cmpd="sng" algn="ctr">
              <a:noFill/>
              <a:prstDash val="solid"/>
              <a:headEnd type="none" w="med" len="med"/>
              <a:tailEnd type="none" w="med" len="med"/>
            </a:ln>
            <a:effectLst/>
          </p:spPr>
          <p:txBody>
            <a:bodyPr rot="0" spcFirstLastPara="0" vertOverflow="overflow" horzOverflow="overflow" vert="horz" wrap="square" lIns="91415" tIns="45707" rIns="45707" bIns="91415" numCol="1" spcCol="0" rtlCol="0" fromWordArt="0" anchor="b" anchorCtr="0" forceAA="0" compatLnSpc="1">
              <a:prstTxWarp prst="textNoShape">
                <a:avLst/>
              </a:prstTxWarp>
              <a:noAutofit/>
            </a:bodyPr>
            <a:lstStyle/>
            <a:p>
              <a:pPr algn="ctr" defTabSz="895725" fontAlgn="base">
                <a:spcBef>
                  <a:spcPct val="0"/>
                </a:spcBef>
                <a:spcAft>
                  <a:spcPct val="0"/>
                </a:spcAft>
                <a:defRPr/>
              </a:pPr>
              <a:endParaRPr lang="en-US" kern="0" spc="-50" dirty="0">
                <a:solidFill>
                  <a:prstClr val="black"/>
                </a:solidFill>
                <a:latin typeface="Segoe UI"/>
                <a:ea typeface="Segoe UI" pitchFamily="34" charset="0"/>
                <a:cs typeface="Segoe UI" pitchFamily="34" charset="0"/>
              </a:endParaRPr>
            </a:p>
          </p:txBody>
        </p:sp>
        <p:sp>
          <p:nvSpPr>
            <p:cNvPr id="265" name="Frame 5"/>
            <p:cNvSpPr>
              <a:spLocks noChangeAspect="1"/>
            </p:cNvSpPr>
            <p:nvPr/>
          </p:nvSpPr>
          <p:spPr bwMode="auto">
            <a:xfrm>
              <a:off x="856938" y="5701402"/>
              <a:ext cx="249509" cy="249443"/>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107540" tIns="53771" rIns="53771" bIns="107540" numCol="1" spcCol="0" rtlCol="0" fromWordArt="0" anchor="b" anchorCtr="0" forceAA="0" compatLnSpc="1">
              <a:prstTxWarp prst="textNoShape">
                <a:avLst/>
              </a:prstTxWarp>
              <a:noAutofit/>
            </a:bodyPr>
            <a:lstStyle/>
            <a:p>
              <a:pPr algn="ctr" defTabSz="1053694" fontAlgn="base">
                <a:spcBef>
                  <a:spcPct val="0"/>
                </a:spcBef>
                <a:spcAft>
                  <a:spcPct val="0"/>
                </a:spcAft>
                <a:defRPr/>
              </a:pPr>
              <a:endParaRPr lang="en-US" sz="2300" kern="0" spc="-5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66" name="Group 265"/>
          <p:cNvGrpSpPr/>
          <p:nvPr/>
        </p:nvGrpSpPr>
        <p:grpSpPr>
          <a:xfrm rot="10800000">
            <a:off x="9407974" y="4253848"/>
            <a:ext cx="986329" cy="155317"/>
            <a:chOff x="2220913" y="3983038"/>
            <a:chExt cx="1041400" cy="115888"/>
          </a:xfrm>
        </p:grpSpPr>
        <p:sp>
          <p:nvSpPr>
            <p:cNvPr id="267" name="Line 83"/>
            <p:cNvSpPr>
              <a:spLocks noChangeShapeType="1"/>
            </p:cNvSpPr>
            <p:nvPr/>
          </p:nvSpPr>
          <p:spPr bwMode="auto">
            <a:xfrm flipH="1">
              <a:off x="2308225" y="4041775"/>
              <a:ext cx="954088" cy="0"/>
            </a:xfrm>
            <a:prstGeom prst="line">
              <a:avLst/>
            </a:prstGeom>
            <a:noFill/>
            <a:ln w="22225" cap="rnd">
              <a:solidFill>
                <a:srgbClr val="505050">
                  <a:lumMod val="75000"/>
                </a:srgbClr>
              </a:solidFill>
              <a:prstDash val="solid"/>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68" name="Freeform 84"/>
            <p:cNvSpPr>
              <a:spLocks/>
            </p:cNvSpPr>
            <p:nvPr/>
          </p:nvSpPr>
          <p:spPr bwMode="auto">
            <a:xfrm>
              <a:off x="2220913" y="3983038"/>
              <a:ext cx="115888" cy="115888"/>
            </a:xfrm>
            <a:custGeom>
              <a:avLst/>
              <a:gdLst>
                <a:gd name="T0" fmla="*/ 0 w 172"/>
                <a:gd name="T1" fmla="*/ 85 h 171"/>
                <a:gd name="T2" fmla="*/ 172 w 172"/>
                <a:gd name="T3" fmla="*/ 0 h 171"/>
                <a:gd name="T4" fmla="*/ 172 w 172"/>
                <a:gd name="T5" fmla="*/ 171 h 171"/>
                <a:gd name="T6" fmla="*/ 0 w 172"/>
                <a:gd name="T7" fmla="*/ 85 h 171"/>
              </a:gdLst>
              <a:ahLst/>
              <a:cxnLst>
                <a:cxn ang="0">
                  <a:pos x="T0" y="T1"/>
                </a:cxn>
                <a:cxn ang="0">
                  <a:pos x="T2" y="T3"/>
                </a:cxn>
                <a:cxn ang="0">
                  <a:pos x="T4" y="T5"/>
                </a:cxn>
                <a:cxn ang="0">
                  <a:pos x="T6" y="T7"/>
                </a:cxn>
              </a:cxnLst>
              <a:rect l="0" t="0" r="r" b="b"/>
              <a:pathLst>
                <a:path w="172" h="171">
                  <a:moveTo>
                    <a:pt x="0" y="85"/>
                  </a:moveTo>
                  <a:lnTo>
                    <a:pt x="172" y="0"/>
                  </a:lnTo>
                  <a:cubicBezTo>
                    <a:pt x="145" y="54"/>
                    <a:pt x="145" y="117"/>
                    <a:pt x="172" y="171"/>
                  </a:cubicBezTo>
                  <a:lnTo>
                    <a:pt x="0" y="85"/>
                  </a:lnTo>
                  <a:close/>
                </a:path>
              </a:pathLst>
            </a:custGeom>
            <a:solidFill>
              <a:srgbClr val="505050">
                <a:lumMod val="75000"/>
              </a:srgbClr>
            </a:solidFill>
            <a:ln w="0">
              <a:solidFill>
                <a:srgbClr val="505050">
                  <a:lumMod val="75000"/>
                </a:srgbClr>
              </a:solidFill>
              <a:prstDash val="solid"/>
              <a:round/>
              <a:headEnd/>
              <a:tailEnd/>
            </a:ln>
          </p:spPr>
          <p:txBody>
            <a:bodyPr vert="horz" wrap="square" lIns="91440" tIns="45720" rIns="91440" bIns="45720" numCol="1" anchor="t" anchorCtr="0" compatLnSpc="1">
              <a:prstTxWarp prst="textNoShape">
                <a:avLst/>
              </a:prstTxWarp>
            </a:bodyPr>
            <a:lstStyle/>
            <a:p>
              <a:pPr defTabSz="597576">
                <a:defRPr/>
              </a:pPr>
              <a:endParaRPr lang="en-US" kern="0">
                <a:solidFill>
                  <a:prstClr val="black"/>
                </a:solidFill>
                <a:latin typeface="Segoe UI"/>
              </a:endParaRPr>
            </a:p>
          </p:txBody>
        </p:sp>
      </p:grpSp>
      <p:sp>
        <p:nvSpPr>
          <p:cNvPr id="270" name="Freeform 194"/>
          <p:cNvSpPr>
            <a:spLocks/>
          </p:cNvSpPr>
          <p:nvPr/>
        </p:nvSpPr>
        <p:spPr bwMode="auto">
          <a:xfrm flipV="1">
            <a:off x="4646989" y="4671065"/>
            <a:ext cx="757914" cy="350556"/>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rgbClr val="0070C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71" name="Line 251"/>
          <p:cNvSpPr>
            <a:spLocks noChangeShapeType="1"/>
          </p:cNvSpPr>
          <p:nvPr/>
        </p:nvSpPr>
        <p:spPr bwMode="auto">
          <a:xfrm flipV="1">
            <a:off x="5373093" y="5011648"/>
            <a:ext cx="2359408" cy="9972"/>
          </a:xfrm>
          <a:prstGeom prst="line">
            <a:avLst/>
          </a:prstGeom>
          <a:noFill/>
          <a:ln w="23813" cap="rnd">
            <a:solidFill>
              <a:srgbClr val="0070C0"/>
            </a:solidFill>
            <a:prstDash val="solid"/>
            <a:round/>
            <a:headEnd/>
            <a:tailEnd/>
          </a:ln>
          <a:extLst>
            <a:ext uri="{909E8E84-426E-40dd-AFC4-6F175D3DCCD1}">
              <a14:hiddenFill xmlns:a14="http://schemas.microsoft.com/office/drawing/2010/main" xmlns="">
                <a:no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72" name="Freeform 192"/>
          <p:cNvSpPr>
            <a:spLocks/>
          </p:cNvSpPr>
          <p:nvPr/>
        </p:nvSpPr>
        <p:spPr bwMode="auto">
          <a:xfrm>
            <a:off x="6960578" y="4159653"/>
            <a:ext cx="771921" cy="852308"/>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rgbClr val="0070C0"/>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sp>
        <p:nvSpPr>
          <p:cNvPr id="273" name="Line 217"/>
          <p:cNvSpPr>
            <a:spLocks noChangeShapeType="1"/>
          </p:cNvSpPr>
          <p:nvPr/>
        </p:nvSpPr>
        <p:spPr bwMode="auto">
          <a:xfrm flipH="1" flipV="1">
            <a:off x="7728118" y="3787946"/>
            <a:ext cx="6226" cy="521432"/>
          </a:xfrm>
          <a:prstGeom prst="line">
            <a:avLst/>
          </a:prstGeom>
          <a:noFill/>
          <a:ln w="23813" cap="rnd">
            <a:solidFill>
              <a:srgbClr val="0070C0"/>
            </a:solidFill>
            <a:prstDash val="solid"/>
            <a:round/>
            <a:headEnd/>
            <a:tailEnd/>
          </a:ln>
          <a:extLst>
            <a:ext uri="{909E8E84-426E-40dd-AFC4-6F175D3DCCD1}">
              <a14:hiddenFill xmlns:a14="http://schemas.microsoft.com/office/drawing/2010/main" xmlns="">
                <a:noFill/>
              </a14:hiddenFill>
            </a:ext>
          </a:extLst>
        </p:spPr>
        <p:txBody>
          <a:bodyPr vert="horz" wrap="square" lIns="89639" tIns="44819" rIns="89639" bIns="44819" numCol="1" anchor="t" anchorCtr="0" compatLnSpc="1">
            <a:prstTxWarp prst="textNoShape">
              <a:avLst/>
            </a:prstTxWarp>
          </a:bodyPr>
          <a:lstStyle/>
          <a:p>
            <a:pPr defTabSz="597576">
              <a:defRPr/>
            </a:pPr>
            <a:endParaRPr lang="en-US" kern="0">
              <a:solidFill>
                <a:prstClr val="black"/>
              </a:solidFill>
              <a:latin typeface="Segoe UI"/>
            </a:endParaRPr>
          </a:p>
        </p:txBody>
      </p:sp>
      <p:pic>
        <p:nvPicPr>
          <p:cNvPr id="137" name="Picture 136"/>
          <p:cNvPicPr>
            <a:picLocks noChangeAspect="1"/>
          </p:cNvPicPr>
          <p:nvPr/>
        </p:nvPicPr>
        <p:blipFill>
          <a:blip r:embed="rId3"/>
          <a:stretch>
            <a:fillRect/>
          </a:stretch>
        </p:blipFill>
        <p:spPr>
          <a:xfrm>
            <a:off x="6559772" y="2397277"/>
            <a:ext cx="741722" cy="791809"/>
          </a:xfrm>
          <a:prstGeom prst="rect">
            <a:avLst/>
          </a:prstGeom>
        </p:spPr>
      </p:pic>
    </p:spTree>
    <p:extLst>
      <p:ext uri="{BB962C8B-B14F-4D97-AF65-F5344CB8AC3E}">
        <p14:creationId xmlns:p14="http://schemas.microsoft.com/office/powerpoint/2010/main" val="29055449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zure IoT Hub</a:t>
            </a:r>
          </a:p>
        </p:txBody>
      </p:sp>
      <p:sp>
        <p:nvSpPr>
          <p:cNvPr id="5" name="Text Placeholder 5"/>
          <p:cNvSpPr>
            <a:spLocks noGrp="1"/>
          </p:cNvSpPr>
          <p:nvPr>
            <p:ph type="body" sz="quarter" idx="13"/>
          </p:nvPr>
        </p:nvSpPr>
        <p:spPr>
          <a:xfrm>
            <a:off x="700169" y="1341974"/>
            <a:ext cx="5694639" cy="5280127"/>
          </a:xfrm>
        </p:spPr>
        <p:txBody>
          <a:bodyPr>
            <a:normAutofit lnSpcReduction="10000"/>
          </a:bodyPr>
          <a:lstStyle/>
          <a:p>
            <a:r>
              <a:rPr lang="en-US" sz="3100" dirty="0"/>
              <a:t>Designed for IoT</a:t>
            </a:r>
          </a:p>
          <a:p>
            <a:pPr lvl="1"/>
            <a:r>
              <a:rPr lang="en-US" sz="1600" dirty="0"/>
              <a:t>Connectivity, Security &amp; Management for billions of devices</a:t>
            </a:r>
          </a:p>
          <a:p>
            <a:pPr lvl="1"/>
            <a:endParaRPr lang="en-US" sz="1600" dirty="0"/>
          </a:p>
          <a:p>
            <a:r>
              <a:rPr lang="en-US" sz="3100" dirty="0"/>
              <a:t>Service Assisted Communications</a:t>
            </a:r>
          </a:p>
          <a:p>
            <a:pPr lvl="1"/>
            <a:r>
              <a:rPr lang="en-US" sz="1600" dirty="0"/>
              <a:t>Devices are not servers</a:t>
            </a:r>
          </a:p>
          <a:p>
            <a:pPr lvl="1"/>
            <a:r>
              <a:rPr lang="en-US" sz="1600" dirty="0"/>
              <a:t>Use IoT Hub to enable secure bi-directional communications</a:t>
            </a:r>
          </a:p>
          <a:p>
            <a:pPr lvl="1"/>
            <a:endParaRPr lang="en-US" sz="1600" dirty="0"/>
          </a:p>
          <a:p>
            <a:r>
              <a:rPr lang="en-US" sz="3100" dirty="0"/>
              <a:t>Cloud Scale Messaging</a:t>
            </a:r>
          </a:p>
          <a:p>
            <a:pPr lvl="1"/>
            <a:r>
              <a:rPr lang="en-US" sz="1600" dirty="0"/>
              <a:t>Device-to-cloud and Cloud-to-device</a:t>
            </a:r>
          </a:p>
          <a:p>
            <a:pPr lvl="1"/>
            <a:r>
              <a:rPr lang="en-US" sz="1600" dirty="0"/>
              <a:t>Durable message inbox/outbox per device</a:t>
            </a:r>
          </a:p>
          <a:p>
            <a:pPr lvl="1"/>
            <a:endParaRPr lang="en-US" sz="1600" dirty="0"/>
          </a:p>
          <a:p>
            <a:r>
              <a:rPr lang="en-US" sz="3100" dirty="0"/>
              <a:t>Monitor Devices</a:t>
            </a:r>
          </a:p>
          <a:p>
            <a:pPr lvl="1"/>
            <a:r>
              <a:rPr lang="en-US" sz="1600" dirty="0"/>
              <a:t>Delivery receipts, expired messages</a:t>
            </a:r>
          </a:p>
          <a:p>
            <a:pPr lvl="1"/>
            <a:r>
              <a:rPr lang="en-US" sz="1600" dirty="0"/>
              <a:t>Device communication errors</a:t>
            </a:r>
          </a:p>
        </p:txBody>
      </p:sp>
      <p:sp>
        <p:nvSpPr>
          <p:cNvPr id="7" name="Text Placeholder 5"/>
          <p:cNvSpPr txBox="1">
            <a:spLocks/>
          </p:cNvSpPr>
          <p:nvPr/>
        </p:nvSpPr>
        <p:spPr>
          <a:xfrm>
            <a:off x="6394808" y="1492027"/>
            <a:ext cx="5901463" cy="5130075"/>
          </a:xfrm>
          <a:prstGeom prst="rect">
            <a:avLst/>
          </a:prstGeom>
        </p:spPr>
        <p:txBody>
          <a:bodyPr vert="horz" wrap="square" lIns="143422" tIns="89639" rIns="143422" bIns="89639"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defRPr/>
            </a:pPr>
            <a:r>
              <a:rPr lang="en-US" sz="3100" dirty="0">
                <a:gradFill>
                  <a:gsLst>
                    <a:gs pos="1250">
                      <a:srgbClr val="0078D7"/>
                    </a:gs>
                    <a:gs pos="99000">
                      <a:srgbClr val="0078D7"/>
                    </a:gs>
                  </a:gsLst>
                  <a:lin ang="5400000" scaled="0"/>
                </a:gradFill>
                <a:latin typeface="Segoe UI Light"/>
              </a:rPr>
              <a:t>Per-Device Authentication</a:t>
            </a:r>
          </a:p>
          <a:p>
            <a:pPr lvl="1" defTabSz="914367">
              <a:defRPr/>
            </a:pPr>
            <a:r>
              <a:rPr lang="en-US" sz="1600" dirty="0">
                <a:gradFill>
                  <a:gsLst>
                    <a:gs pos="1250">
                      <a:srgbClr val="505050"/>
                    </a:gs>
                    <a:gs pos="100000">
                      <a:srgbClr val="505050"/>
                    </a:gs>
                  </a:gsLst>
                  <a:lin ang="5400000" scaled="0"/>
                </a:gradFill>
                <a:latin typeface="Segoe UI"/>
              </a:rPr>
              <a:t>Individual device identities and credentials</a:t>
            </a:r>
          </a:p>
          <a:p>
            <a:pPr lvl="1" defTabSz="914367">
              <a:defRPr/>
            </a:pPr>
            <a:endParaRPr lang="en-US" sz="1600" dirty="0">
              <a:gradFill>
                <a:gsLst>
                  <a:gs pos="1250">
                    <a:srgbClr val="505050"/>
                  </a:gs>
                  <a:gs pos="100000">
                    <a:srgbClr val="505050"/>
                  </a:gs>
                </a:gsLst>
                <a:lin ang="5400000" scaled="0"/>
              </a:gradFill>
              <a:latin typeface="Segoe UI"/>
            </a:endParaRPr>
          </a:p>
          <a:p>
            <a:pPr defTabSz="914367">
              <a:defRPr/>
            </a:pPr>
            <a:r>
              <a:rPr lang="en-US" sz="3100" dirty="0">
                <a:gradFill>
                  <a:gsLst>
                    <a:gs pos="1250">
                      <a:srgbClr val="0078D7"/>
                    </a:gs>
                    <a:gs pos="99000">
                      <a:srgbClr val="0078D7"/>
                    </a:gs>
                  </a:gsLst>
                  <a:lin ang="5400000" scaled="0"/>
                </a:gradFill>
                <a:latin typeface="Segoe UI Light"/>
              </a:rPr>
              <a:t>Connection Multiplexing</a:t>
            </a:r>
          </a:p>
          <a:p>
            <a:pPr lvl="1" defTabSz="914367">
              <a:defRPr/>
            </a:pPr>
            <a:r>
              <a:rPr lang="en-US" sz="1600" dirty="0">
                <a:gradFill>
                  <a:gsLst>
                    <a:gs pos="1250">
                      <a:srgbClr val="505050"/>
                    </a:gs>
                    <a:gs pos="100000">
                      <a:srgbClr val="505050"/>
                    </a:gs>
                  </a:gsLst>
                  <a:lin ang="5400000" scaled="0"/>
                </a:gradFill>
                <a:latin typeface="Segoe UI"/>
              </a:rPr>
              <a:t>Single device-cloud connection for all communications </a:t>
            </a:r>
          </a:p>
          <a:p>
            <a:pPr lvl="1" defTabSz="914367">
              <a:defRPr/>
            </a:pPr>
            <a:r>
              <a:rPr lang="en-US" sz="1600" dirty="0">
                <a:gradFill>
                  <a:gsLst>
                    <a:gs pos="1250">
                      <a:srgbClr val="505050"/>
                    </a:gs>
                    <a:gs pos="100000">
                      <a:srgbClr val="505050"/>
                    </a:gs>
                  </a:gsLst>
                  <a:lin ang="5400000" scaled="0"/>
                </a:gradFill>
                <a:latin typeface="Segoe UI"/>
              </a:rPr>
              <a:t>(device-to-cloud, cloud-to-device)</a:t>
            </a:r>
          </a:p>
          <a:p>
            <a:pPr lvl="1" defTabSz="914367">
              <a:defRPr/>
            </a:pPr>
            <a:endParaRPr lang="en-US" sz="1600" dirty="0">
              <a:gradFill>
                <a:gsLst>
                  <a:gs pos="1250">
                    <a:srgbClr val="505050"/>
                  </a:gs>
                  <a:gs pos="100000">
                    <a:srgbClr val="505050"/>
                  </a:gs>
                </a:gsLst>
                <a:lin ang="5400000" scaled="0"/>
              </a:gradFill>
              <a:latin typeface="Segoe UI"/>
            </a:endParaRPr>
          </a:p>
          <a:p>
            <a:pPr defTabSz="914367">
              <a:defRPr/>
            </a:pPr>
            <a:r>
              <a:rPr lang="en-US" sz="3100" dirty="0">
                <a:gradFill>
                  <a:gsLst>
                    <a:gs pos="1250">
                      <a:srgbClr val="0078D7"/>
                    </a:gs>
                    <a:gs pos="99000">
                      <a:srgbClr val="0078D7"/>
                    </a:gs>
                  </a:gsLst>
                  <a:lin ang="5400000" scaled="0"/>
                </a:gradFill>
                <a:latin typeface="Segoe UI Light"/>
              </a:rPr>
              <a:t>Multi-Protocol</a:t>
            </a:r>
          </a:p>
          <a:p>
            <a:pPr lvl="1" defTabSz="914367">
              <a:defRPr/>
            </a:pPr>
            <a:r>
              <a:rPr lang="en-US" sz="1600" dirty="0">
                <a:gradFill>
                  <a:gsLst>
                    <a:gs pos="1250">
                      <a:srgbClr val="505050"/>
                    </a:gs>
                    <a:gs pos="100000">
                      <a:srgbClr val="505050"/>
                    </a:gs>
                  </a:gsLst>
                  <a:lin ang="5400000" scaled="0"/>
                </a:gradFill>
                <a:latin typeface="Segoe UI"/>
              </a:rPr>
              <a:t>Natively supports AMQPS, HTTPS, MQTT</a:t>
            </a:r>
          </a:p>
          <a:p>
            <a:pPr lvl="1" defTabSz="914367">
              <a:defRPr/>
            </a:pPr>
            <a:r>
              <a:rPr lang="en-US" sz="1600" dirty="0">
                <a:gradFill>
                  <a:gsLst>
                    <a:gs pos="1250">
                      <a:srgbClr val="505050"/>
                    </a:gs>
                    <a:gs pos="100000">
                      <a:srgbClr val="505050"/>
                    </a:gs>
                  </a:gsLst>
                  <a:lin ang="5400000" scaled="0"/>
                </a:gradFill>
                <a:latin typeface="Segoe UI"/>
              </a:rPr>
              <a:t>Extensible protocol support for custom protocol needs</a:t>
            </a:r>
          </a:p>
          <a:p>
            <a:pPr lvl="1" defTabSz="914367">
              <a:defRPr/>
            </a:pPr>
            <a:endParaRPr lang="en-US" sz="1600" dirty="0">
              <a:gradFill>
                <a:gsLst>
                  <a:gs pos="1250">
                    <a:srgbClr val="505050"/>
                  </a:gs>
                  <a:gs pos="100000">
                    <a:srgbClr val="505050"/>
                  </a:gs>
                </a:gsLst>
                <a:lin ang="5400000" scaled="0"/>
              </a:gradFill>
              <a:latin typeface="Segoe UI"/>
            </a:endParaRPr>
          </a:p>
          <a:p>
            <a:pPr defTabSz="914367">
              <a:defRPr/>
            </a:pPr>
            <a:r>
              <a:rPr lang="en-US" sz="3100" dirty="0">
                <a:gradFill>
                  <a:gsLst>
                    <a:gs pos="1250">
                      <a:srgbClr val="0078D7"/>
                    </a:gs>
                    <a:gs pos="99000">
                      <a:srgbClr val="0078D7"/>
                    </a:gs>
                  </a:gsLst>
                  <a:lin ang="5400000" scaled="0"/>
                </a:gradFill>
                <a:latin typeface="Segoe UI Light"/>
              </a:rPr>
              <a:t>Multi-Platform</a:t>
            </a:r>
          </a:p>
          <a:p>
            <a:pPr lvl="1" defTabSz="914367">
              <a:defRPr/>
            </a:pPr>
            <a:r>
              <a:rPr lang="en-US" sz="1600" dirty="0">
                <a:gradFill>
                  <a:gsLst>
                    <a:gs pos="1250">
                      <a:srgbClr val="505050"/>
                    </a:gs>
                    <a:gs pos="100000">
                      <a:srgbClr val="505050"/>
                    </a:gs>
                  </a:gsLst>
                  <a:lin ang="5400000" scaled="0"/>
                </a:gradFill>
                <a:latin typeface="Segoe UI"/>
              </a:rPr>
              <a:t>Device SDKs available for multiple platforms</a:t>
            </a:r>
          </a:p>
          <a:p>
            <a:pPr lvl="1" defTabSz="914367">
              <a:defRPr/>
            </a:pPr>
            <a:r>
              <a:rPr lang="en-US" sz="1600" dirty="0">
                <a:gradFill>
                  <a:gsLst>
                    <a:gs pos="1250">
                      <a:srgbClr val="505050"/>
                    </a:gs>
                    <a:gs pos="100000">
                      <a:srgbClr val="505050"/>
                    </a:gs>
                  </a:gsLst>
                  <a:lin ang="5400000" scaled="0"/>
                </a:gradFill>
                <a:latin typeface="Segoe UI"/>
              </a:rPr>
              <a:t>     RTOS, Linux, Windows, iOS, Android</a:t>
            </a:r>
          </a:p>
          <a:p>
            <a:pPr lvl="1" defTabSz="914367">
              <a:defRPr/>
            </a:pPr>
            <a:r>
              <a:rPr lang="en-US" sz="1600" dirty="0">
                <a:gradFill>
                  <a:gsLst>
                    <a:gs pos="1250">
                      <a:srgbClr val="505050"/>
                    </a:gs>
                    <a:gs pos="100000">
                      <a:srgbClr val="505050"/>
                    </a:gs>
                  </a:gsLst>
                  <a:lin ang="5400000" scaled="0"/>
                </a:gradFill>
                <a:latin typeface="Segoe UI"/>
              </a:rPr>
              <a:t>Service SDK supports multiple languages (Node, Java, C#)</a:t>
            </a:r>
          </a:p>
        </p:txBody>
      </p:sp>
    </p:spTree>
    <p:extLst>
      <p:ext uri="{BB962C8B-B14F-4D97-AF65-F5344CB8AC3E}">
        <p14:creationId xmlns:p14="http://schemas.microsoft.com/office/powerpoint/2010/main" val="1519271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animEffect transition="in" filter="fade">
                                      <p:cBhvr>
                                        <p:cTn id="13" dur="500"/>
                                        <p:tgtEl>
                                          <p:spTgt spid="7">
                                            <p:txEl>
                                              <p:pRg st="0" end="0"/>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pRg st="1" end="1"/>
                                            </p:txEl>
                                          </p:spTgt>
                                        </p:tgtEl>
                                        <p:attrNameLst>
                                          <p:attrName>style.visibility</p:attrName>
                                        </p:attrNameLst>
                                      </p:cBhvr>
                                      <p:to>
                                        <p:strVal val="visible"/>
                                      </p:to>
                                    </p:set>
                                    <p:animEffect transition="in" filter="fade">
                                      <p:cBhvr>
                                        <p:cTn id="16" dur="500"/>
                                        <p:tgtEl>
                                          <p:spTgt spid="7">
                                            <p:txEl>
                                              <p:pRg st="1" end="1"/>
                                            </p:txEl>
                                          </p:spTgt>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5">
                                            <p:txEl>
                                              <p:pRg st="3" end="3"/>
                                            </p:txEl>
                                          </p:spTgt>
                                        </p:tgtEl>
                                        <p:attrNameLst>
                                          <p:attrName>style.visibility</p:attrName>
                                        </p:attrNameLst>
                                      </p:cBhvr>
                                      <p:to>
                                        <p:strVal val="visible"/>
                                      </p:to>
                                    </p:set>
                                    <p:animEffect transition="in" filter="fade">
                                      <p:cBhvr>
                                        <p:cTn id="20" dur="500"/>
                                        <p:tgtEl>
                                          <p:spTgt spid="5">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fade">
                                      <p:cBhvr>
                                        <p:cTn id="23" dur="500"/>
                                        <p:tgtEl>
                                          <p:spTgt spid="5">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5">
                                            <p:txEl>
                                              <p:pRg st="5" end="5"/>
                                            </p:txEl>
                                          </p:spTgt>
                                        </p:tgtEl>
                                        <p:attrNameLst>
                                          <p:attrName>style.visibility</p:attrName>
                                        </p:attrNameLst>
                                      </p:cBhvr>
                                      <p:to>
                                        <p:strVal val="visible"/>
                                      </p:to>
                                    </p:set>
                                    <p:animEffect transition="in" filter="fade">
                                      <p:cBhvr>
                                        <p:cTn id="26" dur="500"/>
                                        <p:tgtEl>
                                          <p:spTgt spid="5">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7">
                                            <p:txEl>
                                              <p:pRg st="3" end="3"/>
                                            </p:txEl>
                                          </p:spTgt>
                                        </p:tgtEl>
                                        <p:attrNameLst>
                                          <p:attrName>style.visibility</p:attrName>
                                        </p:attrNameLst>
                                      </p:cBhvr>
                                      <p:to>
                                        <p:strVal val="visible"/>
                                      </p:to>
                                    </p:set>
                                    <p:animEffect transition="in" filter="fade">
                                      <p:cBhvr>
                                        <p:cTn id="29" dur="500"/>
                                        <p:tgtEl>
                                          <p:spTgt spid="7">
                                            <p:txEl>
                                              <p:pRg st="3" end="3"/>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7">
                                            <p:txEl>
                                              <p:pRg st="4" end="4"/>
                                            </p:txEl>
                                          </p:spTgt>
                                        </p:tgtEl>
                                        <p:attrNameLst>
                                          <p:attrName>style.visibility</p:attrName>
                                        </p:attrNameLst>
                                      </p:cBhvr>
                                      <p:to>
                                        <p:strVal val="visible"/>
                                      </p:to>
                                    </p:set>
                                    <p:animEffect transition="in" filter="fade">
                                      <p:cBhvr>
                                        <p:cTn id="32" dur="500"/>
                                        <p:tgtEl>
                                          <p:spTgt spid="7">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7">
                                            <p:txEl>
                                              <p:pRg st="5" end="5"/>
                                            </p:txEl>
                                          </p:spTgt>
                                        </p:tgtEl>
                                        <p:attrNameLst>
                                          <p:attrName>style.visibility</p:attrName>
                                        </p:attrNameLst>
                                      </p:cBhvr>
                                      <p:to>
                                        <p:strVal val="visible"/>
                                      </p:to>
                                    </p:set>
                                    <p:animEffect transition="in" filter="fade">
                                      <p:cBhvr>
                                        <p:cTn id="35" dur="500"/>
                                        <p:tgtEl>
                                          <p:spTgt spid="7">
                                            <p:txEl>
                                              <p:pRg st="5" end="5"/>
                                            </p:txEl>
                                          </p:spTgt>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5">
                                            <p:txEl>
                                              <p:pRg st="7" end="7"/>
                                            </p:txEl>
                                          </p:spTgt>
                                        </p:tgtEl>
                                        <p:attrNameLst>
                                          <p:attrName>style.visibility</p:attrName>
                                        </p:attrNameLst>
                                      </p:cBhvr>
                                      <p:to>
                                        <p:strVal val="visible"/>
                                      </p:to>
                                    </p:set>
                                    <p:animEffect transition="in" filter="fade">
                                      <p:cBhvr>
                                        <p:cTn id="39" dur="500"/>
                                        <p:tgtEl>
                                          <p:spTgt spid="5">
                                            <p:txEl>
                                              <p:pRg st="7" end="7"/>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5">
                                            <p:txEl>
                                              <p:pRg st="8" end="8"/>
                                            </p:txEl>
                                          </p:spTgt>
                                        </p:tgtEl>
                                        <p:attrNameLst>
                                          <p:attrName>style.visibility</p:attrName>
                                        </p:attrNameLst>
                                      </p:cBhvr>
                                      <p:to>
                                        <p:strVal val="visible"/>
                                      </p:to>
                                    </p:set>
                                    <p:animEffect transition="in" filter="fade">
                                      <p:cBhvr>
                                        <p:cTn id="42" dur="500"/>
                                        <p:tgtEl>
                                          <p:spTgt spid="5">
                                            <p:txEl>
                                              <p:pRg st="8" end="8"/>
                                            </p:txEl>
                                          </p:spTgt>
                                        </p:tgtEl>
                                      </p:cBhvr>
                                    </p:animEffect>
                                  </p:childTnLst>
                                </p:cTn>
                              </p:par>
                              <p:par>
                                <p:cTn id="43" presetID="10" presetClass="entr" presetSubtype="0" fill="hold" nodeType="withEffect">
                                  <p:stCondLst>
                                    <p:cond delay="0"/>
                                  </p:stCondLst>
                                  <p:childTnLst>
                                    <p:set>
                                      <p:cBhvr>
                                        <p:cTn id="44" dur="1" fill="hold">
                                          <p:stCondLst>
                                            <p:cond delay="0"/>
                                          </p:stCondLst>
                                        </p:cTn>
                                        <p:tgtEl>
                                          <p:spTgt spid="5">
                                            <p:txEl>
                                              <p:pRg st="9" end="9"/>
                                            </p:txEl>
                                          </p:spTgt>
                                        </p:tgtEl>
                                        <p:attrNameLst>
                                          <p:attrName>style.visibility</p:attrName>
                                        </p:attrNameLst>
                                      </p:cBhvr>
                                      <p:to>
                                        <p:strVal val="visible"/>
                                      </p:to>
                                    </p:set>
                                    <p:animEffect transition="in" filter="fade">
                                      <p:cBhvr>
                                        <p:cTn id="45" dur="500"/>
                                        <p:tgtEl>
                                          <p:spTgt spid="5">
                                            <p:txEl>
                                              <p:pRg st="9" end="9"/>
                                            </p:txEl>
                                          </p:spTgt>
                                        </p:tgtEl>
                                      </p:cBhvr>
                                    </p:animEffect>
                                  </p:childTnLst>
                                </p:cTn>
                              </p:par>
                              <p:par>
                                <p:cTn id="46" presetID="10" presetClass="entr" presetSubtype="0" fill="hold" nodeType="withEffect">
                                  <p:stCondLst>
                                    <p:cond delay="0"/>
                                  </p:stCondLst>
                                  <p:childTnLst>
                                    <p:set>
                                      <p:cBhvr>
                                        <p:cTn id="47" dur="1" fill="hold">
                                          <p:stCondLst>
                                            <p:cond delay="0"/>
                                          </p:stCondLst>
                                        </p:cTn>
                                        <p:tgtEl>
                                          <p:spTgt spid="7">
                                            <p:txEl>
                                              <p:pRg st="7" end="7"/>
                                            </p:txEl>
                                          </p:spTgt>
                                        </p:tgtEl>
                                        <p:attrNameLst>
                                          <p:attrName>style.visibility</p:attrName>
                                        </p:attrNameLst>
                                      </p:cBhvr>
                                      <p:to>
                                        <p:strVal val="visible"/>
                                      </p:to>
                                    </p:set>
                                    <p:animEffect transition="in" filter="fade">
                                      <p:cBhvr>
                                        <p:cTn id="48" dur="500"/>
                                        <p:tgtEl>
                                          <p:spTgt spid="7">
                                            <p:txEl>
                                              <p:pRg st="7" end="7"/>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7">
                                            <p:txEl>
                                              <p:pRg st="8" end="8"/>
                                            </p:txEl>
                                          </p:spTgt>
                                        </p:tgtEl>
                                        <p:attrNameLst>
                                          <p:attrName>style.visibility</p:attrName>
                                        </p:attrNameLst>
                                      </p:cBhvr>
                                      <p:to>
                                        <p:strVal val="visible"/>
                                      </p:to>
                                    </p:set>
                                    <p:animEffect transition="in" filter="fade">
                                      <p:cBhvr>
                                        <p:cTn id="51" dur="500"/>
                                        <p:tgtEl>
                                          <p:spTgt spid="7">
                                            <p:txEl>
                                              <p:pRg st="8" end="8"/>
                                            </p:txEl>
                                          </p:spTgt>
                                        </p:tgtEl>
                                      </p:cBhvr>
                                    </p:animEffect>
                                  </p:childTnLst>
                                </p:cTn>
                              </p:par>
                              <p:par>
                                <p:cTn id="52" presetID="10" presetClass="entr" presetSubtype="0" fill="hold" nodeType="withEffect">
                                  <p:stCondLst>
                                    <p:cond delay="0"/>
                                  </p:stCondLst>
                                  <p:childTnLst>
                                    <p:set>
                                      <p:cBhvr>
                                        <p:cTn id="53" dur="1" fill="hold">
                                          <p:stCondLst>
                                            <p:cond delay="0"/>
                                          </p:stCondLst>
                                        </p:cTn>
                                        <p:tgtEl>
                                          <p:spTgt spid="7">
                                            <p:txEl>
                                              <p:pRg st="9" end="9"/>
                                            </p:txEl>
                                          </p:spTgt>
                                        </p:tgtEl>
                                        <p:attrNameLst>
                                          <p:attrName>style.visibility</p:attrName>
                                        </p:attrNameLst>
                                      </p:cBhvr>
                                      <p:to>
                                        <p:strVal val="visible"/>
                                      </p:to>
                                    </p:set>
                                    <p:animEffect transition="in" filter="fade">
                                      <p:cBhvr>
                                        <p:cTn id="54" dur="500"/>
                                        <p:tgtEl>
                                          <p:spTgt spid="7">
                                            <p:txEl>
                                              <p:pRg st="9" end="9"/>
                                            </p:txEl>
                                          </p:spTgt>
                                        </p:tgtEl>
                                      </p:cBhvr>
                                    </p:animEffect>
                                  </p:childTnLst>
                                </p:cTn>
                              </p:par>
                            </p:childTnLst>
                          </p:cTn>
                        </p:par>
                        <p:par>
                          <p:cTn id="55" fill="hold">
                            <p:stCondLst>
                              <p:cond delay="1500"/>
                            </p:stCondLst>
                            <p:childTnLst>
                              <p:par>
                                <p:cTn id="56" presetID="10" presetClass="entr" presetSubtype="0" fill="hold" nodeType="afterEffect">
                                  <p:stCondLst>
                                    <p:cond delay="0"/>
                                  </p:stCondLst>
                                  <p:childTnLst>
                                    <p:set>
                                      <p:cBhvr>
                                        <p:cTn id="57" dur="1" fill="hold">
                                          <p:stCondLst>
                                            <p:cond delay="0"/>
                                          </p:stCondLst>
                                        </p:cTn>
                                        <p:tgtEl>
                                          <p:spTgt spid="5">
                                            <p:txEl>
                                              <p:pRg st="11" end="11"/>
                                            </p:txEl>
                                          </p:spTgt>
                                        </p:tgtEl>
                                        <p:attrNameLst>
                                          <p:attrName>style.visibility</p:attrName>
                                        </p:attrNameLst>
                                      </p:cBhvr>
                                      <p:to>
                                        <p:strVal val="visible"/>
                                      </p:to>
                                    </p:set>
                                    <p:animEffect transition="in" filter="fade">
                                      <p:cBhvr>
                                        <p:cTn id="58" dur="500"/>
                                        <p:tgtEl>
                                          <p:spTgt spid="5">
                                            <p:txEl>
                                              <p:pRg st="11" end="11"/>
                                            </p:txEl>
                                          </p:spTgt>
                                        </p:tgtEl>
                                      </p:cBhvr>
                                    </p:animEffect>
                                  </p:childTnLst>
                                </p:cTn>
                              </p:par>
                              <p:par>
                                <p:cTn id="59" presetID="10" presetClass="entr" presetSubtype="0" fill="hold" nodeType="withEffect">
                                  <p:stCondLst>
                                    <p:cond delay="0"/>
                                  </p:stCondLst>
                                  <p:childTnLst>
                                    <p:set>
                                      <p:cBhvr>
                                        <p:cTn id="60" dur="1" fill="hold">
                                          <p:stCondLst>
                                            <p:cond delay="0"/>
                                          </p:stCondLst>
                                        </p:cTn>
                                        <p:tgtEl>
                                          <p:spTgt spid="5">
                                            <p:txEl>
                                              <p:pRg st="12" end="12"/>
                                            </p:txEl>
                                          </p:spTgt>
                                        </p:tgtEl>
                                        <p:attrNameLst>
                                          <p:attrName>style.visibility</p:attrName>
                                        </p:attrNameLst>
                                      </p:cBhvr>
                                      <p:to>
                                        <p:strVal val="visible"/>
                                      </p:to>
                                    </p:set>
                                    <p:animEffect transition="in" filter="fade">
                                      <p:cBhvr>
                                        <p:cTn id="61" dur="500"/>
                                        <p:tgtEl>
                                          <p:spTgt spid="5">
                                            <p:txEl>
                                              <p:pRg st="12" end="12"/>
                                            </p:txEl>
                                          </p:spTgt>
                                        </p:tgtEl>
                                      </p:cBhvr>
                                    </p:animEffect>
                                  </p:childTnLst>
                                </p:cTn>
                              </p:par>
                              <p:par>
                                <p:cTn id="62" presetID="10" presetClass="entr" presetSubtype="0" fill="hold" nodeType="withEffect">
                                  <p:stCondLst>
                                    <p:cond delay="0"/>
                                  </p:stCondLst>
                                  <p:childTnLst>
                                    <p:set>
                                      <p:cBhvr>
                                        <p:cTn id="63" dur="1" fill="hold">
                                          <p:stCondLst>
                                            <p:cond delay="0"/>
                                          </p:stCondLst>
                                        </p:cTn>
                                        <p:tgtEl>
                                          <p:spTgt spid="5">
                                            <p:txEl>
                                              <p:pRg st="13" end="13"/>
                                            </p:txEl>
                                          </p:spTgt>
                                        </p:tgtEl>
                                        <p:attrNameLst>
                                          <p:attrName>style.visibility</p:attrName>
                                        </p:attrNameLst>
                                      </p:cBhvr>
                                      <p:to>
                                        <p:strVal val="visible"/>
                                      </p:to>
                                    </p:set>
                                    <p:animEffect transition="in" filter="fade">
                                      <p:cBhvr>
                                        <p:cTn id="64" dur="500"/>
                                        <p:tgtEl>
                                          <p:spTgt spid="5">
                                            <p:txEl>
                                              <p:pRg st="13" end="13"/>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7">
                                            <p:txEl>
                                              <p:pRg st="11" end="11"/>
                                            </p:txEl>
                                          </p:spTgt>
                                        </p:tgtEl>
                                        <p:attrNameLst>
                                          <p:attrName>style.visibility</p:attrName>
                                        </p:attrNameLst>
                                      </p:cBhvr>
                                      <p:to>
                                        <p:strVal val="visible"/>
                                      </p:to>
                                    </p:set>
                                    <p:animEffect transition="in" filter="fade">
                                      <p:cBhvr>
                                        <p:cTn id="67" dur="500"/>
                                        <p:tgtEl>
                                          <p:spTgt spid="7">
                                            <p:txEl>
                                              <p:pRg st="11" end="11"/>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7">
                                            <p:txEl>
                                              <p:pRg st="12" end="12"/>
                                            </p:txEl>
                                          </p:spTgt>
                                        </p:tgtEl>
                                        <p:attrNameLst>
                                          <p:attrName>style.visibility</p:attrName>
                                        </p:attrNameLst>
                                      </p:cBhvr>
                                      <p:to>
                                        <p:strVal val="visible"/>
                                      </p:to>
                                    </p:set>
                                    <p:animEffect transition="in" filter="fade">
                                      <p:cBhvr>
                                        <p:cTn id="70" dur="500"/>
                                        <p:tgtEl>
                                          <p:spTgt spid="7">
                                            <p:txEl>
                                              <p:pRg st="12" end="12"/>
                                            </p:txEl>
                                          </p:spTgt>
                                        </p:tgtEl>
                                      </p:cBhvr>
                                    </p:animEffect>
                                  </p:childTnLst>
                                </p:cTn>
                              </p:par>
                              <p:par>
                                <p:cTn id="71" presetID="10" presetClass="entr" presetSubtype="0" fill="hold" nodeType="withEffect">
                                  <p:stCondLst>
                                    <p:cond delay="0"/>
                                  </p:stCondLst>
                                  <p:childTnLst>
                                    <p:set>
                                      <p:cBhvr>
                                        <p:cTn id="72" dur="1" fill="hold">
                                          <p:stCondLst>
                                            <p:cond delay="0"/>
                                          </p:stCondLst>
                                        </p:cTn>
                                        <p:tgtEl>
                                          <p:spTgt spid="7">
                                            <p:txEl>
                                              <p:pRg st="13" end="13"/>
                                            </p:txEl>
                                          </p:spTgt>
                                        </p:tgtEl>
                                        <p:attrNameLst>
                                          <p:attrName>style.visibility</p:attrName>
                                        </p:attrNameLst>
                                      </p:cBhvr>
                                      <p:to>
                                        <p:strVal val="visible"/>
                                      </p:to>
                                    </p:set>
                                    <p:animEffect transition="in" filter="fade">
                                      <p:cBhvr>
                                        <p:cTn id="73" dur="500"/>
                                        <p:tgtEl>
                                          <p:spTgt spid="7">
                                            <p:txEl>
                                              <p:pRg st="13" end="13"/>
                                            </p:txEl>
                                          </p:spTgt>
                                        </p:tgtEl>
                                      </p:cBhvr>
                                    </p:animEffect>
                                  </p:childTnLst>
                                </p:cTn>
                              </p:par>
                              <p:par>
                                <p:cTn id="74" presetID="10" presetClass="entr" presetSubtype="0" fill="hold" nodeType="withEffect">
                                  <p:stCondLst>
                                    <p:cond delay="0"/>
                                  </p:stCondLst>
                                  <p:childTnLst>
                                    <p:set>
                                      <p:cBhvr>
                                        <p:cTn id="75" dur="1" fill="hold">
                                          <p:stCondLst>
                                            <p:cond delay="0"/>
                                          </p:stCondLst>
                                        </p:cTn>
                                        <p:tgtEl>
                                          <p:spTgt spid="7">
                                            <p:txEl>
                                              <p:pRg st="14" end="14"/>
                                            </p:txEl>
                                          </p:spTgt>
                                        </p:tgtEl>
                                        <p:attrNameLst>
                                          <p:attrName>style.visibility</p:attrName>
                                        </p:attrNameLst>
                                      </p:cBhvr>
                                      <p:to>
                                        <p:strVal val="visible"/>
                                      </p:to>
                                    </p:set>
                                    <p:animEffect transition="in" filter="fade">
                                      <p:cBhvr>
                                        <p:cTn id="76" dur="500"/>
                                        <p:tgtEl>
                                          <p:spTgt spid="7">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ick your favorite to create a hub</a:t>
            </a:r>
          </a:p>
        </p:txBody>
      </p:sp>
      <p:sp>
        <p:nvSpPr>
          <p:cNvPr id="5" name="Text Placeholder 4"/>
          <p:cNvSpPr>
            <a:spLocks noGrp="1"/>
          </p:cNvSpPr>
          <p:nvPr>
            <p:ph type="body" sz="quarter" idx="13"/>
          </p:nvPr>
        </p:nvSpPr>
        <p:spPr>
          <a:xfrm>
            <a:off x="845761" y="1341975"/>
            <a:ext cx="10451130" cy="4835048"/>
          </a:xfrm>
        </p:spPr>
        <p:txBody>
          <a:bodyPr>
            <a:normAutofit/>
          </a:bodyPr>
          <a:lstStyle/>
          <a:p>
            <a:r>
              <a:rPr lang="en-US" dirty="0"/>
              <a:t>Azure Portal</a:t>
            </a:r>
          </a:p>
          <a:p>
            <a:pPr lvl="1" algn="just"/>
            <a:r>
              <a:rPr lang="en-US" dirty="0">
                <a:hlinkClick r:id="rId3"/>
              </a:rPr>
              <a:t>https://portal.azure.com</a:t>
            </a:r>
            <a:endParaRPr lang="en-US" dirty="0"/>
          </a:p>
          <a:p>
            <a:r>
              <a:rPr lang="en-US" dirty="0"/>
              <a:t>ARM template</a:t>
            </a:r>
          </a:p>
          <a:p>
            <a:pPr lvl="1"/>
            <a:r>
              <a:rPr lang="en-US" dirty="0">
                <a:hlinkClick r:id="rId4"/>
              </a:rPr>
              <a:t>https://azure.microsoft.com/en-us/resources/templates/</a:t>
            </a:r>
            <a:endParaRPr lang="en-US" dirty="0"/>
          </a:p>
          <a:p>
            <a:r>
              <a:rPr lang="en-US" dirty="0"/>
              <a:t>Azure CLI</a:t>
            </a:r>
          </a:p>
          <a:p>
            <a:pPr lvl="1"/>
            <a:r>
              <a:rPr lang="en-US" dirty="0">
                <a:hlinkClick r:id="rId5"/>
              </a:rPr>
              <a:t>https://github.com/Azure/azure-cli</a:t>
            </a:r>
            <a:r>
              <a:rPr lang="en-US" dirty="0"/>
              <a:t> (v2.0 Python)</a:t>
            </a:r>
          </a:p>
          <a:p>
            <a:pPr lvl="1"/>
            <a:r>
              <a:rPr lang="en-US" dirty="0">
                <a:hlinkClick r:id="rId6"/>
              </a:rPr>
              <a:t>https://github.com/Azure/azure-xplat-cli</a:t>
            </a:r>
            <a:r>
              <a:rPr lang="en-US" dirty="0"/>
              <a:t> (v1.0 Node.js)</a:t>
            </a:r>
          </a:p>
          <a:p>
            <a:r>
              <a:rPr lang="en-US" dirty="0" err="1"/>
              <a:t>Powershell</a:t>
            </a:r>
            <a:endParaRPr lang="en-US" dirty="0"/>
          </a:p>
          <a:p>
            <a:pPr lvl="1"/>
            <a:r>
              <a:rPr lang="en-US" dirty="0">
                <a:hlinkClick r:id="rId7"/>
              </a:rPr>
              <a:t>https://docs.microsoft.com/en-us/powershell/azureps-cmdlets-docs/</a:t>
            </a:r>
            <a:endParaRPr lang="en-US" dirty="0"/>
          </a:p>
        </p:txBody>
      </p:sp>
    </p:spTree>
    <p:extLst>
      <p:ext uri="{BB962C8B-B14F-4D97-AF65-F5344CB8AC3E}">
        <p14:creationId xmlns:p14="http://schemas.microsoft.com/office/powerpoint/2010/main" val="97415492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fade">
                                      <p:cBhvr>
                                        <p:cTn id="23" dur="500"/>
                                        <p:tgtEl>
                                          <p:spTgt spid="5">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xEl>
                                              <p:pRg st="5" end="5"/>
                                            </p:txEl>
                                          </p:spTgt>
                                        </p:tgtEl>
                                        <p:attrNameLst>
                                          <p:attrName>style.visibility</p:attrName>
                                        </p:attrNameLst>
                                      </p:cBhvr>
                                      <p:to>
                                        <p:strVal val="visible"/>
                                      </p:to>
                                    </p:set>
                                    <p:animEffect transition="in" filter="fade">
                                      <p:cBhvr>
                                        <p:cTn id="26" dur="500"/>
                                        <p:tgtEl>
                                          <p:spTgt spid="5">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
                                            <p:txEl>
                                              <p:pRg st="6" end="6"/>
                                            </p:txEl>
                                          </p:spTgt>
                                        </p:tgtEl>
                                        <p:attrNameLst>
                                          <p:attrName>style.visibility</p:attrName>
                                        </p:attrNameLst>
                                      </p:cBhvr>
                                      <p:to>
                                        <p:strVal val="visible"/>
                                      </p:to>
                                    </p:set>
                                    <p:animEffect transition="in" filter="fade">
                                      <p:cBhvr>
                                        <p:cTn id="29" dur="500"/>
                                        <p:tgtEl>
                                          <p:spTgt spid="5">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5">
                                            <p:txEl>
                                              <p:pRg st="7" end="7"/>
                                            </p:txEl>
                                          </p:spTgt>
                                        </p:tgtEl>
                                        <p:attrNameLst>
                                          <p:attrName>style.visibility</p:attrName>
                                        </p:attrNameLst>
                                      </p:cBhvr>
                                      <p:to>
                                        <p:strVal val="visible"/>
                                      </p:to>
                                    </p:set>
                                    <p:animEffect transition="in" filter="fade">
                                      <p:cBhvr>
                                        <p:cTn id="34" dur="500"/>
                                        <p:tgtEl>
                                          <p:spTgt spid="5">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
                                            <p:txEl>
                                              <p:pRg st="8" end="8"/>
                                            </p:txEl>
                                          </p:spTgt>
                                        </p:tgtEl>
                                        <p:attrNameLst>
                                          <p:attrName>style.visibility</p:attrName>
                                        </p:attrNameLst>
                                      </p:cBhvr>
                                      <p:to>
                                        <p:strVal val="visible"/>
                                      </p:to>
                                    </p:set>
                                    <p:animEffect transition="in" filter="fade">
                                      <p:cBhvr>
                                        <p:cTn id="37"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smtClean="0"/>
              <a:t>Stream </a:t>
            </a:r>
            <a:r>
              <a:rPr lang="fr-FR" dirty="0" err="1" smtClean="0"/>
              <a:t>Analytics</a:t>
            </a:r>
            <a:endParaRPr lang="fr-FR" dirty="0"/>
          </a:p>
        </p:txBody>
      </p:sp>
      <p:sp>
        <p:nvSpPr>
          <p:cNvPr id="2" name="Espace réservé du texte 1"/>
          <p:cNvSpPr>
            <a:spLocks noGrp="1"/>
          </p:cNvSpPr>
          <p:nvPr>
            <p:ph type="body" sz="quarter" idx="13"/>
          </p:nvPr>
        </p:nvSpPr>
        <p:spPr/>
        <p:txBody>
          <a:bodyPr/>
          <a:lstStyle/>
          <a:p>
            <a:endParaRPr lang="fr-FR"/>
          </a:p>
        </p:txBody>
      </p:sp>
      <p:sp>
        <p:nvSpPr>
          <p:cNvPr id="4" name="Espace réservé pour une image  3"/>
          <p:cNvSpPr>
            <a:spLocks noGrp="1"/>
          </p:cNvSpPr>
          <p:nvPr>
            <p:ph type="pic" sz="quarter" idx="17"/>
          </p:nvPr>
        </p:nvSpPr>
        <p:spPr/>
      </p:sp>
      <p:sp>
        <p:nvSpPr>
          <p:cNvPr id="5" name="Rectangle 4"/>
          <p:cNvSpPr/>
          <p:nvPr/>
        </p:nvSpPr>
        <p:spPr bwMode="auto">
          <a:xfrm>
            <a:off x="2610034" y="1232003"/>
            <a:ext cx="7132314" cy="5008460"/>
          </a:xfrm>
          <a:prstGeom prst="rect">
            <a:avLst/>
          </a:prstGeom>
          <a:noFill/>
          <a:ln w="10795" cap="flat" cmpd="sng" algn="ctr">
            <a:solidFill>
              <a:srgbClr val="FF0000"/>
            </a:solid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algn="ctr" defTabSz="932395" fontAlgn="base">
              <a:spcBef>
                <a:spcPct val="0"/>
              </a:spcBef>
              <a:spcAft>
                <a:spcPct val="0"/>
              </a:spcAft>
              <a:defRPr/>
            </a:pPr>
            <a:endParaRPr lang="en-US" sz="2000" kern="0" dirty="0" smtClean="0">
              <a:gradFill>
                <a:gsLst>
                  <a:gs pos="0">
                    <a:srgbClr val="FFFFFF"/>
                  </a:gs>
                  <a:gs pos="100000">
                    <a:srgbClr val="FFFFFF"/>
                  </a:gs>
                </a:gsLst>
                <a:lin ang="5400000" scaled="0"/>
              </a:gradFill>
            </a:endParaRPr>
          </a:p>
        </p:txBody>
      </p:sp>
      <p:sp>
        <p:nvSpPr>
          <p:cNvPr id="6" name="TextBox 5"/>
          <p:cNvSpPr txBox="1"/>
          <p:nvPr/>
        </p:nvSpPr>
        <p:spPr>
          <a:xfrm>
            <a:off x="759235" y="6325409"/>
            <a:ext cx="1294200" cy="313932"/>
          </a:xfrm>
          <a:prstGeom prst="rect">
            <a:avLst/>
          </a:prstGeom>
          <a:noFill/>
        </p:spPr>
        <p:txBody>
          <a:bodyPr wrap="none" lIns="0" tIns="0" rIns="0" bIns="0" rtlCol="0">
            <a:spAutoFit/>
          </a:bodyPr>
          <a:lstStyle/>
          <a:p>
            <a:pPr defTabSz="932742">
              <a:defRPr/>
            </a:pPr>
            <a:r>
              <a:rPr lang="en-US" sz="2040" kern="0" spc="-71" dirty="0" smtClean="0">
                <a:solidFill>
                  <a:srgbClr val="FFFFFF"/>
                </a:solidFill>
              </a:rPr>
              <a:t>Data Source</a:t>
            </a:r>
          </a:p>
        </p:txBody>
      </p:sp>
      <p:sp>
        <p:nvSpPr>
          <p:cNvPr id="7" name="TextBox 6"/>
          <p:cNvSpPr txBox="1"/>
          <p:nvPr/>
        </p:nvSpPr>
        <p:spPr>
          <a:xfrm>
            <a:off x="3726262" y="6325409"/>
            <a:ext cx="724942" cy="313932"/>
          </a:xfrm>
          <a:prstGeom prst="rect">
            <a:avLst/>
          </a:prstGeom>
          <a:noFill/>
        </p:spPr>
        <p:txBody>
          <a:bodyPr wrap="none" lIns="0" tIns="0" rIns="0" bIns="0" rtlCol="0">
            <a:spAutoFit/>
          </a:bodyPr>
          <a:lstStyle/>
          <a:p>
            <a:pPr defTabSz="932742">
              <a:defRPr/>
            </a:pPr>
            <a:r>
              <a:rPr lang="en-US" sz="2040" kern="0" spc="-71" dirty="0" smtClean="0">
                <a:solidFill>
                  <a:srgbClr val="FFFFFF"/>
                </a:solidFill>
              </a:rPr>
              <a:t>Collect</a:t>
            </a:r>
          </a:p>
        </p:txBody>
      </p:sp>
      <p:sp>
        <p:nvSpPr>
          <p:cNvPr id="8" name="TextBox 7"/>
          <p:cNvSpPr txBox="1"/>
          <p:nvPr/>
        </p:nvSpPr>
        <p:spPr>
          <a:xfrm>
            <a:off x="5814682" y="6325409"/>
            <a:ext cx="856966" cy="313932"/>
          </a:xfrm>
          <a:prstGeom prst="rect">
            <a:avLst/>
          </a:prstGeom>
          <a:noFill/>
        </p:spPr>
        <p:txBody>
          <a:bodyPr wrap="none" lIns="0" tIns="0" rIns="0" bIns="0" rtlCol="0">
            <a:spAutoFit/>
          </a:bodyPr>
          <a:lstStyle/>
          <a:p>
            <a:pPr defTabSz="932742">
              <a:defRPr/>
            </a:pPr>
            <a:r>
              <a:rPr lang="en-US" sz="2040" b="1" kern="0" spc="-71" dirty="0" smtClean="0">
                <a:solidFill>
                  <a:srgbClr val="FFFFFF"/>
                </a:solidFill>
              </a:rPr>
              <a:t>Process</a:t>
            </a:r>
          </a:p>
        </p:txBody>
      </p:sp>
      <p:sp>
        <p:nvSpPr>
          <p:cNvPr id="9" name="TextBox 8"/>
          <p:cNvSpPr txBox="1"/>
          <p:nvPr/>
        </p:nvSpPr>
        <p:spPr>
          <a:xfrm>
            <a:off x="10384580" y="6325409"/>
            <a:ext cx="1019895" cy="313932"/>
          </a:xfrm>
          <a:prstGeom prst="rect">
            <a:avLst/>
          </a:prstGeom>
          <a:noFill/>
        </p:spPr>
        <p:txBody>
          <a:bodyPr wrap="none" lIns="0" tIns="0" rIns="0" bIns="0" rtlCol="0">
            <a:spAutoFit/>
          </a:bodyPr>
          <a:lstStyle/>
          <a:p>
            <a:pPr defTabSz="932742">
              <a:defRPr/>
            </a:pPr>
            <a:r>
              <a:rPr lang="en-US" sz="2040" kern="0" spc="-71" dirty="0" smtClean="0">
                <a:solidFill>
                  <a:srgbClr val="FFFFFF"/>
                </a:solidFill>
              </a:rPr>
              <a:t>Consume</a:t>
            </a:r>
          </a:p>
        </p:txBody>
      </p:sp>
      <p:sp>
        <p:nvSpPr>
          <p:cNvPr id="10" name="TextBox 9"/>
          <p:cNvSpPr txBox="1"/>
          <p:nvPr/>
        </p:nvSpPr>
        <p:spPr>
          <a:xfrm>
            <a:off x="8063488" y="6325409"/>
            <a:ext cx="734625" cy="313932"/>
          </a:xfrm>
          <a:prstGeom prst="rect">
            <a:avLst/>
          </a:prstGeom>
          <a:noFill/>
        </p:spPr>
        <p:txBody>
          <a:bodyPr wrap="none" lIns="0" tIns="0" rIns="0" bIns="0" rtlCol="0">
            <a:spAutoFit/>
          </a:bodyPr>
          <a:lstStyle/>
          <a:p>
            <a:pPr defTabSz="932742">
              <a:defRPr/>
            </a:pPr>
            <a:r>
              <a:rPr lang="en-US" sz="2040" kern="0" spc="-71" dirty="0" smtClean="0">
                <a:solidFill>
                  <a:srgbClr val="FFFFFF"/>
                </a:solidFill>
              </a:rPr>
              <a:t>Deliver</a:t>
            </a:r>
          </a:p>
        </p:txBody>
      </p:sp>
      <p:sp>
        <p:nvSpPr>
          <p:cNvPr id="11" name="Rectangle 10"/>
          <p:cNvSpPr/>
          <p:nvPr/>
        </p:nvSpPr>
        <p:spPr bwMode="auto">
          <a:xfrm>
            <a:off x="3251958" y="2731247"/>
            <a:ext cx="1678686" cy="1451816"/>
          </a:xfrm>
          <a:prstGeom prst="rect">
            <a:avLst/>
          </a:prstGeom>
          <a:solidFill>
            <a:srgbClr val="002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93236" tIns="46619" rIns="46619" bIns="93236" numCol="1" spcCol="0" rtlCol="0" fromWordArt="0" anchor="t" anchorCtr="0" forceAA="0" compatLnSpc="1">
            <a:prstTxWarp prst="textNoShape">
              <a:avLst/>
            </a:prstTxWarp>
            <a:noAutofit/>
          </a:bodyPr>
          <a:lstStyle/>
          <a:p>
            <a:pPr defTabSz="931932" fontAlgn="base">
              <a:spcBef>
                <a:spcPct val="0"/>
              </a:spcBef>
              <a:spcAft>
                <a:spcPct val="0"/>
              </a:spcAft>
              <a:defRPr/>
            </a:pPr>
            <a:r>
              <a:rPr lang="en-US" sz="1873" kern="0" dirty="0" smtClean="0">
                <a:solidFill>
                  <a:srgbClr val="FFFFFF"/>
                </a:solidFill>
                <a:latin typeface="Segoe UI Light"/>
                <a:ea typeface="Segoe UI" pitchFamily="34" charset="0"/>
                <a:cs typeface="Segoe UI" pitchFamily="34" charset="0"/>
              </a:rPr>
              <a:t>Event Inputs</a:t>
            </a:r>
            <a:endParaRPr lang="en-US" sz="1224" kern="0" dirty="0" smtClean="0">
              <a:solidFill>
                <a:srgbClr val="FFFFFF"/>
              </a:solidFill>
              <a:latin typeface="Segoe UI Light"/>
              <a:ea typeface="Segoe UI" pitchFamily="34" charset="0"/>
              <a:cs typeface="Segoe UI" pitchFamily="34" charset="0"/>
            </a:endParaRPr>
          </a:p>
          <a:p>
            <a:pPr marL="174847" indent="-174847" defTabSz="931932" fontAlgn="base">
              <a:spcBef>
                <a:spcPct val="0"/>
              </a:spcBef>
              <a:spcAft>
                <a:spcPct val="0"/>
              </a:spcAft>
              <a:buFontTx/>
              <a:buChar char="-"/>
              <a:defRPr/>
            </a:pPr>
            <a:r>
              <a:rPr lang="en-US" sz="1224" kern="0" dirty="0" smtClean="0">
                <a:solidFill>
                  <a:srgbClr val="FFFFFF"/>
                </a:solidFill>
                <a:ea typeface="Segoe UI" pitchFamily="34" charset="0"/>
                <a:cs typeface="Segoe UI" pitchFamily="34" charset="0"/>
              </a:rPr>
              <a:t>Event Hub</a:t>
            </a:r>
          </a:p>
          <a:p>
            <a:pPr marL="174847" indent="-174847" defTabSz="931932" fontAlgn="base">
              <a:spcBef>
                <a:spcPct val="0"/>
              </a:spcBef>
              <a:spcAft>
                <a:spcPct val="0"/>
              </a:spcAft>
              <a:buFontTx/>
              <a:buChar char="-"/>
              <a:defRPr/>
            </a:pPr>
            <a:r>
              <a:rPr lang="en-US" sz="1224" kern="0" dirty="0" smtClean="0">
                <a:solidFill>
                  <a:srgbClr val="FFFFFF"/>
                </a:solidFill>
                <a:ea typeface="Segoe UI" pitchFamily="34" charset="0"/>
                <a:cs typeface="Segoe UI" pitchFamily="34" charset="0"/>
              </a:rPr>
              <a:t>Azure Blob</a:t>
            </a:r>
          </a:p>
        </p:txBody>
      </p:sp>
      <p:sp>
        <p:nvSpPr>
          <p:cNvPr id="12" name="Rectangle 11"/>
          <p:cNvSpPr/>
          <p:nvPr/>
        </p:nvSpPr>
        <p:spPr bwMode="auto">
          <a:xfrm>
            <a:off x="5447504" y="2034202"/>
            <a:ext cx="1678686" cy="3977660"/>
          </a:xfrm>
          <a:prstGeom prst="rect">
            <a:avLst/>
          </a:prstGeom>
          <a:solidFill>
            <a:srgbClr val="002050">
              <a:lumMod val="40000"/>
              <a:lumOff val="60000"/>
            </a:srgbClr>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93236" tIns="46619" rIns="46619" bIns="93236" numCol="1" spcCol="0" rtlCol="0" fromWordArt="0" anchor="t" anchorCtr="0" forceAA="0" compatLnSpc="1">
            <a:prstTxWarp prst="textNoShape">
              <a:avLst/>
            </a:prstTxWarp>
            <a:noAutofit/>
          </a:bodyPr>
          <a:lstStyle/>
          <a:p>
            <a:pPr defTabSz="932742">
              <a:defRPr/>
            </a:pPr>
            <a:r>
              <a:rPr lang="en-US" sz="1873" b="1" kern="0" dirty="0" smtClean="0">
                <a:solidFill>
                  <a:srgbClr val="FFFFFF"/>
                </a:solidFill>
                <a:latin typeface="Segoe UI Light"/>
                <a:ea typeface="Segoe UI" pitchFamily="34" charset="0"/>
                <a:cs typeface="Segoe UI" pitchFamily="34" charset="0"/>
              </a:rPr>
              <a:t>Transform</a:t>
            </a:r>
            <a:endParaRPr lang="en-US" sz="1224" b="1" kern="0" dirty="0" smtClean="0">
              <a:solidFill>
                <a:srgbClr val="FFFFFF"/>
              </a:solidFill>
              <a:latin typeface="Segoe UI Light"/>
              <a:ea typeface="Segoe UI" pitchFamily="34" charset="0"/>
              <a:cs typeface="Segoe UI" pitchFamily="34" charset="0"/>
            </a:endParaRPr>
          </a:p>
          <a:p>
            <a:pPr marL="174847" indent="-174847" defTabSz="932742">
              <a:buFontTx/>
              <a:buChar char="-"/>
              <a:defRPr/>
            </a:pPr>
            <a:r>
              <a:rPr lang="en-US" sz="1224" kern="0" dirty="0" smtClean="0">
                <a:solidFill>
                  <a:srgbClr val="FFFFFF"/>
                </a:solidFill>
                <a:ea typeface="Segoe UI" pitchFamily="34" charset="0"/>
                <a:cs typeface="Segoe UI" pitchFamily="34" charset="0"/>
              </a:rPr>
              <a:t>Temporal joins</a:t>
            </a:r>
          </a:p>
          <a:p>
            <a:pPr marL="174847" indent="-174847" defTabSz="932742">
              <a:buFontTx/>
              <a:buChar char="-"/>
              <a:defRPr/>
            </a:pPr>
            <a:r>
              <a:rPr lang="en-US" sz="1224" kern="0" dirty="0" smtClean="0">
                <a:solidFill>
                  <a:srgbClr val="FFFFFF"/>
                </a:solidFill>
                <a:ea typeface="Segoe UI" pitchFamily="34" charset="0"/>
                <a:cs typeface="Segoe UI" pitchFamily="34" charset="0"/>
              </a:rPr>
              <a:t>Filter</a:t>
            </a:r>
          </a:p>
          <a:p>
            <a:pPr marL="174847" indent="-174847" defTabSz="932742">
              <a:buFontTx/>
              <a:buChar char="-"/>
              <a:defRPr/>
            </a:pPr>
            <a:r>
              <a:rPr lang="en-US" sz="1224" kern="0" dirty="0" smtClean="0">
                <a:solidFill>
                  <a:srgbClr val="FFFFFF"/>
                </a:solidFill>
                <a:ea typeface="Segoe UI" pitchFamily="34" charset="0"/>
                <a:cs typeface="Segoe UI" pitchFamily="34" charset="0"/>
              </a:rPr>
              <a:t>Aggregates</a:t>
            </a:r>
          </a:p>
          <a:p>
            <a:pPr marL="174847" indent="-174847" defTabSz="932742">
              <a:buFontTx/>
              <a:buChar char="-"/>
              <a:defRPr/>
            </a:pPr>
            <a:r>
              <a:rPr lang="en-US" sz="1224" kern="0" dirty="0" smtClean="0">
                <a:solidFill>
                  <a:srgbClr val="FFFFFF"/>
                </a:solidFill>
                <a:ea typeface="Segoe UI" pitchFamily="34" charset="0"/>
                <a:cs typeface="Segoe UI" pitchFamily="34" charset="0"/>
              </a:rPr>
              <a:t>Projections</a:t>
            </a:r>
          </a:p>
          <a:p>
            <a:pPr marL="174847" indent="-174847" defTabSz="932742">
              <a:buFontTx/>
              <a:buChar char="-"/>
              <a:defRPr/>
            </a:pPr>
            <a:r>
              <a:rPr lang="en-US" sz="1224" kern="0" dirty="0" smtClean="0">
                <a:solidFill>
                  <a:srgbClr val="FFFFFF"/>
                </a:solidFill>
                <a:ea typeface="Segoe UI" pitchFamily="34" charset="0"/>
                <a:cs typeface="Segoe UI" pitchFamily="34" charset="0"/>
              </a:rPr>
              <a:t>Windows</a:t>
            </a:r>
          </a:p>
          <a:p>
            <a:pPr marL="174847" indent="-174847" defTabSz="932742">
              <a:buFontTx/>
              <a:buChar char="-"/>
              <a:defRPr/>
            </a:pPr>
            <a:r>
              <a:rPr lang="en-US" sz="1224" kern="0" dirty="0" smtClean="0">
                <a:solidFill>
                  <a:srgbClr val="FFFFFF"/>
                </a:solidFill>
                <a:ea typeface="Segoe UI" pitchFamily="34" charset="0"/>
                <a:cs typeface="Segoe UI" pitchFamily="34" charset="0"/>
              </a:rPr>
              <a:t>Etc.</a:t>
            </a:r>
          </a:p>
          <a:p>
            <a:pPr defTabSz="932742">
              <a:defRPr/>
            </a:pPr>
            <a:endParaRPr lang="en-US" sz="1224" kern="0" dirty="0" smtClean="0">
              <a:solidFill>
                <a:srgbClr val="FFFFFF"/>
              </a:solidFill>
              <a:ea typeface="Segoe UI" pitchFamily="34" charset="0"/>
              <a:cs typeface="Segoe UI" pitchFamily="34" charset="0"/>
            </a:endParaRPr>
          </a:p>
          <a:p>
            <a:pPr defTabSz="932742">
              <a:defRPr/>
            </a:pPr>
            <a:r>
              <a:rPr lang="en-US" sz="1873" b="1" kern="0" dirty="0" smtClean="0">
                <a:solidFill>
                  <a:srgbClr val="FFFFFF"/>
                </a:solidFill>
                <a:latin typeface="Segoe UI Light"/>
                <a:ea typeface="Segoe UI" pitchFamily="34" charset="0"/>
                <a:cs typeface="Segoe UI" pitchFamily="34" charset="0"/>
              </a:rPr>
              <a:t>Enrich</a:t>
            </a:r>
            <a:endParaRPr lang="en-US" sz="1224" b="1" kern="0" dirty="0" smtClean="0">
              <a:solidFill>
                <a:srgbClr val="FFFFFF"/>
              </a:solidFill>
              <a:latin typeface="Segoe UI Light"/>
              <a:ea typeface="Segoe UI" pitchFamily="34" charset="0"/>
              <a:cs typeface="Segoe UI" pitchFamily="34" charset="0"/>
            </a:endParaRPr>
          </a:p>
          <a:p>
            <a:pPr defTabSz="932742">
              <a:defRPr/>
            </a:pPr>
            <a:endParaRPr lang="en-US" sz="1224" kern="0" dirty="0" smtClean="0">
              <a:solidFill>
                <a:srgbClr val="FFFFFF"/>
              </a:solidFill>
              <a:ea typeface="Segoe UI" pitchFamily="34" charset="0"/>
              <a:cs typeface="Segoe UI" pitchFamily="34" charset="0"/>
            </a:endParaRPr>
          </a:p>
          <a:p>
            <a:pPr defTabSz="932742">
              <a:defRPr/>
            </a:pPr>
            <a:r>
              <a:rPr lang="en-US" sz="1873" b="1" kern="0" dirty="0" smtClean="0">
                <a:solidFill>
                  <a:srgbClr val="FFFFFF"/>
                </a:solidFill>
                <a:latin typeface="Segoe UI Light"/>
                <a:ea typeface="Segoe UI" pitchFamily="34" charset="0"/>
                <a:cs typeface="Segoe UI" pitchFamily="34" charset="0"/>
              </a:rPr>
              <a:t>Correlate</a:t>
            </a:r>
            <a:endParaRPr lang="en-US" sz="1224" b="1" kern="0" dirty="0" smtClean="0">
              <a:solidFill>
                <a:srgbClr val="FFFFFF"/>
              </a:solidFill>
              <a:latin typeface="Segoe UI Light"/>
              <a:ea typeface="Segoe UI" pitchFamily="34" charset="0"/>
              <a:cs typeface="Segoe UI" pitchFamily="34" charset="0"/>
            </a:endParaRPr>
          </a:p>
          <a:p>
            <a:pPr defTabSz="932742">
              <a:defRPr/>
            </a:pPr>
            <a:endParaRPr lang="en-US" sz="1224" b="1" kern="0" dirty="0" smtClean="0">
              <a:solidFill>
                <a:srgbClr val="FFFFFF"/>
              </a:solidFill>
              <a:ea typeface="Segoe UI" pitchFamily="34" charset="0"/>
              <a:cs typeface="Segoe UI" pitchFamily="34" charset="0"/>
            </a:endParaRPr>
          </a:p>
          <a:p>
            <a:pPr defTabSz="932742">
              <a:defRPr/>
            </a:pPr>
            <a:endParaRPr lang="en-US" sz="1224" kern="0" dirty="0" smtClean="0">
              <a:solidFill>
                <a:srgbClr val="FFFFFF"/>
              </a:solidFill>
              <a:ea typeface="Segoe UI" pitchFamily="34" charset="0"/>
              <a:cs typeface="Segoe UI" pitchFamily="34" charset="0"/>
            </a:endParaRPr>
          </a:p>
          <a:p>
            <a:pPr defTabSz="932742">
              <a:defRPr/>
            </a:pPr>
            <a:endParaRPr lang="en-US" sz="1224" kern="0" dirty="0" smtClean="0">
              <a:solidFill>
                <a:srgbClr val="FFFFFF"/>
              </a:solidFill>
              <a:ea typeface="Segoe UI" pitchFamily="34" charset="0"/>
              <a:cs typeface="Segoe UI" pitchFamily="34" charset="0"/>
            </a:endParaRPr>
          </a:p>
          <a:p>
            <a:pPr defTabSz="932742">
              <a:defRPr/>
            </a:pPr>
            <a:endParaRPr lang="en-US" sz="1224" kern="0" dirty="0" smtClean="0">
              <a:solidFill>
                <a:srgbClr val="FFFFFF"/>
              </a:solidFill>
              <a:ea typeface="Segoe UI" pitchFamily="34" charset="0"/>
              <a:cs typeface="Segoe UI" pitchFamily="34" charset="0"/>
            </a:endParaRPr>
          </a:p>
        </p:txBody>
      </p:sp>
      <p:grpSp>
        <p:nvGrpSpPr>
          <p:cNvPr id="13" name="Group 12"/>
          <p:cNvGrpSpPr/>
          <p:nvPr/>
        </p:nvGrpSpPr>
        <p:grpSpPr>
          <a:xfrm>
            <a:off x="756802" y="2784158"/>
            <a:ext cx="1398904" cy="1398904"/>
            <a:chOff x="751136" y="3525713"/>
            <a:chExt cx="1371600" cy="1371600"/>
          </a:xfrm>
        </p:grpSpPr>
        <p:sp>
          <p:nvSpPr>
            <p:cNvPr id="14" name="Rectangle 13"/>
            <p:cNvSpPr/>
            <p:nvPr/>
          </p:nvSpPr>
          <p:spPr bwMode="auto">
            <a:xfrm>
              <a:off x="751136" y="3525713"/>
              <a:ext cx="1371600" cy="1371600"/>
            </a:xfrm>
            <a:prstGeom prst="rect">
              <a:avLst/>
            </a:prstGeom>
            <a:solidFill>
              <a:srgbClr val="FFC000"/>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12" fontAlgn="base">
                <a:spcBef>
                  <a:spcPct val="0"/>
                </a:spcBef>
                <a:spcAft>
                  <a:spcPct val="0"/>
                </a:spcAft>
                <a:defRPr/>
              </a:pPr>
              <a:endParaRPr lang="en-US" sz="2040" kern="0" dirty="0" smtClean="0">
                <a:gradFill>
                  <a:gsLst>
                    <a:gs pos="0">
                      <a:srgbClr val="FFFFFF"/>
                    </a:gs>
                    <a:gs pos="100000">
                      <a:srgbClr val="FFFFFF"/>
                    </a:gs>
                  </a:gsLst>
                  <a:lin ang="5400000" scaled="0"/>
                </a:gradFill>
              </a:endParaRPr>
            </a:p>
          </p:txBody>
        </p:sp>
        <p:sp>
          <p:nvSpPr>
            <p:cNvPr id="15"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22" tIns="41961" rIns="83922" bIns="41961" numCol="1" anchor="t" anchorCtr="0" compatLnSpc="1">
              <a:prstTxWarp prst="textNoShape">
                <a:avLst/>
              </a:prstTxWarp>
            </a:bodyPr>
            <a:lstStyle/>
            <a:p>
              <a:pPr defTabSz="932742">
                <a:defRPr/>
              </a:pPr>
              <a:endParaRPr lang="en-US" sz="1632" kern="0" smtClean="0">
                <a:solidFill>
                  <a:srgbClr val="000000"/>
                </a:solidFill>
              </a:endParaRPr>
            </a:p>
          </p:txBody>
        </p:sp>
        <p:sp>
          <p:nvSpPr>
            <p:cNvPr id="16"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3236" tIns="46619" rIns="93236" bIns="46619" numCol="1" anchor="t" anchorCtr="0" compatLnSpc="1">
              <a:prstTxWarp prst="textNoShape">
                <a:avLst/>
              </a:prstTxWarp>
            </a:bodyPr>
            <a:lstStyle/>
            <a:p>
              <a:pPr defTabSz="932742">
                <a:defRPr/>
              </a:pPr>
              <a:endParaRPr lang="en-US" sz="1835" kern="0" smtClean="0">
                <a:solidFill>
                  <a:srgbClr val="000000"/>
                </a:solidFill>
              </a:endParaRPr>
            </a:p>
          </p:txBody>
        </p:sp>
        <p:pic>
          <p:nvPicPr>
            <p:cNvPr id="17" name="Picture 16"/>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18" name="TextBox 17"/>
            <p:cNvSpPr txBox="1"/>
            <p:nvPr/>
          </p:nvSpPr>
          <p:spPr>
            <a:xfrm>
              <a:off x="1558218" y="4307955"/>
              <a:ext cx="368285" cy="369353"/>
            </a:xfrm>
            <a:prstGeom prst="rect">
              <a:avLst/>
            </a:prstGeom>
            <a:noFill/>
          </p:spPr>
          <p:txBody>
            <a:bodyPr wrap="none" lIns="0" tIns="0" rIns="0" bIns="0" rtlCol="0">
              <a:spAutoFit/>
            </a:bodyPr>
            <a:lstStyle/>
            <a:p>
              <a:pPr defTabSz="932742">
                <a:defRPr/>
              </a:pPr>
              <a:r>
                <a:rPr lang="en-US" sz="2448" kern="0" spc="-71" dirty="0" smtClean="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448" kern="0" spc="-71" dirty="0" smtClean="0">
                <a:gradFill>
                  <a:gsLst>
                    <a:gs pos="2917">
                      <a:srgbClr val="FFFFFF"/>
                    </a:gs>
                    <a:gs pos="30000">
                      <a:srgbClr val="FFFFFF"/>
                    </a:gs>
                  </a:gsLst>
                  <a:lin ang="5400000" scaled="0"/>
                </a:gradFill>
              </a:endParaRPr>
            </a:p>
          </p:txBody>
        </p:sp>
      </p:grpSp>
      <p:sp>
        <p:nvSpPr>
          <p:cNvPr id="19" name="Rectangle 18"/>
          <p:cNvSpPr/>
          <p:nvPr/>
        </p:nvSpPr>
        <p:spPr bwMode="auto">
          <a:xfrm>
            <a:off x="7599804" y="1482319"/>
            <a:ext cx="1678686" cy="2876935"/>
          </a:xfrm>
          <a:prstGeom prst="rect">
            <a:avLst/>
          </a:prstGeom>
          <a:solidFill>
            <a:srgbClr val="002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93236" tIns="46619" rIns="46619" bIns="93236" numCol="1" spcCol="0" rtlCol="0" fromWordArt="0" anchor="t" anchorCtr="0" forceAA="0" compatLnSpc="1">
            <a:prstTxWarp prst="textNoShape">
              <a:avLst/>
            </a:prstTxWarp>
            <a:noAutofit/>
          </a:bodyPr>
          <a:lstStyle/>
          <a:p>
            <a:pPr defTabSz="931932" fontAlgn="base">
              <a:spcBef>
                <a:spcPct val="0"/>
              </a:spcBef>
              <a:spcAft>
                <a:spcPct val="0"/>
              </a:spcAft>
              <a:defRPr/>
            </a:pPr>
            <a:r>
              <a:rPr lang="en-US" sz="1873" kern="0" dirty="0" smtClean="0">
                <a:solidFill>
                  <a:srgbClr val="FFFFFF"/>
                </a:solidFill>
                <a:latin typeface="Segoe UI Light"/>
                <a:ea typeface="Segoe UI" pitchFamily="34" charset="0"/>
                <a:cs typeface="Segoe UI" pitchFamily="34" charset="0"/>
              </a:rPr>
              <a:t>Outputs</a:t>
            </a:r>
          </a:p>
          <a:p>
            <a:pPr marL="174847" indent="-174847" defTabSz="931932" fontAlgn="base">
              <a:spcBef>
                <a:spcPct val="0"/>
              </a:spcBef>
              <a:spcAft>
                <a:spcPct val="0"/>
              </a:spcAft>
              <a:buFontTx/>
              <a:buChar char="-"/>
              <a:defRPr/>
            </a:pPr>
            <a:r>
              <a:rPr lang="en-US" sz="1224" kern="0" dirty="0" smtClean="0">
                <a:solidFill>
                  <a:srgbClr val="FFFFFF"/>
                </a:solidFill>
                <a:ea typeface="Segoe UI" pitchFamily="34" charset="0"/>
                <a:cs typeface="Segoe UI" pitchFamily="34" charset="0"/>
              </a:rPr>
              <a:t>SQL Azure</a:t>
            </a:r>
          </a:p>
          <a:p>
            <a:pPr marL="174847" indent="-174847" defTabSz="931932" fontAlgn="base">
              <a:spcBef>
                <a:spcPct val="0"/>
              </a:spcBef>
              <a:spcAft>
                <a:spcPct val="0"/>
              </a:spcAft>
              <a:buFontTx/>
              <a:buChar char="-"/>
              <a:defRPr/>
            </a:pPr>
            <a:r>
              <a:rPr lang="en-US" sz="1224" kern="0" dirty="0" smtClean="0">
                <a:solidFill>
                  <a:srgbClr val="FFFFFF"/>
                </a:solidFill>
                <a:ea typeface="Segoe UI" pitchFamily="34" charset="0"/>
                <a:cs typeface="Segoe UI" pitchFamily="34" charset="0"/>
              </a:rPr>
              <a:t>Azure Blobs</a:t>
            </a:r>
          </a:p>
          <a:p>
            <a:pPr marL="174847" indent="-174847" defTabSz="931932" fontAlgn="base">
              <a:spcBef>
                <a:spcPct val="0"/>
              </a:spcBef>
              <a:spcAft>
                <a:spcPct val="0"/>
              </a:spcAft>
              <a:buFontTx/>
              <a:buChar char="-"/>
              <a:defRPr/>
            </a:pPr>
            <a:r>
              <a:rPr lang="en-US" sz="1224" kern="0" dirty="0" smtClean="0">
                <a:solidFill>
                  <a:srgbClr val="FFFFFF"/>
                </a:solidFill>
                <a:ea typeface="Segoe UI" pitchFamily="34" charset="0"/>
                <a:cs typeface="Segoe UI" pitchFamily="34" charset="0"/>
              </a:rPr>
              <a:t>Event Hub</a:t>
            </a:r>
          </a:p>
          <a:p>
            <a:pPr defTabSz="931932" fontAlgn="base">
              <a:spcBef>
                <a:spcPct val="0"/>
              </a:spcBef>
              <a:spcAft>
                <a:spcPct val="0"/>
              </a:spcAft>
              <a:defRPr/>
            </a:pPr>
            <a:endParaRPr lang="en-US" sz="1224" kern="0" dirty="0" smtClean="0">
              <a:solidFill>
                <a:srgbClr val="FFFFFF"/>
              </a:solidFill>
              <a:latin typeface="Segoe UI Light"/>
              <a:ea typeface="Segoe UI" pitchFamily="34" charset="0"/>
              <a:cs typeface="Segoe UI" pitchFamily="34" charset="0"/>
            </a:endParaRPr>
          </a:p>
        </p:txBody>
      </p:sp>
      <p:cxnSp>
        <p:nvCxnSpPr>
          <p:cNvPr id="20" name="Straight Arrow Connector 19"/>
          <p:cNvCxnSpPr/>
          <p:nvPr/>
        </p:nvCxnSpPr>
        <p:spPr>
          <a:xfrm>
            <a:off x="2187146" y="3361644"/>
            <a:ext cx="1053023" cy="7825"/>
          </a:xfrm>
          <a:prstGeom prst="straightConnector1">
            <a:avLst/>
          </a:prstGeom>
          <a:noFill/>
          <a:ln w="38100" cap="flat" cmpd="sng" algn="ctr">
            <a:solidFill>
              <a:srgbClr val="68217A">
                <a:lumMod val="20000"/>
                <a:lumOff val="80000"/>
              </a:srgbClr>
            </a:solidFill>
            <a:prstDash val="solid"/>
            <a:tailEnd type="triangle" w="lg" len="lg"/>
          </a:ln>
          <a:effectLst/>
          <a:scene3d>
            <a:camera prst="orthographicFront"/>
            <a:lightRig rig="threePt" dir="t"/>
          </a:scene3d>
          <a:sp3d>
            <a:bevelT/>
          </a:sp3d>
        </p:spPr>
      </p:cxnSp>
      <p:cxnSp>
        <p:nvCxnSpPr>
          <p:cNvPr id="21" name="Straight Arrow Connector 20"/>
          <p:cNvCxnSpPr/>
          <p:nvPr/>
        </p:nvCxnSpPr>
        <p:spPr>
          <a:xfrm>
            <a:off x="7177138" y="4955833"/>
            <a:ext cx="3016375" cy="0"/>
          </a:xfrm>
          <a:prstGeom prst="straightConnector1">
            <a:avLst/>
          </a:prstGeom>
          <a:noFill/>
          <a:ln w="38100" cap="flat" cmpd="sng" algn="ctr">
            <a:solidFill>
              <a:srgbClr val="68217A">
                <a:lumMod val="20000"/>
                <a:lumOff val="80000"/>
              </a:srgbClr>
            </a:solidFill>
            <a:prstDash val="solid"/>
            <a:tailEnd type="triangle" w="lg" len="lg"/>
          </a:ln>
          <a:effectLst/>
          <a:scene3d>
            <a:camera prst="orthographicFront"/>
            <a:lightRig rig="threePt" dir="t"/>
          </a:scene3d>
          <a:sp3d>
            <a:bevelT/>
          </a:sp3d>
        </p:spPr>
      </p:cxnSp>
      <p:cxnSp>
        <p:nvCxnSpPr>
          <p:cNvPr id="22" name="Straight Arrow Connector 21"/>
          <p:cNvCxnSpPr/>
          <p:nvPr/>
        </p:nvCxnSpPr>
        <p:spPr>
          <a:xfrm>
            <a:off x="7177138" y="2127819"/>
            <a:ext cx="422667" cy="0"/>
          </a:xfrm>
          <a:prstGeom prst="straightConnector1">
            <a:avLst/>
          </a:prstGeom>
          <a:noFill/>
          <a:ln w="38100" cap="flat" cmpd="sng" algn="ctr">
            <a:solidFill>
              <a:srgbClr val="68217A">
                <a:lumMod val="20000"/>
                <a:lumOff val="80000"/>
              </a:srgbClr>
            </a:solidFill>
            <a:prstDash val="solid"/>
            <a:tailEnd type="triangle" w="lg" len="lg"/>
          </a:ln>
          <a:effectLst/>
          <a:scene3d>
            <a:camera prst="orthographicFront"/>
            <a:lightRig rig="threePt" dir="t"/>
          </a:scene3d>
          <a:sp3d>
            <a:bevelT/>
          </a:sp3d>
        </p:spPr>
      </p:cxnSp>
      <p:grpSp>
        <p:nvGrpSpPr>
          <p:cNvPr id="23" name="Group 2"/>
          <p:cNvGrpSpPr/>
          <p:nvPr/>
        </p:nvGrpSpPr>
        <p:grpSpPr>
          <a:xfrm>
            <a:off x="10238623" y="4439774"/>
            <a:ext cx="1398904" cy="1398904"/>
            <a:chOff x="10036323" y="4353113"/>
            <a:chExt cx="1371600" cy="1371600"/>
          </a:xfrm>
        </p:grpSpPr>
        <p:sp>
          <p:nvSpPr>
            <p:cNvPr id="24" name="Rectangle 3"/>
            <p:cNvSpPr/>
            <p:nvPr/>
          </p:nvSpPr>
          <p:spPr bwMode="auto">
            <a:xfrm>
              <a:off x="10036323" y="4353113"/>
              <a:ext cx="1371600" cy="1371600"/>
            </a:xfrm>
            <a:prstGeom prst="rect">
              <a:avLst/>
            </a:prstGeom>
            <a:solidFill>
              <a:srgbClr val="7FBA00"/>
            </a:solidFill>
            <a:ln w="10795" cap="flat" cmpd="sng" algn="ctr">
              <a:solidFill>
                <a:srgbClr val="7FBA00">
                  <a:shade val="50000"/>
                </a:srgbClr>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12" fontAlgn="base">
                <a:spcBef>
                  <a:spcPct val="0"/>
                </a:spcBef>
                <a:spcAft>
                  <a:spcPct val="0"/>
                </a:spcAft>
                <a:defRPr/>
              </a:pPr>
              <a:endParaRPr lang="en-US" sz="2040" kern="0" dirty="0" smtClean="0">
                <a:gradFill>
                  <a:gsLst>
                    <a:gs pos="0">
                      <a:srgbClr val="FFFFFF"/>
                    </a:gs>
                    <a:gs pos="100000">
                      <a:srgbClr val="FFFFFF"/>
                    </a:gs>
                  </a:gsLst>
                  <a:lin ang="5400000" scaled="0"/>
                </a:gradFill>
              </a:endParaRPr>
            </a:p>
          </p:txBody>
        </p:sp>
        <p:sp>
          <p:nvSpPr>
            <p:cNvPr id="25" name="TextBox 5"/>
            <p:cNvSpPr txBox="1"/>
            <p:nvPr/>
          </p:nvSpPr>
          <p:spPr>
            <a:xfrm>
              <a:off x="10379458" y="4368150"/>
              <a:ext cx="726635" cy="1015579"/>
            </a:xfrm>
            <a:prstGeom prst="rect">
              <a:avLst/>
            </a:prstGeom>
            <a:solidFill>
              <a:srgbClr val="7FBA00"/>
            </a:solidFill>
            <a:ln w="10795" cap="flat" cmpd="sng" algn="ctr">
              <a:noFill/>
              <a:prstDash val="solid"/>
            </a:ln>
            <a:effectLst/>
          </p:spPr>
          <p:txBody>
            <a:bodyPr wrap="none" lIns="0" tIns="0" rIns="0" bIns="0" rtlCol="0">
              <a:spAutoFit/>
            </a:bodyPr>
            <a:lstStyle/>
            <a:p>
              <a:pPr defTabSz="932742">
                <a:defRPr/>
              </a:pPr>
              <a:r>
                <a:rPr lang="en-US" sz="6731" kern="0" spc="-71" dirty="0" smtClean="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6731" kern="0" spc="-71" dirty="0" smtClean="0">
                <a:gradFill>
                  <a:gsLst>
                    <a:gs pos="2917">
                      <a:srgbClr val="FFFFFF"/>
                    </a:gs>
                    <a:gs pos="30000">
                      <a:srgbClr val="FFFFFF"/>
                    </a:gs>
                  </a:gsLst>
                  <a:lin ang="5400000" scaled="0"/>
                </a:gradFill>
              </a:endParaRPr>
            </a:p>
          </p:txBody>
        </p:sp>
      </p:grpSp>
      <p:grpSp>
        <p:nvGrpSpPr>
          <p:cNvPr id="26" name="Group 12"/>
          <p:cNvGrpSpPr/>
          <p:nvPr/>
        </p:nvGrpSpPr>
        <p:grpSpPr>
          <a:xfrm>
            <a:off x="10238623" y="2961045"/>
            <a:ext cx="1398904" cy="1398905"/>
            <a:chOff x="10036323" y="2761666"/>
            <a:chExt cx="1371600" cy="1371600"/>
          </a:xfrm>
        </p:grpSpPr>
        <p:sp>
          <p:nvSpPr>
            <p:cNvPr id="27" name="Rectangle 13"/>
            <p:cNvSpPr/>
            <p:nvPr/>
          </p:nvSpPr>
          <p:spPr bwMode="auto">
            <a:xfrm>
              <a:off x="10036323" y="2761666"/>
              <a:ext cx="1371600" cy="1371600"/>
            </a:xfrm>
            <a:prstGeom prst="rect">
              <a:avLst/>
            </a:prstGeom>
            <a:solidFill>
              <a:srgbClr val="DC3C00"/>
            </a:solidFill>
            <a:ln w="10795" cap="flat" cmpd="sng" algn="ctr">
              <a:solidFill>
                <a:srgbClr val="DC3C00">
                  <a:shade val="50000"/>
                </a:srgbClr>
              </a:solid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12" fontAlgn="base">
                <a:spcBef>
                  <a:spcPct val="0"/>
                </a:spcBef>
                <a:spcAft>
                  <a:spcPct val="0"/>
                </a:spcAft>
                <a:defRPr/>
              </a:pPr>
              <a:endParaRPr lang="en-US" sz="2040" kern="0" dirty="0" smtClean="0">
                <a:gradFill>
                  <a:gsLst>
                    <a:gs pos="0">
                      <a:srgbClr val="FFFFFF"/>
                    </a:gs>
                    <a:gs pos="100000">
                      <a:srgbClr val="FFFFFF"/>
                    </a:gs>
                  </a:gsLst>
                  <a:lin ang="5400000" scaled="0"/>
                </a:gradFill>
              </a:endParaRPr>
            </a:p>
          </p:txBody>
        </p:sp>
        <p:sp>
          <p:nvSpPr>
            <p:cNvPr id="28" name="TextBox 14"/>
            <p:cNvSpPr txBox="1"/>
            <p:nvPr/>
          </p:nvSpPr>
          <p:spPr>
            <a:xfrm>
              <a:off x="10150240" y="2840902"/>
              <a:ext cx="1152407" cy="1231282"/>
            </a:xfrm>
            <a:prstGeom prst="rect">
              <a:avLst/>
            </a:prstGeom>
            <a:solidFill>
              <a:srgbClr val="DC3C00"/>
            </a:solidFill>
            <a:ln w="10795" cap="flat" cmpd="sng" algn="ctr">
              <a:solidFill>
                <a:srgbClr val="DC3C00"/>
              </a:solidFill>
              <a:prstDash val="solid"/>
            </a:ln>
            <a:effectLst/>
          </p:spPr>
          <p:txBody>
            <a:bodyPr wrap="square" lIns="0" tIns="0" rIns="0" bIns="0" rtlCol="0">
              <a:spAutoFit/>
            </a:bodyPr>
            <a:lstStyle/>
            <a:p>
              <a:pPr defTabSz="932742">
                <a:defRPr/>
              </a:pPr>
              <a:r>
                <a:rPr lang="en-US" sz="1632" kern="0" spc="-71" dirty="0" smtClean="0">
                  <a:gradFill>
                    <a:gsLst>
                      <a:gs pos="2917">
                        <a:srgbClr val="FFFFFF"/>
                      </a:gs>
                      <a:gs pos="30000">
                        <a:srgbClr val="FFFFFF"/>
                      </a:gs>
                    </a:gsLst>
                    <a:lin ang="5400000" scaled="0"/>
                  </a:gradFill>
                </a:rPr>
                <a:t>BI </a:t>
              </a:r>
              <a:br>
                <a:rPr lang="en-US" sz="1632" kern="0" spc="-71" dirty="0" smtClean="0">
                  <a:gradFill>
                    <a:gsLst>
                      <a:gs pos="2917">
                        <a:srgbClr val="FFFFFF"/>
                      </a:gs>
                      <a:gs pos="30000">
                        <a:srgbClr val="FFFFFF"/>
                      </a:gs>
                    </a:gsLst>
                    <a:lin ang="5400000" scaled="0"/>
                  </a:gradFill>
                </a:rPr>
              </a:br>
              <a:r>
                <a:rPr lang="en-US" sz="1632" kern="0" spc="-71" dirty="0" smtClean="0">
                  <a:gradFill>
                    <a:gsLst>
                      <a:gs pos="2917">
                        <a:srgbClr val="FFFFFF"/>
                      </a:gs>
                      <a:gs pos="30000">
                        <a:srgbClr val="FFFFFF"/>
                      </a:gs>
                    </a:gsLst>
                    <a:lin ang="5400000" scaled="0"/>
                  </a:gradFill>
                </a:rPr>
                <a:t>Dashboards</a:t>
              </a:r>
            </a:p>
            <a:p>
              <a:pPr defTabSz="932742">
                <a:defRPr/>
              </a:pPr>
              <a:endParaRPr lang="en-US" sz="1632" kern="0" spc="-71" dirty="0" smtClean="0">
                <a:gradFill>
                  <a:gsLst>
                    <a:gs pos="2917">
                      <a:srgbClr val="FFFFFF"/>
                    </a:gs>
                    <a:gs pos="30000">
                      <a:srgbClr val="FFFFFF"/>
                    </a:gs>
                  </a:gsLst>
                  <a:lin ang="5400000" scaled="0"/>
                </a:gradFill>
              </a:endParaRPr>
            </a:p>
            <a:p>
              <a:pPr defTabSz="932742">
                <a:defRPr/>
              </a:pPr>
              <a:r>
                <a:rPr lang="en-US" sz="1632" kern="0" spc="-71" dirty="0" smtClean="0">
                  <a:gradFill>
                    <a:gsLst>
                      <a:gs pos="2917">
                        <a:srgbClr val="FFFFFF"/>
                      </a:gs>
                      <a:gs pos="30000">
                        <a:srgbClr val="FFFFFF"/>
                      </a:gs>
                    </a:gsLst>
                    <a:lin ang="5400000" scaled="0"/>
                  </a:gradFill>
                </a:rPr>
                <a:t>Predictive Analytics</a:t>
              </a:r>
            </a:p>
          </p:txBody>
        </p:sp>
      </p:grpSp>
      <p:grpSp>
        <p:nvGrpSpPr>
          <p:cNvPr id="29" name="Group 28"/>
          <p:cNvGrpSpPr/>
          <p:nvPr/>
        </p:nvGrpSpPr>
        <p:grpSpPr>
          <a:xfrm>
            <a:off x="10226835" y="1482319"/>
            <a:ext cx="1398904" cy="1398904"/>
            <a:chOff x="751136" y="3525713"/>
            <a:chExt cx="1371600" cy="1371600"/>
          </a:xfrm>
        </p:grpSpPr>
        <p:sp>
          <p:nvSpPr>
            <p:cNvPr id="30" name="Rectangle 29"/>
            <p:cNvSpPr/>
            <p:nvPr/>
          </p:nvSpPr>
          <p:spPr bwMode="auto">
            <a:xfrm>
              <a:off x="751136" y="3525713"/>
              <a:ext cx="1371600" cy="1371600"/>
            </a:xfrm>
            <a:prstGeom prst="rect">
              <a:avLst/>
            </a:prstGeom>
            <a:solidFill>
              <a:srgbClr val="FFC000"/>
            </a:solidFill>
            <a:ln w="1079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12" fontAlgn="base">
                <a:spcBef>
                  <a:spcPct val="0"/>
                </a:spcBef>
                <a:spcAft>
                  <a:spcPct val="0"/>
                </a:spcAft>
                <a:defRPr/>
              </a:pPr>
              <a:endParaRPr lang="en-US" sz="2040" kern="0" dirty="0" smtClean="0">
                <a:gradFill>
                  <a:gsLst>
                    <a:gs pos="0">
                      <a:srgbClr val="FFFFFF"/>
                    </a:gs>
                    <a:gs pos="100000">
                      <a:srgbClr val="FFFFFF"/>
                    </a:gs>
                  </a:gsLst>
                  <a:lin ang="5400000" scaled="0"/>
                </a:gradFill>
              </a:endParaRPr>
            </a:p>
          </p:txBody>
        </p:sp>
        <p:sp>
          <p:nvSpPr>
            <p:cNvPr id="31" name="Freeform 62"/>
            <p:cNvSpPr>
              <a:spLocks noEditPoints="1"/>
            </p:cNvSpPr>
            <p:nvPr/>
          </p:nvSpPr>
          <p:spPr bwMode="black">
            <a:xfrm>
              <a:off x="924989" y="4347749"/>
              <a:ext cx="395988" cy="39588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3922" tIns="41961" rIns="83922" bIns="41961" numCol="1" anchor="t" anchorCtr="0" compatLnSpc="1">
              <a:prstTxWarp prst="textNoShape">
                <a:avLst/>
              </a:prstTxWarp>
            </a:bodyPr>
            <a:lstStyle/>
            <a:p>
              <a:pPr defTabSz="932742">
                <a:defRPr/>
              </a:pPr>
              <a:endParaRPr lang="en-US" sz="1632" kern="0" smtClean="0">
                <a:solidFill>
                  <a:srgbClr val="000000"/>
                </a:solidFill>
              </a:endParaRPr>
            </a:p>
          </p:txBody>
        </p:sp>
        <p:sp>
          <p:nvSpPr>
            <p:cNvPr id="32" name="Freeform 127"/>
            <p:cNvSpPr>
              <a:spLocks noEditPoints="1"/>
            </p:cNvSpPr>
            <p:nvPr/>
          </p:nvSpPr>
          <p:spPr bwMode="black">
            <a:xfrm>
              <a:off x="1522600" y="3773315"/>
              <a:ext cx="400584" cy="32628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3236" tIns="46619" rIns="93236" bIns="46619" numCol="1" anchor="t" anchorCtr="0" compatLnSpc="1">
              <a:prstTxWarp prst="textNoShape">
                <a:avLst/>
              </a:prstTxWarp>
            </a:bodyPr>
            <a:lstStyle/>
            <a:p>
              <a:pPr defTabSz="932742">
                <a:defRPr/>
              </a:pPr>
              <a:endParaRPr lang="en-US" sz="1835" kern="0" smtClean="0">
                <a:solidFill>
                  <a:srgbClr val="000000"/>
                </a:solidFill>
              </a:endParaRPr>
            </a:p>
          </p:txBody>
        </p:sp>
        <p:pic>
          <p:nvPicPr>
            <p:cNvPr id="33" name="Picture 3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1004858" y="3694520"/>
              <a:ext cx="210892" cy="405079"/>
            </a:xfrm>
            <a:prstGeom prst="rect">
              <a:avLst/>
            </a:prstGeom>
          </p:spPr>
        </p:pic>
        <p:sp>
          <p:nvSpPr>
            <p:cNvPr id="34" name="TextBox 33"/>
            <p:cNvSpPr txBox="1"/>
            <p:nvPr/>
          </p:nvSpPr>
          <p:spPr>
            <a:xfrm>
              <a:off x="1558218" y="4307955"/>
              <a:ext cx="368285" cy="369353"/>
            </a:xfrm>
            <a:prstGeom prst="rect">
              <a:avLst/>
            </a:prstGeom>
            <a:noFill/>
          </p:spPr>
          <p:txBody>
            <a:bodyPr wrap="none" lIns="0" tIns="0" rIns="0" bIns="0" rtlCol="0">
              <a:spAutoFit/>
            </a:bodyPr>
            <a:lstStyle/>
            <a:p>
              <a:pPr defTabSz="932742">
                <a:defRPr/>
              </a:pPr>
              <a:r>
                <a:rPr lang="en-US" sz="2448" kern="0" spc="-71" dirty="0" smtClean="0">
                  <a:gradFill>
                    <a:gsLst>
                      <a:gs pos="2917">
                        <a:srgbClr val="FFFFFF"/>
                      </a:gs>
                      <a:gs pos="30000">
                        <a:srgbClr val="FFFFFF"/>
                      </a:gs>
                    </a:gsLst>
                    <a:lin ang="5400000" scaled="0"/>
                  </a:gradFill>
                  <a:latin typeface="Segoe UI Symbol" panose="020B0502040204020203" pitchFamily="34" charset="0"/>
                  <a:ea typeface="Segoe UI Symbol" panose="020B0502040204020203" pitchFamily="34" charset="0"/>
                </a:rPr>
                <a:t></a:t>
              </a:r>
              <a:endParaRPr lang="en-US" sz="2448" kern="0" spc="-71" dirty="0" smtClean="0">
                <a:gradFill>
                  <a:gsLst>
                    <a:gs pos="2917">
                      <a:srgbClr val="FFFFFF"/>
                    </a:gs>
                    <a:gs pos="30000">
                      <a:srgbClr val="FFFFFF"/>
                    </a:gs>
                  </a:gsLst>
                  <a:lin ang="5400000" scaled="0"/>
                </a:gradFill>
              </a:endParaRPr>
            </a:p>
          </p:txBody>
        </p:sp>
      </p:grpSp>
      <p:sp>
        <p:nvSpPr>
          <p:cNvPr id="35" name="Rectangle 34"/>
          <p:cNvSpPr/>
          <p:nvPr/>
        </p:nvSpPr>
        <p:spPr>
          <a:xfrm>
            <a:off x="10325122" y="5255563"/>
            <a:ext cx="715389" cy="469103"/>
          </a:xfrm>
          <a:prstGeom prst="rect">
            <a:avLst/>
          </a:prstGeom>
        </p:spPr>
        <p:txBody>
          <a:bodyPr wrap="none">
            <a:spAutoFit/>
          </a:bodyPr>
          <a:lstStyle/>
          <a:p>
            <a:pPr defTabSz="932742">
              <a:defRPr/>
            </a:pPr>
            <a:r>
              <a:rPr lang="en-US" sz="1224" kern="0" dirty="0" smtClean="0">
                <a:solidFill>
                  <a:srgbClr val="FFFFFF"/>
                </a:solidFill>
              </a:rPr>
              <a:t>Azure</a:t>
            </a:r>
          </a:p>
          <a:p>
            <a:pPr defTabSz="932742">
              <a:defRPr/>
            </a:pPr>
            <a:r>
              <a:rPr lang="en-US" sz="1224" kern="0" dirty="0" smtClean="0">
                <a:solidFill>
                  <a:srgbClr val="FFFFFF"/>
                </a:solidFill>
              </a:rPr>
              <a:t>Storage</a:t>
            </a:r>
          </a:p>
        </p:txBody>
      </p:sp>
      <p:sp>
        <p:nvSpPr>
          <p:cNvPr id="36" name="TextBox 35"/>
          <p:cNvSpPr txBox="1"/>
          <p:nvPr/>
        </p:nvSpPr>
        <p:spPr>
          <a:xfrm>
            <a:off x="3000601" y="1696478"/>
            <a:ext cx="1779595" cy="878959"/>
          </a:xfrm>
          <a:prstGeom prst="rect">
            <a:avLst/>
          </a:prstGeom>
          <a:noFill/>
        </p:spPr>
        <p:txBody>
          <a:bodyPr wrap="square" lIns="0" tIns="0" rIns="0" bIns="0" rtlCol="0">
            <a:spAutoFit/>
          </a:bodyPr>
          <a:lstStyle/>
          <a:p>
            <a:pPr marL="285726" indent="-285726" defTabSz="932742">
              <a:buFont typeface="Arial" panose="020B0604020202020204" pitchFamily="34" charset="0"/>
              <a:buChar char="•"/>
              <a:defRPr/>
            </a:pPr>
            <a:r>
              <a:rPr lang="en-US" sz="1428" kern="0" spc="-71" dirty="0" smtClean="0">
                <a:solidFill>
                  <a:srgbClr val="FFFFFF"/>
                </a:solidFill>
              </a:rPr>
              <a:t>Temporal Semantics</a:t>
            </a:r>
          </a:p>
          <a:p>
            <a:pPr marL="285726" indent="-285726" defTabSz="932742">
              <a:buFont typeface="Arial" panose="020B0604020202020204" pitchFamily="34" charset="0"/>
              <a:buChar char="•"/>
              <a:defRPr/>
            </a:pPr>
            <a:r>
              <a:rPr lang="en-US" sz="1428" kern="0" spc="-71" dirty="0" smtClean="0">
                <a:solidFill>
                  <a:srgbClr val="FFFFFF"/>
                </a:solidFill>
              </a:rPr>
              <a:t>Guaranteed delivery</a:t>
            </a:r>
          </a:p>
          <a:p>
            <a:pPr marL="285726" indent="-285726" defTabSz="932742">
              <a:buFont typeface="Arial" panose="020B0604020202020204" pitchFamily="34" charset="0"/>
              <a:buChar char="•"/>
              <a:defRPr/>
            </a:pPr>
            <a:r>
              <a:rPr lang="en-US" sz="1428" kern="0" spc="-71" dirty="0" smtClean="0">
                <a:solidFill>
                  <a:srgbClr val="FFFFFF"/>
                </a:solidFill>
              </a:rPr>
              <a:t>Guaranteed up time </a:t>
            </a:r>
          </a:p>
          <a:p>
            <a:pPr marL="285726" indent="-285726" defTabSz="932742">
              <a:buFont typeface="Arial" panose="020B0604020202020204" pitchFamily="34" charset="0"/>
              <a:buChar char="•"/>
              <a:defRPr/>
            </a:pPr>
            <a:endParaRPr lang="en-US" sz="1428" kern="0" spc="-71" dirty="0" smtClean="0">
              <a:solidFill>
                <a:srgbClr val="FFFFFF"/>
              </a:solidFill>
            </a:endParaRPr>
          </a:p>
        </p:txBody>
      </p:sp>
      <p:sp>
        <p:nvSpPr>
          <p:cNvPr id="37" name="Rectangle 36"/>
          <p:cNvSpPr/>
          <p:nvPr/>
        </p:nvSpPr>
        <p:spPr>
          <a:xfrm>
            <a:off x="2637579" y="1227968"/>
            <a:ext cx="2563715" cy="400110"/>
          </a:xfrm>
          <a:prstGeom prst="rect">
            <a:avLst/>
          </a:prstGeom>
        </p:spPr>
        <p:txBody>
          <a:bodyPr wrap="none">
            <a:spAutoFit/>
          </a:bodyPr>
          <a:lstStyle/>
          <a:p>
            <a:pPr defTabSz="932742">
              <a:defRPr/>
            </a:pPr>
            <a:r>
              <a:rPr lang="en-US" sz="2000" kern="0" spc="-71" dirty="0" smtClean="0">
                <a:solidFill>
                  <a:srgbClr val="68217A">
                    <a:lumMod val="20000"/>
                    <a:lumOff val="80000"/>
                  </a:srgbClr>
                </a:solidFill>
              </a:rPr>
              <a:t>Azure Stream Analytics</a:t>
            </a:r>
            <a:endParaRPr lang="en-US" sz="2000" kern="0" dirty="0" smtClean="0">
              <a:solidFill>
                <a:srgbClr val="68217A">
                  <a:lumMod val="20000"/>
                  <a:lumOff val="80000"/>
                </a:srgbClr>
              </a:solidFill>
            </a:endParaRPr>
          </a:p>
        </p:txBody>
      </p:sp>
      <p:sp>
        <p:nvSpPr>
          <p:cNvPr id="38" name="Rectangle 37"/>
          <p:cNvSpPr/>
          <p:nvPr/>
        </p:nvSpPr>
        <p:spPr bwMode="auto">
          <a:xfrm>
            <a:off x="3248809" y="4560046"/>
            <a:ext cx="1676315" cy="1451816"/>
          </a:xfrm>
          <a:prstGeom prst="rect">
            <a:avLst/>
          </a:prstGeom>
          <a:solidFill>
            <a:srgbClr val="002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93236" tIns="46619" rIns="46619" bIns="93236" numCol="1" spcCol="0" rtlCol="0" fromWordArt="0" anchor="t" anchorCtr="0" forceAA="0" compatLnSpc="1">
            <a:prstTxWarp prst="textNoShape">
              <a:avLst/>
            </a:prstTxWarp>
            <a:noAutofit/>
          </a:bodyPr>
          <a:lstStyle/>
          <a:p>
            <a:pPr defTabSz="931932" fontAlgn="base">
              <a:spcBef>
                <a:spcPct val="0"/>
              </a:spcBef>
              <a:spcAft>
                <a:spcPct val="0"/>
              </a:spcAft>
              <a:defRPr/>
            </a:pPr>
            <a:r>
              <a:rPr lang="en-US" sz="1873" kern="0" dirty="0" smtClean="0">
                <a:solidFill>
                  <a:srgbClr val="FFFFFF"/>
                </a:solidFill>
                <a:latin typeface="Segoe UI Light"/>
                <a:ea typeface="Segoe UI" pitchFamily="34" charset="0"/>
                <a:cs typeface="Segoe UI" pitchFamily="34" charset="0"/>
              </a:rPr>
              <a:t>Reference Data</a:t>
            </a:r>
            <a:endParaRPr lang="en-US" sz="1224" kern="0" dirty="0" smtClean="0">
              <a:solidFill>
                <a:srgbClr val="FFFFFF"/>
              </a:solidFill>
              <a:latin typeface="Segoe UI Light"/>
              <a:ea typeface="Segoe UI" pitchFamily="34" charset="0"/>
              <a:cs typeface="Segoe UI" pitchFamily="34" charset="0"/>
            </a:endParaRPr>
          </a:p>
          <a:p>
            <a:pPr marL="174847" indent="-174847" defTabSz="931932" fontAlgn="base">
              <a:spcBef>
                <a:spcPct val="0"/>
              </a:spcBef>
              <a:spcAft>
                <a:spcPct val="0"/>
              </a:spcAft>
              <a:buFontTx/>
              <a:buChar char="-"/>
              <a:defRPr/>
            </a:pPr>
            <a:r>
              <a:rPr lang="en-US" sz="1224" kern="0" smtClean="0">
                <a:solidFill>
                  <a:srgbClr val="FFFFFF"/>
                </a:solidFill>
                <a:ea typeface="Segoe UI" pitchFamily="34" charset="0"/>
                <a:cs typeface="Segoe UI" pitchFamily="34" charset="0"/>
              </a:rPr>
              <a:t>Azure Blob</a:t>
            </a:r>
            <a:endParaRPr lang="en-US" sz="1224" kern="0" dirty="0" smtClean="0">
              <a:solidFill>
                <a:srgbClr val="FFFFFF"/>
              </a:solidFill>
              <a:ea typeface="Segoe UI" pitchFamily="34" charset="0"/>
              <a:cs typeface="Segoe UI" pitchFamily="34" charset="0"/>
            </a:endParaRPr>
          </a:p>
        </p:txBody>
      </p:sp>
      <p:cxnSp>
        <p:nvCxnSpPr>
          <p:cNvPr id="39" name="Straight Arrow Connector 38"/>
          <p:cNvCxnSpPr/>
          <p:nvPr/>
        </p:nvCxnSpPr>
        <p:spPr>
          <a:xfrm>
            <a:off x="9319682" y="2127819"/>
            <a:ext cx="873833" cy="0"/>
          </a:xfrm>
          <a:prstGeom prst="straightConnector1">
            <a:avLst/>
          </a:prstGeom>
          <a:noFill/>
          <a:ln w="38100" cap="flat" cmpd="sng" algn="ctr">
            <a:solidFill>
              <a:srgbClr val="68217A">
                <a:lumMod val="20000"/>
                <a:lumOff val="80000"/>
              </a:srgbClr>
            </a:solidFill>
            <a:prstDash val="solid"/>
            <a:tailEnd type="triangle" w="lg" len="lg"/>
          </a:ln>
          <a:effectLst/>
          <a:scene3d>
            <a:camera prst="orthographicFront"/>
            <a:lightRig rig="threePt" dir="t"/>
          </a:scene3d>
          <a:sp3d>
            <a:bevelT/>
          </a:sp3d>
        </p:spPr>
      </p:cxnSp>
      <p:cxnSp>
        <p:nvCxnSpPr>
          <p:cNvPr id="40" name="Straight Arrow Connector 39"/>
          <p:cNvCxnSpPr/>
          <p:nvPr/>
        </p:nvCxnSpPr>
        <p:spPr>
          <a:xfrm>
            <a:off x="4957372" y="3350483"/>
            <a:ext cx="422667" cy="0"/>
          </a:xfrm>
          <a:prstGeom prst="straightConnector1">
            <a:avLst/>
          </a:prstGeom>
          <a:noFill/>
          <a:ln w="38100" cap="flat" cmpd="sng" algn="ctr">
            <a:solidFill>
              <a:srgbClr val="68217A">
                <a:lumMod val="20000"/>
                <a:lumOff val="80000"/>
              </a:srgbClr>
            </a:solidFill>
            <a:prstDash val="solid"/>
            <a:tailEnd type="triangle" w="lg" len="lg"/>
          </a:ln>
          <a:effectLst/>
          <a:scene3d>
            <a:camera prst="orthographicFront"/>
            <a:lightRig rig="threePt" dir="t"/>
          </a:scene3d>
          <a:sp3d>
            <a:bevelT/>
          </a:sp3d>
        </p:spPr>
      </p:cxnSp>
      <p:cxnSp>
        <p:nvCxnSpPr>
          <p:cNvPr id="41" name="Straight Arrow Connector 40"/>
          <p:cNvCxnSpPr/>
          <p:nvPr/>
        </p:nvCxnSpPr>
        <p:spPr>
          <a:xfrm>
            <a:off x="4957372" y="5255562"/>
            <a:ext cx="422667" cy="0"/>
          </a:xfrm>
          <a:prstGeom prst="straightConnector1">
            <a:avLst/>
          </a:prstGeom>
          <a:noFill/>
          <a:ln w="38100" cap="flat" cmpd="sng" algn="ctr">
            <a:solidFill>
              <a:srgbClr val="68217A">
                <a:lumMod val="20000"/>
                <a:lumOff val="80000"/>
              </a:srgbClr>
            </a:solidFill>
            <a:prstDash val="solid"/>
            <a:tailEnd type="triangle" w="lg" len="lg"/>
          </a:ln>
          <a:effectLst/>
          <a:scene3d>
            <a:camera prst="orthographicFront"/>
            <a:lightRig rig="threePt" dir="t"/>
          </a:scene3d>
          <a:sp3d>
            <a:bevelT/>
          </a:sp3d>
        </p:spPr>
      </p:cxnSp>
      <p:pic>
        <p:nvPicPr>
          <p:cNvPr id="42" name="Picture 41"/>
          <p:cNvPicPr>
            <a:picLocks noChangeAspect="1"/>
          </p:cNvPicPr>
          <p:nvPr/>
        </p:nvPicPr>
        <p:blipFill>
          <a:blip r:embed="rId5"/>
          <a:stretch>
            <a:fillRect/>
          </a:stretch>
        </p:blipFill>
        <p:spPr>
          <a:xfrm>
            <a:off x="3268676" y="2379309"/>
            <a:ext cx="6317754" cy="2155220"/>
          </a:xfrm>
          <a:prstGeom prst="rect">
            <a:avLst/>
          </a:prstGeom>
        </p:spPr>
      </p:pic>
    </p:spTree>
    <p:extLst>
      <p:ext uri="{BB962C8B-B14F-4D97-AF65-F5344CB8AC3E}">
        <p14:creationId xmlns:p14="http://schemas.microsoft.com/office/powerpoint/2010/main" val="1884325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IoT Recent Innovations</a:t>
            </a:r>
          </a:p>
        </p:txBody>
      </p:sp>
      <p:sp>
        <p:nvSpPr>
          <p:cNvPr id="3" name="Espace réservé du texte 2"/>
          <p:cNvSpPr>
            <a:spLocks noGrp="1"/>
          </p:cNvSpPr>
          <p:nvPr>
            <p:ph type="body" sz="quarter" idx="13"/>
          </p:nvPr>
        </p:nvSpPr>
        <p:spPr/>
        <p:txBody>
          <a:bodyPr/>
          <a:lstStyle/>
          <a:p>
            <a:endParaRPr lang="fr-FR"/>
          </a:p>
        </p:txBody>
      </p:sp>
      <p:sp>
        <p:nvSpPr>
          <p:cNvPr id="4" name="Espace réservé pour une image  3"/>
          <p:cNvSpPr>
            <a:spLocks noGrp="1"/>
          </p:cNvSpPr>
          <p:nvPr>
            <p:ph type="pic" sz="quarter" idx="17"/>
          </p:nvPr>
        </p:nvSpPr>
        <p:spPr/>
      </p:sp>
      <p:grpSp>
        <p:nvGrpSpPr>
          <p:cNvPr id="27" name="Group 26"/>
          <p:cNvGrpSpPr/>
          <p:nvPr/>
        </p:nvGrpSpPr>
        <p:grpSpPr>
          <a:xfrm>
            <a:off x="578307" y="1497468"/>
            <a:ext cx="2061777" cy="2319325"/>
            <a:chOff x="589903" y="1526999"/>
            <a:chExt cx="2103120" cy="2365832"/>
          </a:xfrm>
        </p:grpSpPr>
        <p:sp>
          <p:nvSpPr>
            <p:cNvPr id="198" name="Rectangle 197"/>
            <p:cNvSpPr/>
            <p:nvPr/>
          </p:nvSpPr>
          <p:spPr>
            <a:xfrm>
              <a:off x="589903" y="1526999"/>
              <a:ext cx="2103120" cy="2365832"/>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179285" rIns="182854" bIns="91427" rtlCol="0" anchor="t"/>
            <a:lstStyle/>
            <a:p>
              <a:pPr algn="ctr" defTabSz="913924" fontAlgn="base">
                <a:spcBef>
                  <a:spcPct val="0"/>
                </a:spcBef>
                <a:spcAft>
                  <a:spcPct val="0"/>
                </a:spcAft>
                <a:defRPr/>
              </a:pPr>
              <a:r>
                <a:rPr lang="en-US" dirty="0">
                  <a:solidFill>
                    <a:srgbClr val="0078D7"/>
                  </a:solidFill>
                  <a:latin typeface="Segoe UI Light"/>
                  <a:ea typeface="Segoe UI" pitchFamily="34" charset="0"/>
                  <a:cs typeface="Segoe UI" pitchFamily="34" charset="0"/>
                </a:rPr>
                <a:t>Security Program for Azure </a:t>
              </a:r>
              <a:r>
                <a:rPr lang="en-US" dirty="0" err="1">
                  <a:solidFill>
                    <a:srgbClr val="0078D7"/>
                  </a:solidFill>
                  <a:latin typeface="Segoe UI Light"/>
                  <a:ea typeface="Segoe UI" pitchFamily="34" charset="0"/>
                  <a:cs typeface="Segoe UI" pitchFamily="34" charset="0"/>
                </a:rPr>
                <a:t>IoT</a:t>
              </a:r>
              <a:endParaRPr lang="en-US" dirty="0">
                <a:solidFill>
                  <a:srgbClr val="0078D7"/>
                </a:solidFill>
                <a:latin typeface="Segoe UI Light"/>
                <a:ea typeface="Segoe UI" pitchFamily="34" charset="0"/>
                <a:cs typeface="Segoe UI" pitchFamily="34" charset="0"/>
              </a:endParaRPr>
            </a:p>
          </p:txBody>
        </p:sp>
        <p:sp>
          <p:nvSpPr>
            <p:cNvPr id="67" name="Freeform 94"/>
            <p:cNvSpPr>
              <a:spLocks noChangeAspect="1"/>
            </p:cNvSpPr>
            <p:nvPr/>
          </p:nvSpPr>
          <p:spPr bwMode="auto">
            <a:xfrm>
              <a:off x="1392926" y="2435595"/>
              <a:ext cx="497075" cy="548640"/>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algn="ctr" defTabSz="895688" fontAlgn="base">
                <a:spcBef>
                  <a:spcPct val="0"/>
                </a:spcBef>
                <a:spcAft>
                  <a:spcPct val="0"/>
                </a:spcAft>
                <a:defRPr/>
              </a:pPr>
              <a:endParaRPr lang="en-US" sz="900" kern="0" spc="-49">
                <a:solidFill>
                  <a:srgbClr val="FFFFFF"/>
                </a:solidFill>
                <a:latin typeface="Segoe UI Semilight"/>
                <a:ea typeface="Segoe UI" pitchFamily="34" charset="0"/>
                <a:cs typeface="Segoe UI" pitchFamily="34" charset="0"/>
              </a:endParaRPr>
            </a:p>
          </p:txBody>
        </p:sp>
        <p:sp>
          <p:nvSpPr>
            <p:cNvPr id="5" name="Rectangle 4"/>
            <p:cNvSpPr/>
            <p:nvPr/>
          </p:nvSpPr>
          <p:spPr>
            <a:xfrm>
              <a:off x="589903" y="3157334"/>
              <a:ext cx="2103120" cy="735497"/>
            </a:xfrm>
            <a:prstGeom prst="rect">
              <a:avLst/>
            </a:prstGeom>
            <a:solidFill>
              <a:srgbClr val="0070C0"/>
            </a:solidFill>
          </p:spPr>
          <p:txBody>
            <a:bodyPr wrap="square" tIns="89642" bIns="89642" anchor="ctr">
              <a:noAutofit/>
            </a:bodyPr>
            <a:lstStyle/>
            <a:p>
              <a:pPr algn="ctr" defTabSz="914228">
                <a:defRPr/>
              </a:pPr>
              <a:r>
                <a:rPr lang="en-US" sz="1372" dirty="0">
                  <a:solidFill>
                    <a:srgbClr val="FFFFFF"/>
                  </a:solidFill>
                  <a:latin typeface="Segoe UI Semilight"/>
                  <a:cs typeface="Segoe UI Semibold" panose="020B0702040204020203" pitchFamily="34" charset="0"/>
                </a:rPr>
                <a:t>Matchmaking with </a:t>
              </a:r>
              <a:r>
                <a:rPr lang="en-US" sz="1372" dirty="0" err="1">
                  <a:solidFill>
                    <a:srgbClr val="FFFFFF"/>
                  </a:solidFill>
                  <a:latin typeface="Segoe UI Semilight"/>
                  <a:cs typeface="Segoe UI Semibold" panose="020B0702040204020203" pitchFamily="34" charset="0"/>
                </a:rPr>
                <a:t>IoT</a:t>
              </a:r>
              <a:r>
                <a:rPr lang="en-US" sz="1372" dirty="0">
                  <a:solidFill>
                    <a:srgbClr val="FFFFFF"/>
                  </a:solidFill>
                  <a:latin typeface="Segoe UI Semilight"/>
                  <a:cs typeface="Segoe UI Semibold" panose="020B0702040204020203" pitchFamily="34" charset="0"/>
                </a:rPr>
                <a:t> security auditors</a:t>
              </a:r>
            </a:p>
          </p:txBody>
        </p:sp>
      </p:grpSp>
      <p:grpSp>
        <p:nvGrpSpPr>
          <p:cNvPr id="24" name="Group 23"/>
          <p:cNvGrpSpPr/>
          <p:nvPr/>
        </p:nvGrpSpPr>
        <p:grpSpPr>
          <a:xfrm>
            <a:off x="2822550" y="1497468"/>
            <a:ext cx="2061778" cy="2319325"/>
            <a:chOff x="2879147" y="1526999"/>
            <a:chExt cx="2103121" cy="2365832"/>
          </a:xfrm>
        </p:grpSpPr>
        <p:sp>
          <p:nvSpPr>
            <p:cNvPr id="199" name="Rectangle 198"/>
            <p:cNvSpPr/>
            <p:nvPr/>
          </p:nvSpPr>
          <p:spPr>
            <a:xfrm>
              <a:off x="2879147" y="1526999"/>
              <a:ext cx="2103120" cy="2365828"/>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179285" rIns="182854" bIns="91427" rtlCol="0" anchor="t"/>
            <a:lstStyle/>
            <a:p>
              <a:pPr algn="ctr" defTabSz="913924" fontAlgn="base">
                <a:spcBef>
                  <a:spcPct val="0"/>
                </a:spcBef>
                <a:spcAft>
                  <a:spcPct val="0"/>
                </a:spcAft>
                <a:defRPr/>
              </a:pPr>
              <a:r>
                <a:rPr lang="en-US">
                  <a:solidFill>
                    <a:srgbClr val="0078D7"/>
                  </a:solidFill>
                  <a:latin typeface="Segoe UI Light"/>
                  <a:ea typeface="Segoe UI" pitchFamily="34" charset="0"/>
                  <a:cs typeface="Segoe UI" pitchFamily="34" charset="0"/>
                </a:rPr>
                <a:t>Azure IoT Hub Device Mgmt.</a:t>
              </a:r>
            </a:p>
          </p:txBody>
        </p:sp>
        <p:sp>
          <p:nvSpPr>
            <p:cNvPr id="73" name="Freeform 9"/>
            <p:cNvSpPr>
              <a:spLocks noChangeAspect="1" noEditPoints="1"/>
            </p:cNvSpPr>
            <p:nvPr/>
          </p:nvSpPr>
          <p:spPr bwMode="auto">
            <a:xfrm>
              <a:off x="3592388" y="2435593"/>
              <a:ext cx="676639" cy="548640"/>
            </a:xfrm>
            <a:custGeom>
              <a:avLst/>
              <a:gdLst>
                <a:gd name="T0" fmla="*/ 600 w 1107"/>
                <a:gd name="T1" fmla="*/ 625 h 897"/>
                <a:gd name="T2" fmla="*/ 649 w 1107"/>
                <a:gd name="T3" fmla="*/ 567 h 897"/>
                <a:gd name="T4" fmla="*/ 727 w 1107"/>
                <a:gd name="T5" fmla="*/ 482 h 897"/>
                <a:gd name="T6" fmla="*/ 601 w 1107"/>
                <a:gd name="T7" fmla="*/ 434 h 897"/>
                <a:gd name="T8" fmla="*/ 628 w 1107"/>
                <a:gd name="T9" fmla="*/ 305 h 897"/>
                <a:gd name="T10" fmla="*/ 547 w 1107"/>
                <a:gd name="T11" fmla="*/ 240 h 897"/>
                <a:gd name="T12" fmla="*/ 427 w 1107"/>
                <a:gd name="T13" fmla="*/ 287 h 897"/>
                <a:gd name="T14" fmla="*/ 368 w 1107"/>
                <a:gd name="T15" fmla="*/ 170 h 897"/>
                <a:gd name="T16" fmla="*/ 285 w 1107"/>
                <a:gd name="T17" fmla="*/ 263 h 897"/>
                <a:gd name="T18" fmla="*/ 241 w 1107"/>
                <a:gd name="T19" fmla="*/ 313 h 897"/>
                <a:gd name="T20" fmla="*/ 139 w 1107"/>
                <a:gd name="T21" fmla="*/ 281 h 897"/>
                <a:gd name="T22" fmla="*/ 79 w 1107"/>
                <a:gd name="T23" fmla="*/ 355 h 897"/>
                <a:gd name="T24" fmla="*/ 132 w 1107"/>
                <a:gd name="T25" fmla="*/ 446 h 897"/>
                <a:gd name="T26" fmla="*/ 83 w 1107"/>
                <a:gd name="T27" fmla="*/ 505 h 897"/>
                <a:gd name="T28" fmla="*/ 5 w 1107"/>
                <a:gd name="T29" fmla="*/ 590 h 897"/>
                <a:gd name="T30" fmla="*/ 132 w 1107"/>
                <a:gd name="T31" fmla="*/ 638 h 897"/>
                <a:gd name="T32" fmla="*/ 145 w 1107"/>
                <a:gd name="T33" fmla="*/ 669 h 897"/>
                <a:gd name="T34" fmla="*/ 110 w 1107"/>
                <a:gd name="T35" fmla="*/ 793 h 897"/>
                <a:gd name="T36" fmla="*/ 230 w 1107"/>
                <a:gd name="T37" fmla="*/ 781 h 897"/>
                <a:gd name="T38" fmla="*/ 306 w 1107"/>
                <a:gd name="T39" fmla="*/ 785 h 897"/>
                <a:gd name="T40" fmla="*/ 346 w 1107"/>
                <a:gd name="T41" fmla="*/ 878 h 897"/>
                <a:gd name="T42" fmla="*/ 440 w 1107"/>
                <a:gd name="T43" fmla="*/ 872 h 897"/>
                <a:gd name="T44" fmla="*/ 466 w 1107"/>
                <a:gd name="T45" fmla="*/ 764 h 897"/>
                <a:gd name="T46" fmla="*/ 539 w 1107"/>
                <a:gd name="T47" fmla="*/ 755 h 897"/>
                <a:gd name="T48" fmla="*/ 659 w 1107"/>
                <a:gd name="T49" fmla="*/ 743 h 897"/>
                <a:gd name="T50" fmla="*/ 263 w 1107"/>
                <a:gd name="T51" fmla="*/ 452 h 897"/>
                <a:gd name="T52" fmla="*/ 281 w 1107"/>
                <a:gd name="T53" fmla="*/ 633 h 897"/>
                <a:gd name="T54" fmla="*/ 1002 w 1107"/>
                <a:gd name="T55" fmla="*/ 332 h 897"/>
                <a:gd name="T56" fmla="*/ 1043 w 1107"/>
                <a:gd name="T57" fmla="*/ 304 h 897"/>
                <a:gd name="T58" fmla="*/ 1107 w 1107"/>
                <a:gd name="T59" fmla="*/ 266 h 897"/>
                <a:gd name="T60" fmla="*/ 1037 w 1107"/>
                <a:gd name="T61" fmla="*/ 213 h 897"/>
                <a:gd name="T62" fmla="*/ 1077 w 1107"/>
                <a:gd name="T63" fmla="*/ 138 h 897"/>
                <a:gd name="T64" fmla="*/ 1038 w 1107"/>
                <a:gd name="T65" fmla="*/ 83 h 897"/>
                <a:gd name="T66" fmla="*/ 956 w 1107"/>
                <a:gd name="T67" fmla="*/ 91 h 897"/>
                <a:gd name="T68" fmla="*/ 940 w 1107"/>
                <a:gd name="T69" fmla="*/ 7 h 897"/>
                <a:gd name="T70" fmla="*/ 872 w 1107"/>
                <a:gd name="T71" fmla="*/ 50 h 897"/>
                <a:gd name="T72" fmla="*/ 836 w 1107"/>
                <a:gd name="T73" fmla="*/ 74 h 897"/>
                <a:gd name="T74" fmla="*/ 778 w 1107"/>
                <a:gd name="T75" fmla="*/ 35 h 897"/>
                <a:gd name="T76" fmla="*/ 728 w 1107"/>
                <a:gd name="T77" fmla="*/ 70 h 897"/>
                <a:gd name="T78" fmla="*/ 744 w 1107"/>
                <a:gd name="T79" fmla="*/ 136 h 897"/>
                <a:gd name="T80" fmla="*/ 703 w 1107"/>
                <a:gd name="T81" fmla="*/ 164 h 897"/>
                <a:gd name="T82" fmla="*/ 640 w 1107"/>
                <a:gd name="T83" fmla="*/ 203 h 897"/>
                <a:gd name="T84" fmla="*/ 710 w 1107"/>
                <a:gd name="T85" fmla="*/ 255 h 897"/>
                <a:gd name="T86" fmla="*/ 712 w 1107"/>
                <a:gd name="T87" fmla="*/ 277 h 897"/>
                <a:gd name="T88" fmla="*/ 668 w 1107"/>
                <a:gd name="T89" fmla="*/ 347 h 897"/>
                <a:gd name="T90" fmla="*/ 745 w 1107"/>
                <a:gd name="T91" fmla="*/ 361 h 897"/>
                <a:gd name="T92" fmla="*/ 791 w 1107"/>
                <a:gd name="T93" fmla="*/ 377 h 897"/>
                <a:gd name="T94" fmla="*/ 799 w 1107"/>
                <a:gd name="T95" fmla="*/ 443 h 897"/>
                <a:gd name="T96" fmla="*/ 859 w 1107"/>
                <a:gd name="T97" fmla="*/ 456 h 897"/>
                <a:gd name="T98" fmla="*/ 894 w 1107"/>
                <a:gd name="T99" fmla="*/ 393 h 897"/>
                <a:gd name="T100" fmla="*/ 941 w 1107"/>
                <a:gd name="T101" fmla="*/ 401 h 897"/>
                <a:gd name="T102" fmla="*/ 1018 w 1107"/>
                <a:gd name="T103" fmla="*/ 415 h 897"/>
                <a:gd name="T104" fmla="*/ 825 w 1107"/>
                <a:gd name="T105" fmla="*/ 164 h 897"/>
                <a:gd name="T106" fmla="*/ 803 w 1107"/>
                <a:gd name="T107" fmla="*/ 27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7" h="897">
                  <a:moveTo>
                    <a:pt x="654" y="716"/>
                  </a:moveTo>
                  <a:cubicBezTo>
                    <a:pt x="616" y="670"/>
                    <a:pt x="616" y="670"/>
                    <a:pt x="616" y="670"/>
                  </a:cubicBezTo>
                  <a:cubicBezTo>
                    <a:pt x="593" y="654"/>
                    <a:pt x="603" y="638"/>
                    <a:pt x="600" y="625"/>
                  </a:cubicBezTo>
                  <a:cubicBezTo>
                    <a:pt x="600" y="625"/>
                    <a:pt x="600" y="625"/>
                    <a:pt x="600" y="625"/>
                  </a:cubicBezTo>
                  <a:cubicBezTo>
                    <a:pt x="605" y="617"/>
                    <a:pt x="611" y="609"/>
                    <a:pt x="608" y="596"/>
                  </a:cubicBezTo>
                  <a:cubicBezTo>
                    <a:pt x="618" y="580"/>
                    <a:pt x="623" y="572"/>
                    <a:pt x="649" y="567"/>
                  </a:cubicBezTo>
                  <a:cubicBezTo>
                    <a:pt x="715" y="553"/>
                    <a:pt x="715" y="553"/>
                    <a:pt x="715" y="553"/>
                  </a:cubicBezTo>
                  <a:cubicBezTo>
                    <a:pt x="728" y="550"/>
                    <a:pt x="733" y="542"/>
                    <a:pt x="730" y="529"/>
                  </a:cubicBezTo>
                  <a:cubicBezTo>
                    <a:pt x="727" y="482"/>
                    <a:pt x="727" y="482"/>
                    <a:pt x="727" y="482"/>
                  </a:cubicBezTo>
                  <a:cubicBezTo>
                    <a:pt x="724" y="469"/>
                    <a:pt x="717" y="463"/>
                    <a:pt x="701" y="453"/>
                  </a:cubicBezTo>
                  <a:cubicBezTo>
                    <a:pt x="641" y="459"/>
                    <a:pt x="641" y="459"/>
                    <a:pt x="641" y="459"/>
                  </a:cubicBezTo>
                  <a:cubicBezTo>
                    <a:pt x="620" y="457"/>
                    <a:pt x="604" y="447"/>
                    <a:pt x="601" y="434"/>
                  </a:cubicBezTo>
                  <a:cubicBezTo>
                    <a:pt x="598" y="421"/>
                    <a:pt x="590" y="416"/>
                    <a:pt x="580" y="397"/>
                  </a:cubicBezTo>
                  <a:cubicBezTo>
                    <a:pt x="577" y="384"/>
                    <a:pt x="574" y="371"/>
                    <a:pt x="584" y="355"/>
                  </a:cubicBezTo>
                  <a:cubicBezTo>
                    <a:pt x="628" y="305"/>
                    <a:pt x="628" y="305"/>
                    <a:pt x="628" y="305"/>
                  </a:cubicBezTo>
                  <a:cubicBezTo>
                    <a:pt x="634" y="297"/>
                    <a:pt x="631" y="284"/>
                    <a:pt x="623" y="279"/>
                  </a:cubicBezTo>
                  <a:cubicBezTo>
                    <a:pt x="581" y="240"/>
                    <a:pt x="581" y="240"/>
                    <a:pt x="581" y="240"/>
                  </a:cubicBezTo>
                  <a:cubicBezTo>
                    <a:pt x="573" y="235"/>
                    <a:pt x="560" y="238"/>
                    <a:pt x="547" y="240"/>
                  </a:cubicBezTo>
                  <a:cubicBezTo>
                    <a:pt x="503" y="291"/>
                    <a:pt x="503" y="291"/>
                    <a:pt x="503" y="291"/>
                  </a:cubicBezTo>
                  <a:cubicBezTo>
                    <a:pt x="484" y="302"/>
                    <a:pt x="471" y="304"/>
                    <a:pt x="463" y="299"/>
                  </a:cubicBezTo>
                  <a:cubicBezTo>
                    <a:pt x="456" y="294"/>
                    <a:pt x="435" y="292"/>
                    <a:pt x="427" y="287"/>
                  </a:cubicBezTo>
                  <a:cubicBezTo>
                    <a:pt x="419" y="282"/>
                    <a:pt x="403" y="271"/>
                    <a:pt x="400" y="258"/>
                  </a:cubicBezTo>
                  <a:cubicBezTo>
                    <a:pt x="386" y="193"/>
                    <a:pt x="386" y="193"/>
                    <a:pt x="386" y="193"/>
                  </a:cubicBezTo>
                  <a:cubicBezTo>
                    <a:pt x="384" y="180"/>
                    <a:pt x="368" y="170"/>
                    <a:pt x="368" y="170"/>
                  </a:cubicBezTo>
                  <a:cubicBezTo>
                    <a:pt x="308" y="176"/>
                    <a:pt x="308" y="176"/>
                    <a:pt x="308" y="176"/>
                  </a:cubicBezTo>
                  <a:cubicBezTo>
                    <a:pt x="308" y="176"/>
                    <a:pt x="289" y="187"/>
                    <a:pt x="292" y="200"/>
                  </a:cubicBezTo>
                  <a:cubicBezTo>
                    <a:pt x="285" y="263"/>
                    <a:pt x="285" y="263"/>
                    <a:pt x="285" y="263"/>
                  </a:cubicBezTo>
                  <a:cubicBezTo>
                    <a:pt x="291" y="289"/>
                    <a:pt x="277" y="292"/>
                    <a:pt x="272" y="300"/>
                  </a:cubicBezTo>
                  <a:cubicBezTo>
                    <a:pt x="272" y="300"/>
                    <a:pt x="272" y="300"/>
                    <a:pt x="267" y="308"/>
                  </a:cubicBezTo>
                  <a:cubicBezTo>
                    <a:pt x="259" y="302"/>
                    <a:pt x="246" y="305"/>
                    <a:pt x="241" y="313"/>
                  </a:cubicBezTo>
                  <a:cubicBezTo>
                    <a:pt x="236" y="321"/>
                    <a:pt x="236" y="321"/>
                    <a:pt x="236" y="321"/>
                  </a:cubicBezTo>
                  <a:cubicBezTo>
                    <a:pt x="223" y="324"/>
                    <a:pt x="210" y="327"/>
                    <a:pt x="194" y="317"/>
                  </a:cubicBezTo>
                  <a:cubicBezTo>
                    <a:pt x="139" y="281"/>
                    <a:pt x="139" y="281"/>
                    <a:pt x="139" y="281"/>
                  </a:cubicBezTo>
                  <a:cubicBezTo>
                    <a:pt x="131" y="276"/>
                    <a:pt x="110" y="273"/>
                    <a:pt x="104" y="281"/>
                  </a:cubicBezTo>
                  <a:cubicBezTo>
                    <a:pt x="79" y="321"/>
                    <a:pt x="79" y="321"/>
                    <a:pt x="79" y="321"/>
                  </a:cubicBezTo>
                  <a:cubicBezTo>
                    <a:pt x="66" y="324"/>
                    <a:pt x="68" y="337"/>
                    <a:pt x="79" y="355"/>
                  </a:cubicBezTo>
                  <a:cubicBezTo>
                    <a:pt x="121" y="394"/>
                    <a:pt x="121" y="394"/>
                    <a:pt x="121" y="394"/>
                  </a:cubicBezTo>
                  <a:cubicBezTo>
                    <a:pt x="140" y="417"/>
                    <a:pt x="135" y="425"/>
                    <a:pt x="132" y="446"/>
                  </a:cubicBezTo>
                  <a:cubicBezTo>
                    <a:pt x="132" y="446"/>
                    <a:pt x="132" y="446"/>
                    <a:pt x="132" y="446"/>
                  </a:cubicBezTo>
                  <a:cubicBezTo>
                    <a:pt x="127" y="454"/>
                    <a:pt x="122" y="462"/>
                    <a:pt x="117" y="470"/>
                  </a:cubicBezTo>
                  <a:cubicBezTo>
                    <a:pt x="117" y="470"/>
                    <a:pt x="117" y="470"/>
                    <a:pt x="117" y="470"/>
                  </a:cubicBezTo>
                  <a:cubicBezTo>
                    <a:pt x="120" y="483"/>
                    <a:pt x="109" y="499"/>
                    <a:pt x="83" y="505"/>
                  </a:cubicBezTo>
                  <a:cubicBezTo>
                    <a:pt x="23" y="511"/>
                    <a:pt x="23" y="511"/>
                    <a:pt x="23" y="511"/>
                  </a:cubicBezTo>
                  <a:cubicBezTo>
                    <a:pt x="10" y="514"/>
                    <a:pt x="0" y="529"/>
                    <a:pt x="2" y="543"/>
                  </a:cubicBezTo>
                  <a:cubicBezTo>
                    <a:pt x="5" y="590"/>
                    <a:pt x="5" y="590"/>
                    <a:pt x="5" y="590"/>
                  </a:cubicBezTo>
                  <a:cubicBezTo>
                    <a:pt x="8" y="603"/>
                    <a:pt x="16" y="608"/>
                    <a:pt x="37" y="610"/>
                  </a:cubicBezTo>
                  <a:cubicBezTo>
                    <a:pt x="92" y="612"/>
                    <a:pt x="92" y="612"/>
                    <a:pt x="92" y="612"/>
                  </a:cubicBezTo>
                  <a:cubicBezTo>
                    <a:pt x="113" y="614"/>
                    <a:pt x="129" y="625"/>
                    <a:pt x="132" y="638"/>
                  </a:cubicBezTo>
                  <a:cubicBezTo>
                    <a:pt x="132" y="638"/>
                    <a:pt x="132" y="638"/>
                    <a:pt x="132" y="638"/>
                  </a:cubicBezTo>
                  <a:cubicBezTo>
                    <a:pt x="140" y="643"/>
                    <a:pt x="142" y="656"/>
                    <a:pt x="150" y="661"/>
                  </a:cubicBezTo>
                  <a:cubicBezTo>
                    <a:pt x="145" y="669"/>
                    <a:pt x="145" y="669"/>
                    <a:pt x="145" y="669"/>
                  </a:cubicBezTo>
                  <a:cubicBezTo>
                    <a:pt x="153" y="674"/>
                    <a:pt x="156" y="687"/>
                    <a:pt x="140" y="711"/>
                  </a:cubicBezTo>
                  <a:cubicBezTo>
                    <a:pt x="109" y="759"/>
                    <a:pt x="109" y="759"/>
                    <a:pt x="109" y="759"/>
                  </a:cubicBezTo>
                  <a:cubicBezTo>
                    <a:pt x="99" y="775"/>
                    <a:pt x="102" y="788"/>
                    <a:pt x="110" y="793"/>
                  </a:cubicBezTo>
                  <a:cubicBezTo>
                    <a:pt x="152" y="832"/>
                    <a:pt x="152" y="832"/>
                    <a:pt x="152" y="832"/>
                  </a:cubicBezTo>
                  <a:cubicBezTo>
                    <a:pt x="160" y="837"/>
                    <a:pt x="173" y="834"/>
                    <a:pt x="178" y="826"/>
                  </a:cubicBezTo>
                  <a:cubicBezTo>
                    <a:pt x="230" y="781"/>
                    <a:pt x="230" y="781"/>
                    <a:pt x="230" y="781"/>
                  </a:cubicBezTo>
                  <a:cubicBezTo>
                    <a:pt x="248" y="770"/>
                    <a:pt x="261" y="767"/>
                    <a:pt x="269" y="772"/>
                  </a:cubicBezTo>
                  <a:cubicBezTo>
                    <a:pt x="269" y="772"/>
                    <a:pt x="269" y="772"/>
                    <a:pt x="269" y="772"/>
                  </a:cubicBezTo>
                  <a:cubicBezTo>
                    <a:pt x="282" y="769"/>
                    <a:pt x="298" y="779"/>
                    <a:pt x="306" y="785"/>
                  </a:cubicBezTo>
                  <a:cubicBezTo>
                    <a:pt x="306" y="785"/>
                    <a:pt x="306" y="785"/>
                    <a:pt x="306" y="785"/>
                  </a:cubicBezTo>
                  <a:cubicBezTo>
                    <a:pt x="319" y="782"/>
                    <a:pt x="327" y="787"/>
                    <a:pt x="332" y="813"/>
                  </a:cubicBezTo>
                  <a:cubicBezTo>
                    <a:pt x="346" y="878"/>
                    <a:pt x="346" y="878"/>
                    <a:pt x="346" y="878"/>
                  </a:cubicBezTo>
                  <a:cubicBezTo>
                    <a:pt x="349" y="892"/>
                    <a:pt x="357" y="897"/>
                    <a:pt x="370" y="894"/>
                  </a:cubicBezTo>
                  <a:cubicBezTo>
                    <a:pt x="425" y="896"/>
                    <a:pt x="425" y="896"/>
                    <a:pt x="425" y="896"/>
                  </a:cubicBezTo>
                  <a:cubicBezTo>
                    <a:pt x="430" y="888"/>
                    <a:pt x="443" y="885"/>
                    <a:pt x="440" y="872"/>
                  </a:cubicBezTo>
                  <a:cubicBezTo>
                    <a:pt x="440" y="804"/>
                    <a:pt x="440" y="804"/>
                    <a:pt x="440" y="804"/>
                  </a:cubicBezTo>
                  <a:cubicBezTo>
                    <a:pt x="442" y="783"/>
                    <a:pt x="460" y="772"/>
                    <a:pt x="466" y="764"/>
                  </a:cubicBezTo>
                  <a:cubicBezTo>
                    <a:pt x="466" y="764"/>
                    <a:pt x="466" y="764"/>
                    <a:pt x="466" y="764"/>
                  </a:cubicBezTo>
                  <a:cubicBezTo>
                    <a:pt x="479" y="761"/>
                    <a:pt x="492" y="758"/>
                    <a:pt x="497" y="750"/>
                  </a:cubicBezTo>
                  <a:cubicBezTo>
                    <a:pt x="497" y="750"/>
                    <a:pt x="497" y="750"/>
                    <a:pt x="497" y="750"/>
                  </a:cubicBezTo>
                  <a:cubicBezTo>
                    <a:pt x="510" y="747"/>
                    <a:pt x="523" y="745"/>
                    <a:pt x="539" y="755"/>
                  </a:cubicBezTo>
                  <a:cubicBezTo>
                    <a:pt x="594" y="791"/>
                    <a:pt x="594" y="791"/>
                    <a:pt x="594" y="791"/>
                  </a:cubicBezTo>
                  <a:cubicBezTo>
                    <a:pt x="602" y="796"/>
                    <a:pt x="623" y="798"/>
                    <a:pt x="628" y="790"/>
                  </a:cubicBezTo>
                  <a:cubicBezTo>
                    <a:pt x="659" y="743"/>
                    <a:pt x="659" y="743"/>
                    <a:pt x="659" y="743"/>
                  </a:cubicBezTo>
                  <a:cubicBezTo>
                    <a:pt x="659" y="743"/>
                    <a:pt x="669" y="727"/>
                    <a:pt x="654" y="716"/>
                  </a:cubicBezTo>
                  <a:close/>
                  <a:moveTo>
                    <a:pt x="281" y="633"/>
                  </a:moveTo>
                  <a:cubicBezTo>
                    <a:pt x="223" y="584"/>
                    <a:pt x="219" y="502"/>
                    <a:pt x="263" y="452"/>
                  </a:cubicBezTo>
                  <a:cubicBezTo>
                    <a:pt x="313" y="393"/>
                    <a:pt x="399" y="382"/>
                    <a:pt x="457" y="431"/>
                  </a:cubicBezTo>
                  <a:cubicBezTo>
                    <a:pt x="507" y="475"/>
                    <a:pt x="518" y="561"/>
                    <a:pt x="469" y="619"/>
                  </a:cubicBezTo>
                  <a:cubicBezTo>
                    <a:pt x="420" y="678"/>
                    <a:pt x="339" y="682"/>
                    <a:pt x="281" y="633"/>
                  </a:cubicBezTo>
                  <a:close/>
                  <a:moveTo>
                    <a:pt x="1019" y="398"/>
                  </a:moveTo>
                  <a:cubicBezTo>
                    <a:pt x="1004" y="362"/>
                    <a:pt x="1004" y="362"/>
                    <a:pt x="1004" y="362"/>
                  </a:cubicBezTo>
                  <a:cubicBezTo>
                    <a:pt x="992" y="348"/>
                    <a:pt x="1002" y="340"/>
                    <a:pt x="1002" y="332"/>
                  </a:cubicBezTo>
                  <a:cubicBezTo>
                    <a:pt x="1002" y="332"/>
                    <a:pt x="1002" y="332"/>
                    <a:pt x="1002" y="332"/>
                  </a:cubicBezTo>
                  <a:cubicBezTo>
                    <a:pt x="1007" y="328"/>
                    <a:pt x="1011" y="324"/>
                    <a:pt x="1012" y="315"/>
                  </a:cubicBezTo>
                  <a:cubicBezTo>
                    <a:pt x="1021" y="307"/>
                    <a:pt x="1026" y="303"/>
                    <a:pt x="1043" y="304"/>
                  </a:cubicBezTo>
                  <a:cubicBezTo>
                    <a:pt x="1086" y="307"/>
                    <a:pt x="1086" y="307"/>
                    <a:pt x="1086" y="307"/>
                  </a:cubicBezTo>
                  <a:cubicBezTo>
                    <a:pt x="1095" y="308"/>
                    <a:pt x="1099" y="304"/>
                    <a:pt x="1100" y="295"/>
                  </a:cubicBezTo>
                  <a:cubicBezTo>
                    <a:pt x="1107" y="266"/>
                    <a:pt x="1107" y="266"/>
                    <a:pt x="1107" y="266"/>
                  </a:cubicBezTo>
                  <a:cubicBezTo>
                    <a:pt x="1107" y="257"/>
                    <a:pt x="1103" y="252"/>
                    <a:pt x="1095" y="243"/>
                  </a:cubicBezTo>
                  <a:cubicBezTo>
                    <a:pt x="1057" y="236"/>
                    <a:pt x="1057" y="236"/>
                    <a:pt x="1057" y="236"/>
                  </a:cubicBezTo>
                  <a:cubicBezTo>
                    <a:pt x="1044" y="231"/>
                    <a:pt x="1036" y="222"/>
                    <a:pt x="1037" y="213"/>
                  </a:cubicBezTo>
                  <a:cubicBezTo>
                    <a:pt x="1038" y="205"/>
                    <a:pt x="1034" y="200"/>
                    <a:pt x="1030" y="187"/>
                  </a:cubicBezTo>
                  <a:cubicBezTo>
                    <a:pt x="1031" y="178"/>
                    <a:pt x="1032" y="170"/>
                    <a:pt x="1041" y="162"/>
                  </a:cubicBezTo>
                  <a:cubicBezTo>
                    <a:pt x="1077" y="138"/>
                    <a:pt x="1077" y="138"/>
                    <a:pt x="1077" y="138"/>
                  </a:cubicBezTo>
                  <a:cubicBezTo>
                    <a:pt x="1082" y="134"/>
                    <a:pt x="1083" y="126"/>
                    <a:pt x="1079" y="121"/>
                  </a:cubicBezTo>
                  <a:cubicBezTo>
                    <a:pt x="1059" y="89"/>
                    <a:pt x="1059" y="89"/>
                    <a:pt x="1059" y="89"/>
                  </a:cubicBezTo>
                  <a:cubicBezTo>
                    <a:pt x="1055" y="85"/>
                    <a:pt x="1047" y="84"/>
                    <a:pt x="1038" y="83"/>
                  </a:cubicBezTo>
                  <a:cubicBezTo>
                    <a:pt x="1002" y="107"/>
                    <a:pt x="1002" y="107"/>
                    <a:pt x="1002" y="107"/>
                  </a:cubicBezTo>
                  <a:cubicBezTo>
                    <a:pt x="989" y="110"/>
                    <a:pt x="980" y="110"/>
                    <a:pt x="976" y="105"/>
                  </a:cubicBezTo>
                  <a:cubicBezTo>
                    <a:pt x="972" y="100"/>
                    <a:pt x="960" y="95"/>
                    <a:pt x="956" y="91"/>
                  </a:cubicBezTo>
                  <a:cubicBezTo>
                    <a:pt x="952" y="86"/>
                    <a:pt x="944" y="77"/>
                    <a:pt x="944" y="68"/>
                  </a:cubicBezTo>
                  <a:cubicBezTo>
                    <a:pt x="948" y="25"/>
                    <a:pt x="948" y="25"/>
                    <a:pt x="948" y="25"/>
                  </a:cubicBezTo>
                  <a:cubicBezTo>
                    <a:pt x="948" y="17"/>
                    <a:pt x="940" y="7"/>
                    <a:pt x="940" y="7"/>
                  </a:cubicBezTo>
                  <a:cubicBezTo>
                    <a:pt x="902" y="0"/>
                    <a:pt x="902" y="0"/>
                    <a:pt x="902" y="0"/>
                  </a:cubicBezTo>
                  <a:cubicBezTo>
                    <a:pt x="902" y="0"/>
                    <a:pt x="889" y="4"/>
                    <a:pt x="888" y="12"/>
                  </a:cubicBezTo>
                  <a:cubicBezTo>
                    <a:pt x="872" y="50"/>
                    <a:pt x="872" y="50"/>
                    <a:pt x="872" y="50"/>
                  </a:cubicBezTo>
                  <a:cubicBezTo>
                    <a:pt x="871" y="67"/>
                    <a:pt x="862" y="67"/>
                    <a:pt x="858" y="71"/>
                  </a:cubicBezTo>
                  <a:cubicBezTo>
                    <a:pt x="858" y="71"/>
                    <a:pt x="858" y="71"/>
                    <a:pt x="853" y="75"/>
                  </a:cubicBezTo>
                  <a:cubicBezTo>
                    <a:pt x="849" y="70"/>
                    <a:pt x="840" y="70"/>
                    <a:pt x="836" y="74"/>
                  </a:cubicBezTo>
                  <a:cubicBezTo>
                    <a:pt x="831" y="78"/>
                    <a:pt x="831" y="78"/>
                    <a:pt x="831" y="78"/>
                  </a:cubicBezTo>
                  <a:cubicBezTo>
                    <a:pt x="822" y="77"/>
                    <a:pt x="814" y="76"/>
                    <a:pt x="806" y="67"/>
                  </a:cubicBezTo>
                  <a:cubicBezTo>
                    <a:pt x="778" y="35"/>
                    <a:pt x="778" y="35"/>
                    <a:pt x="778" y="35"/>
                  </a:cubicBezTo>
                  <a:cubicBezTo>
                    <a:pt x="774" y="30"/>
                    <a:pt x="762" y="25"/>
                    <a:pt x="757" y="29"/>
                  </a:cubicBezTo>
                  <a:cubicBezTo>
                    <a:pt x="734" y="49"/>
                    <a:pt x="734" y="49"/>
                    <a:pt x="734" y="49"/>
                  </a:cubicBezTo>
                  <a:cubicBezTo>
                    <a:pt x="725" y="49"/>
                    <a:pt x="725" y="57"/>
                    <a:pt x="728" y="70"/>
                  </a:cubicBezTo>
                  <a:cubicBezTo>
                    <a:pt x="747" y="102"/>
                    <a:pt x="747" y="102"/>
                    <a:pt x="747" y="102"/>
                  </a:cubicBezTo>
                  <a:cubicBezTo>
                    <a:pt x="754" y="120"/>
                    <a:pt x="750" y="124"/>
                    <a:pt x="744" y="136"/>
                  </a:cubicBezTo>
                  <a:cubicBezTo>
                    <a:pt x="744" y="136"/>
                    <a:pt x="744" y="136"/>
                    <a:pt x="744" y="136"/>
                  </a:cubicBezTo>
                  <a:cubicBezTo>
                    <a:pt x="740" y="140"/>
                    <a:pt x="735" y="144"/>
                    <a:pt x="731" y="148"/>
                  </a:cubicBezTo>
                  <a:cubicBezTo>
                    <a:pt x="731" y="148"/>
                    <a:pt x="731" y="148"/>
                    <a:pt x="731" y="148"/>
                  </a:cubicBezTo>
                  <a:cubicBezTo>
                    <a:pt x="730" y="157"/>
                    <a:pt x="721" y="165"/>
                    <a:pt x="703" y="164"/>
                  </a:cubicBezTo>
                  <a:cubicBezTo>
                    <a:pt x="665" y="157"/>
                    <a:pt x="665" y="157"/>
                    <a:pt x="665" y="157"/>
                  </a:cubicBezTo>
                  <a:cubicBezTo>
                    <a:pt x="656" y="156"/>
                    <a:pt x="647" y="164"/>
                    <a:pt x="647" y="173"/>
                  </a:cubicBezTo>
                  <a:cubicBezTo>
                    <a:pt x="640" y="203"/>
                    <a:pt x="640" y="203"/>
                    <a:pt x="640" y="203"/>
                  </a:cubicBezTo>
                  <a:cubicBezTo>
                    <a:pt x="639" y="211"/>
                    <a:pt x="643" y="216"/>
                    <a:pt x="656" y="221"/>
                  </a:cubicBezTo>
                  <a:cubicBezTo>
                    <a:pt x="690" y="232"/>
                    <a:pt x="690" y="232"/>
                    <a:pt x="690" y="232"/>
                  </a:cubicBezTo>
                  <a:cubicBezTo>
                    <a:pt x="702" y="237"/>
                    <a:pt x="710" y="246"/>
                    <a:pt x="710" y="255"/>
                  </a:cubicBezTo>
                  <a:cubicBezTo>
                    <a:pt x="710" y="255"/>
                    <a:pt x="710" y="255"/>
                    <a:pt x="710" y="255"/>
                  </a:cubicBezTo>
                  <a:cubicBezTo>
                    <a:pt x="714" y="260"/>
                    <a:pt x="713" y="268"/>
                    <a:pt x="717" y="273"/>
                  </a:cubicBezTo>
                  <a:cubicBezTo>
                    <a:pt x="712" y="277"/>
                    <a:pt x="712" y="277"/>
                    <a:pt x="712" y="277"/>
                  </a:cubicBezTo>
                  <a:cubicBezTo>
                    <a:pt x="716" y="281"/>
                    <a:pt x="716" y="290"/>
                    <a:pt x="702" y="302"/>
                  </a:cubicBezTo>
                  <a:cubicBezTo>
                    <a:pt x="674" y="326"/>
                    <a:pt x="674" y="326"/>
                    <a:pt x="674" y="326"/>
                  </a:cubicBezTo>
                  <a:cubicBezTo>
                    <a:pt x="665" y="334"/>
                    <a:pt x="664" y="343"/>
                    <a:pt x="668" y="347"/>
                  </a:cubicBezTo>
                  <a:cubicBezTo>
                    <a:pt x="687" y="379"/>
                    <a:pt x="687" y="379"/>
                    <a:pt x="687" y="379"/>
                  </a:cubicBezTo>
                  <a:cubicBezTo>
                    <a:pt x="691" y="383"/>
                    <a:pt x="700" y="384"/>
                    <a:pt x="704" y="380"/>
                  </a:cubicBezTo>
                  <a:cubicBezTo>
                    <a:pt x="745" y="361"/>
                    <a:pt x="745" y="361"/>
                    <a:pt x="745" y="361"/>
                  </a:cubicBezTo>
                  <a:cubicBezTo>
                    <a:pt x="758" y="358"/>
                    <a:pt x="767" y="358"/>
                    <a:pt x="771" y="363"/>
                  </a:cubicBezTo>
                  <a:cubicBezTo>
                    <a:pt x="771" y="363"/>
                    <a:pt x="771" y="363"/>
                    <a:pt x="771" y="363"/>
                  </a:cubicBezTo>
                  <a:cubicBezTo>
                    <a:pt x="779" y="364"/>
                    <a:pt x="787" y="373"/>
                    <a:pt x="791" y="377"/>
                  </a:cubicBezTo>
                  <a:cubicBezTo>
                    <a:pt x="791" y="377"/>
                    <a:pt x="791" y="377"/>
                    <a:pt x="791" y="377"/>
                  </a:cubicBezTo>
                  <a:cubicBezTo>
                    <a:pt x="800" y="378"/>
                    <a:pt x="804" y="383"/>
                    <a:pt x="802" y="400"/>
                  </a:cubicBezTo>
                  <a:cubicBezTo>
                    <a:pt x="799" y="443"/>
                    <a:pt x="799" y="443"/>
                    <a:pt x="799" y="443"/>
                  </a:cubicBezTo>
                  <a:cubicBezTo>
                    <a:pt x="798" y="451"/>
                    <a:pt x="802" y="456"/>
                    <a:pt x="811" y="457"/>
                  </a:cubicBezTo>
                  <a:cubicBezTo>
                    <a:pt x="845" y="468"/>
                    <a:pt x="845" y="468"/>
                    <a:pt x="845" y="468"/>
                  </a:cubicBezTo>
                  <a:cubicBezTo>
                    <a:pt x="849" y="464"/>
                    <a:pt x="858" y="464"/>
                    <a:pt x="859" y="456"/>
                  </a:cubicBezTo>
                  <a:cubicBezTo>
                    <a:pt x="871" y="413"/>
                    <a:pt x="871" y="413"/>
                    <a:pt x="871" y="413"/>
                  </a:cubicBezTo>
                  <a:cubicBezTo>
                    <a:pt x="876" y="401"/>
                    <a:pt x="889" y="397"/>
                    <a:pt x="894" y="393"/>
                  </a:cubicBezTo>
                  <a:cubicBezTo>
                    <a:pt x="894" y="393"/>
                    <a:pt x="894" y="393"/>
                    <a:pt x="894" y="393"/>
                  </a:cubicBezTo>
                  <a:cubicBezTo>
                    <a:pt x="902" y="394"/>
                    <a:pt x="911" y="395"/>
                    <a:pt x="916" y="391"/>
                  </a:cubicBezTo>
                  <a:cubicBezTo>
                    <a:pt x="916" y="391"/>
                    <a:pt x="916" y="391"/>
                    <a:pt x="916" y="391"/>
                  </a:cubicBezTo>
                  <a:cubicBezTo>
                    <a:pt x="924" y="391"/>
                    <a:pt x="933" y="392"/>
                    <a:pt x="941" y="401"/>
                  </a:cubicBezTo>
                  <a:cubicBezTo>
                    <a:pt x="969" y="433"/>
                    <a:pt x="969" y="433"/>
                    <a:pt x="969" y="433"/>
                  </a:cubicBezTo>
                  <a:cubicBezTo>
                    <a:pt x="973" y="438"/>
                    <a:pt x="985" y="443"/>
                    <a:pt x="990" y="439"/>
                  </a:cubicBezTo>
                  <a:cubicBezTo>
                    <a:pt x="1018" y="415"/>
                    <a:pt x="1018" y="415"/>
                    <a:pt x="1018" y="415"/>
                  </a:cubicBezTo>
                  <a:cubicBezTo>
                    <a:pt x="1018" y="415"/>
                    <a:pt x="1027" y="407"/>
                    <a:pt x="1019" y="398"/>
                  </a:cubicBezTo>
                  <a:close/>
                  <a:moveTo>
                    <a:pt x="803" y="279"/>
                  </a:moveTo>
                  <a:cubicBezTo>
                    <a:pt x="776" y="238"/>
                    <a:pt x="788" y="187"/>
                    <a:pt x="825" y="164"/>
                  </a:cubicBezTo>
                  <a:cubicBezTo>
                    <a:pt x="866" y="136"/>
                    <a:pt x="921" y="144"/>
                    <a:pt x="948" y="185"/>
                  </a:cubicBezTo>
                  <a:cubicBezTo>
                    <a:pt x="972" y="221"/>
                    <a:pt x="963" y="277"/>
                    <a:pt x="922" y="304"/>
                  </a:cubicBezTo>
                  <a:cubicBezTo>
                    <a:pt x="881" y="332"/>
                    <a:pt x="830" y="320"/>
                    <a:pt x="803" y="279"/>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914228">
                <a:defRPr/>
              </a:pPr>
              <a:endParaRPr lang="en-US">
                <a:solidFill>
                  <a:srgbClr val="505050"/>
                </a:solidFill>
                <a:latin typeface="Segoe UI Semilight"/>
              </a:endParaRPr>
            </a:p>
          </p:txBody>
        </p:sp>
        <p:sp>
          <p:nvSpPr>
            <p:cNvPr id="7" name="Rectangle 6"/>
            <p:cNvSpPr/>
            <p:nvPr/>
          </p:nvSpPr>
          <p:spPr>
            <a:xfrm>
              <a:off x="2879147" y="3157334"/>
              <a:ext cx="2103121" cy="735497"/>
            </a:xfrm>
            <a:prstGeom prst="rect">
              <a:avLst/>
            </a:prstGeom>
            <a:solidFill>
              <a:srgbClr val="0070C0"/>
            </a:solidFill>
          </p:spPr>
          <p:txBody>
            <a:bodyPr wrap="square" tIns="89642" bIns="89642" anchor="ctr">
              <a:noAutofit/>
            </a:bodyPr>
            <a:lstStyle/>
            <a:p>
              <a:pPr algn="ctr" defTabSz="914228">
                <a:defRPr/>
              </a:pPr>
              <a:r>
                <a:rPr lang="en-US" sz="1372">
                  <a:solidFill>
                    <a:srgbClr val="FFFFFF"/>
                  </a:solidFill>
                  <a:latin typeface="Segoe UI Semilight"/>
                  <a:cs typeface="Segoe UI Semibold" panose="020B0702040204020203" pitchFamily="34" charset="0"/>
                </a:rPr>
                <a:t>Cross platform and fully extensible at scale</a:t>
              </a:r>
            </a:p>
          </p:txBody>
        </p:sp>
      </p:grpSp>
      <p:grpSp>
        <p:nvGrpSpPr>
          <p:cNvPr id="20" name="Group 19"/>
          <p:cNvGrpSpPr/>
          <p:nvPr/>
        </p:nvGrpSpPr>
        <p:grpSpPr>
          <a:xfrm>
            <a:off x="7311036" y="1497468"/>
            <a:ext cx="2061777" cy="2319325"/>
            <a:chOff x="7457637" y="1526999"/>
            <a:chExt cx="2103120" cy="2365832"/>
          </a:xfrm>
        </p:grpSpPr>
        <p:sp>
          <p:nvSpPr>
            <p:cNvPr id="200" name="Rectangle 199"/>
            <p:cNvSpPr/>
            <p:nvPr/>
          </p:nvSpPr>
          <p:spPr>
            <a:xfrm>
              <a:off x="7457637" y="1526999"/>
              <a:ext cx="2103120" cy="2365832"/>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179285" rIns="182854" bIns="91427" rtlCol="0" anchor="t"/>
            <a:lstStyle/>
            <a:p>
              <a:pPr algn="ctr" defTabSz="913924" fontAlgn="base">
                <a:spcBef>
                  <a:spcPct val="0"/>
                </a:spcBef>
                <a:spcAft>
                  <a:spcPct val="0"/>
                </a:spcAft>
                <a:defRPr/>
              </a:pPr>
              <a:r>
                <a:rPr lang="en-US" dirty="0">
                  <a:solidFill>
                    <a:srgbClr val="0070C0"/>
                  </a:solidFill>
                  <a:latin typeface="Segoe UI Light"/>
                  <a:ea typeface="Segoe UI" pitchFamily="34" charset="0"/>
                  <a:cs typeface="Segoe UI" pitchFamily="34" charset="0"/>
                </a:rPr>
                <a:t>Azure </a:t>
              </a:r>
              <a:r>
                <a:rPr lang="en-US" dirty="0" err="1">
                  <a:solidFill>
                    <a:srgbClr val="0070C0"/>
                  </a:solidFill>
                  <a:latin typeface="Segoe UI Light"/>
                  <a:ea typeface="Segoe UI" pitchFamily="34" charset="0"/>
                  <a:cs typeface="Segoe UI" pitchFamily="34" charset="0"/>
                </a:rPr>
                <a:t>IoT</a:t>
              </a:r>
              <a:r>
                <a:rPr lang="en-US" dirty="0">
                  <a:solidFill>
                    <a:srgbClr val="0070C0"/>
                  </a:solidFill>
                  <a:latin typeface="Segoe UI Light"/>
                  <a:ea typeface="Segoe UI" pitchFamily="34" charset="0"/>
                  <a:cs typeface="Segoe UI" pitchFamily="34" charset="0"/>
                </a:rPr>
                <a:t/>
              </a:r>
              <a:br>
                <a:rPr lang="en-US" dirty="0">
                  <a:solidFill>
                    <a:srgbClr val="0070C0"/>
                  </a:solidFill>
                  <a:latin typeface="Segoe UI Light"/>
                  <a:ea typeface="Segoe UI" pitchFamily="34" charset="0"/>
                  <a:cs typeface="Segoe UI" pitchFamily="34" charset="0"/>
                </a:rPr>
              </a:br>
              <a:r>
                <a:rPr lang="en-US" dirty="0">
                  <a:solidFill>
                    <a:srgbClr val="0070C0"/>
                  </a:solidFill>
                  <a:latin typeface="Segoe UI Light"/>
                  <a:ea typeface="Segoe UI" pitchFamily="34" charset="0"/>
                  <a:cs typeface="Segoe UI" pitchFamily="34" charset="0"/>
                </a:rPr>
                <a:t>Edge</a:t>
              </a:r>
            </a:p>
          </p:txBody>
        </p:sp>
        <p:grpSp>
          <p:nvGrpSpPr>
            <p:cNvPr id="35" name="Group 34"/>
            <p:cNvGrpSpPr>
              <a:grpSpLocks noChangeAspect="1"/>
            </p:cNvGrpSpPr>
            <p:nvPr/>
          </p:nvGrpSpPr>
          <p:grpSpPr>
            <a:xfrm>
              <a:off x="8233777" y="2435595"/>
              <a:ext cx="550840" cy="548640"/>
              <a:chOff x="-7378143" y="58666"/>
              <a:chExt cx="6534212" cy="6508134"/>
            </a:xfrm>
          </p:grpSpPr>
          <p:sp>
            <p:nvSpPr>
              <p:cNvPr id="36" name="Freeform 175"/>
              <p:cNvSpPr/>
              <p:nvPr/>
            </p:nvSpPr>
            <p:spPr>
              <a:xfrm rot="1800000">
                <a:off x="-7378143" y="58666"/>
                <a:ext cx="6534212" cy="6508134"/>
              </a:xfrm>
              <a:custGeom>
                <a:avLst/>
                <a:gdLst>
                  <a:gd name="connsiteX0" fmla="*/ 1204549 w 6534212"/>
                  <a:gd name="connsiteY0" fmla="*/ 1045491 h 6508134"/>
                  <a:gd name="connsiteX1" fmla="*/ 1475161 w 6534212"/>
                  <a:gd name="connsiteY1" fmla="*/ 962831 h 6508134"/>
                  <a:gd name="connsiteX2" fmla="*/ 2238177 w 6534212"/>
                  <a:gd name="connsiteY2" fmla="*/ 962831 h 6508134"/>
                  <a:gd name="connsiteX3" fmla="*/ 3793396 w 6534212"/>
                  <a:gd name="connsiteY3" fmla="*/ 64925 h 6508134"/>
                  <a:gd name="connsiteX4" fmla="*/ 4454559 w 6534212"/>
                  <a:gd name="connsiteY4" fmla="*/ 242083 h 6508134"/>
                  <a:gd name="connsiteX5" fmla="*/ 4870683 w 6534212"/>
                  <a:gd name="connsiteY5" fmla="*/ 962831 h 6508134"/>
                  <a:gd name="connsiteX6" fmla="*/ 5575864 w 6534212"/>
                  <a:gd name="connsiteY6" fmla="*/ 962831 h 6508134"/>
                  <a:gd name="connsiteX7" fmla="*/ 6059869 w 6534212"/>
                  <a:gd name="connsiteY7" fmla="*/ 1446836 h 6508134"/>
                  <a:gd name="connsiteX8" fmla="*/ 6059869 w 6534212"/>
                  <a:gd name="connsiteY8" fmla="*/ 3022561 h 6508134"/>
                  <a:gd name="connsiteX9" fmla="*/ 6469287 w 6534212"/>
                  <a:gd name="connsiteY9" fmla="*/ 3731694 h 6508134"/>
                  <a:gd name="connsiteX10" fmla="*/ 6292129 w 6534212"/>
                  <a:gd name="connsiteY10" fmla="*/ 4392857 h 6508134"/>
                  <a:gd name="connsiteX11" fmla="*/ 6059869 w 6534212"/>
                  <a:gd name="connsiteY11" fmla="*/ 4526953 h 6508134"/>
                  <a:gd name="connsiteX12" fmla="*/ 6059869 w 6534212"/>
                  <a:gd name="connsiteY12" fmla="*/ 5476292 h 6508134"/>
                  <a:gd name="connsiteX13" fmla="*/ 5575864 w 6534212"/>
                  <a:gd name="connsiteY13" fmla="*/ 5960297 h 6508134"/>
                  <a:gd name="connsiteX14" fmla="*/ 3577244 w 6534212"/>
                  <a:gd name="connsiteY14" fmla="*/ 5960297 h 6508134"/>
                  <a:gd name="connsiteX15" fmla="*/ 2740816 w 6534212"/>
                  <a:gd name="connsiteY15" fmla="*/ 6443209 h 6508134"/>
                  <a:gd name="connsiteX16" fmla="*/ 2079653 w 6534212"/>
                  <a:gd name="connsiteY16" fmla="*/ 6266051 h 6508134"/>
                  <a:gd name="connsiteX17" fmla="*/ 1903126 w 6534212"/>
                  <a:gd name="connsiteY17" fmla="*/ 5960297 h 6508134"/>
                  <a:gd name="connsiteX18" fmla="*/ 1475161 w 6534212"/>
                  <a:gd name="connsiteY18" fmla="*/ 5960297 h 6508134"/>
                  <a:gd name="connsiteX19" fmla="*/ 991156 w 6534212"/>
                  <a:gd name="connsiteY19" fmla="*/ 5476292 h 6508134"/>
                  <a:gd name="connsiteX20" fmla="*/ 991156 w 6534212"/>
                  <a:gd name="connsiteY20" fmla="*/ 4380719 h 6508134"/>
                  <a:gd name="connsiteX21" fmla="*/ 64925 w 6534212"/>
                  <a:gd name="connsiteY21" fmla="*/ 2776440 h 6508134"/>
                  <a:gd name="connsiteX22" fmla="*/ 242083 w 6534212"/>
                  <a:gd name="connsiteY22" fmla="*/ 2115276 h 6508134"/>
                  <a:gd name="connsiteX23" fmla="*/ 991156 w 6534212"/>
                  <a:gd name="connsiteY23" fmla="*/ 1682799 h 6508134"/>
                  <a:gd name="connsiteX24" fmla="*/ 991156 w 6534212"/>
                  <a:gd name="connsiteY24" fmla="*/ 1446836 h 6508134"/>
                  <a:gd name="connsiteX25" fmla="*/ 1204549 w 6534212"/>
                  <a:gd name="connsiteY25" fmla="*/ 1045491 h 650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34212" h="6508134">
                    <a:moveTo>
                      <a:pt x="1204549" y="1045491"/>
                    </a:moveTo>
                    <a:cubicBezTo>
                      <a:pt x="1281797" y="993304"/>
                      <a:pt x="1374920" y="962831"/>
                      <a:pt x="1475161" y="962831"/>
                    </a:cubicBezTo>
                    <a:lnTo>
                      <a:pt x="2238177" y="962831"/>
                    </a:lnTo>
                    <a:lnTo>
                      <a:pt x="3793396" y="64925"/>
                    </a:lnTo>
                    <a:cubicBezTo>
                      <a:pt x="4024892" y="-68730"/>
                      <a:pt x="4320905" y="10587"/>
                      <a:pt x="4454559" y="242083"/>
                    </a:cubicBezTo>
                    <a:lnTo>
                      <a:pt x="4870683" y="962831"/>
                    </a:lnTo>
                    <a:lnTo>
                      <a:pt x="5575864" y="962831"/>
                    </a:lnTo>
                    <a:cubicBezTo>
                      <a:pt x="5843173" y="962831"/>
                      <a:pt x="6059869" y="1179527"/>
                      <a:pt x="6059869" y="1446836"/>
                    </a:cubicBezTo>
                    <a:lnTo>
                      <a:pt x="6059869" y="3022561"/>
                    </a:lnTo>
                    <a:lnTo>
                      <a:pt x="6469287" y="3731694"/>
                    </a:lnTo>
                    <a:cubicBezTo>
                      <a:pt x="6602942" y="3963191"/>
                      <a:pt x="6523625" y="4259203"/>
                      <a:pt x="6292129" y="4392857"/>
                    </a:cubicBezTo>
                    <a:lnTo>
                      <a:pt x="6059869" y="4526953"/>
                    </a:lnTo>
                    <a:lnTo>
                      <a:pt x="6059869" y="5476292"/>
                    </a:lnTo>
                    <a:cubicBezTo>
                      <a:pt x="6059869" y="5743601"/>
                      <a:pt x="5843173" y="5960297"/>
                      <a:pt x="5575864" y="5960297"/>
                    </a:cubicBezTo>
                    <a:lnTo>
                      <a:pt x="3577244" y="5960297"/>
                    </a:lnTo>
                    <a:lnTo>
                      <a:pt x="2740816" y="6443209"/>
                    </a:lnTo>
                    <a:cubicBezTo>
                      <a:pt x="2509320" y="6576863"/>
                      <a:pt x="2213307" y="6497547"/>
                      <a:pt x="2079653" y="6266051"/>
                    </a:cubicBezTo>
                    <a:lnTo>
                      <a:pt x="1903126" y="5960297"/>
                    </a:lnTo>
                    <a:lnTo>
                      <a:pt x="1475161" y="5960297"/>
                    </a:lnTo>
                    <a:cubicBezTo>
                      <a:pt x="1207852" y="5960297"/>
                      <a:pt x="991156" y="5743601"/>
                      <a:pt x="991156" y="5476292"/>
                    </a:cubicBezTo>
                    <a:lnTo>
                      <a:pt x="991156" y="4380719"/>
                    </a:lnTo>
                    <a:lnTo>
                      <a:pt x="64925" y="2776440"/>
                    </a:lnTo>
                    <a:cubicBezTo>
                      <a:pt x="-68730" y="2544943"/>
                      <a:pt x="10587" y="2248931"/>
                      <a:pt x="242083" y="2115276"/>
                    </a:cubicBezTo>
                    <a:lnTo>
                      <a:pt x="991156" y="1682799"/>
                    </a:lnTo>
                    <a:lnTo>
                      <a:pt x="991156" y="1446836"/>
                    </a:lnTo>
                    <a:cubicBezTo>
                      <a:pt x="991156" y="1279768"/>
                      <a:pt x="1075803" y="1132471"/>
                      <a:pt x="1204549" y="1045491"/>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7" name="Rounded Rectangle 176"/>
              <p:cNvSpPr/>
              <p:nvPr/>
            </p:nvSpPr>
            <p:spPr>
              <a:xfrm>
                <a:off x="-6313045" y="1093450"/>
                <a:ext cx="4587344" cy="4438532"/>
              </a:xfrm>
              <a:prstGeom prst="roundRect">
                <a:avLst>
                  <a:gd name="adj" fmla="val 528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4228">
                  <a:defRPr/>
                </a:pPr>
                <a:endParaRPr lang="en-US" sz="1176" err="1">
                  <a:solidFill>
                    <a:srgbClr val="FFFFFF"/>
                  </a:solidFill>
                  <a:latin typeface="Segoe UI Semilight"/>
                </a:endParaRPr>
              </a:p>
            </p:txBody>
          </p:sp>
          <p:sp>
            <p:nvSpPr>
              <p:cNvPr id="38" name="Freeform 864"/>
              <p:cNvSpPr>
                <a:spLocks noChangeAspect="1"/>
              </p:cNvSpPr>
              <p:nvPr/>
            </p:nvSpPr>
            <p:spPr bwMode="auto">
              <a:xfrm>
                <a:off x="-4946118" y="1626761"/>
                <a:ext cx="1670165" cy="3371944"/>
              </a:xfrm>
              <a:custGeom>
                <a:avLst/>
                <a:gdLst>
                  <a:gd name="T0" fmla="*/ 230 w 317"/>
                  <a:gd name="T1" fmla="*/ 0 h 640"/>
                  <a:gd name="T2" fmla="*/ 173 w 317"/>
                  <a:gd name="T3" fmla="*/ 256 h 640"/>
                  <a:gd name="T4" fmla="*/ 317 w 317"/>
                  <a:gd name="T5" fmla="*/ 256 h 640"/>
                  <a:gd name="T6" fmla="*/ 82 w 317"/>
                  <a:gd name="T7" fmla="*/ 640 h 640"/>
                  <a:gd name="T8" fmla="*/ 146 w 317"/>
                  <a:gd name="T9" fmla="*/ 344 h 640"/>
                  <a:gd name="T10" fmla="*/ 0 w 317"/>
                  <a:gd name="T11" fmla="*/ 342 h 640"/>
                  <a:gd name="T12" fmla="*/ 230 w 317"/>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317" h="640">
                    <a:moveTo>
                      <a:pt x="230" y="0"/>
                    </a:moveTo>
                    <a:lnTo>
                      <a:pt x="173" y="256"/>
                    </a:lnTo>
                    <a:lnTo>
                      <a:pt x="317" y="256"/>
                    </a:lnTo>
                    <a:lnTo>
                      <a:pt x="82" y="640"/>
                    </a:lnTo>
                    <a:lnTo>
                      <a:pt x="146" y="344"/>
                    </a:lnTo>
                    <a:lnTo>
                      <a:pt x="0" y="342"/>
                    </a:lnTo>
                    <a:lnTo>
                      <a:pt x="230" y="0"/>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prstClr val="black"/>
                  </a:solidFill>
                  <a:latin typeface="Segoe UI Semilight"/>
                </a:endParaRPr>
              </a:p>
            </p:txBody>
          </p:sp>
        </p:grpSp>
        <p:sp>
          <p:nvSpPr>
            <p:cNvPr id="9" name="Rectangle 8"/>
            <p:cNvSpPr/>
            <p:nvPr/>
          </p:nvSpPr>
          <p:spPr>
            <a:xfrm>
              <a:off x="7457637" y="3157334"/>
              <a:ext cx="2103120" cy="735497"/>
            </a:xfrm>
            <a:prstGeom prst="rect">
              <a:avLst/>
            </a:prstGeom>
            <a:solidFill>
              <a:srgbClr val="0070C0"/>
            </a:solidFill>
          </p:spPr>
          <p:txBody>
            <a:bodyPr wrap="square" tIns="89642" bIns="89642" anchor="ctr">
              <a:noAutofit/>
            </a:bodyPr>
            <a:lstStyle/>
            <a:p>
              <a:pPr algn="ctr" defTabSz="914228">
                <a:defRPr/>
              </a:pPr>
              <a:r>
                <a:rPr lang="en-US" sz="1372">
                  <a:solidFill>
                    <a:srgbClr val="FFFFFF"/>
                  </a:solidFill>
                  <a:latin typeface="Segoe UI Semilight"/>
                  <a:cs typeface="Segoe UI Semibold" panose="020B0702040204020203" pitchFamily="34" charset="0"/>
                </a:rPr>
                <a:t>Cross platform and open source</a:t>
              </a:r>
            </a:p>
          </p:txBody>
        </p:sp>
      </p:grpSp>
      <p:grpSp>
        <p:nvGrpSpPr>
          <p:cNvPr id="17" name="Group 16"/>
          <p:cNvGrpSpPr/>
          <p:nvPr/>
        </p:nvGrpSpPr>
        <p:grpSpPr>
          <a:xfrm>
            <a:off x="9555277" y="1497468"/>
            <a:ext cx="2061777" cy="2319325"/>
            <a:chOff x="9746880" y="1526999"/>
            <a:chExt cx="2103120" cy="2365832"/>
          </a:xfrm>
        </p:grpSpPr>
        <p:sp>
          <p:nvSpPr>
            <p:cNvPr id="201" name="Rectangle 200"/>
            <p:cNvSpPr/>
            <p:nvPr/>
          </p:nvSpPr>
          <p:spPr>
            <a:xfrm>
              <a:off x="9746880" y="1526999"/>
              <a:ext cx="2103120" cy="2365832"/>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179285" rIns="182854" bIns="91427" rtlCol="0" anchor="t"/>
            <a:lstStyle/>
            <a:p>
              <a:pPr algn="ctr" defTabSz="913924" fontAlgn="base">
                <a:spcBef>
                  <a:spcPct val="0"/>
                </a:spcBef>
                <a:spcAft>
                  <a:spcPct val="0"/>
                </a:spcAft>
                <a:defRPr/>
              </a:pPr>
              <a:r>
                <a:rPr lang="en-US" dirty="0">
                  <a:solidFill>
                    <a:srgbClr val="0078D7"/>
                  </a:solidFill>
                  <a:latin typeface="Segoe UI Light"/>
                  <a:ea typeface="Segoe UI" pitchFamily="34" charset="0"/>
                  <a:cs typeface="Segoe UI" pitchFamily="34" charset="0"/>
                </a:rPr>
                <a:t>Microsoft IoT</a:t>
              </a:r>
              <a:br>
                <a:rPr lang="en-US" dirty="0">
                  <a:solidFill>
                    <a:srgbClr val="0078D7"/>
                  </a:solidFill>
                  <a:latin typeface="Segoe UI Light"/>
                  <a:ea typeface="Segoe UI" pitchFamily="34" charset="0"/>
                  <a:cs typeface="Segoe UI" pitchFamily="34" charset="0"/>
                </a:rPr>
              </a:br>
              <a:r>
                <a:rPr lang="en-US" dirty="0">
                  <a:solidFill>
                    <a:srgbClr val="0078D7"/>
                  </a:solidFill>
                  <a:latin typeface="Segoe UI Light"/>
                  <a:ea typeface="Segoe UI" pitchFamily="34" charset="0"/>
                  <a:cs typeface="Segoe UI" pitchFamily="34" charset="0"/>
                </a:rPr>
                <a:t>Central</a:t>
              </a:r>
            </a:p>
          </p:txBody>
        </p:sp>
        <p:sp>
          <p:nvSpPr>
            <p:cNvPr id="74" name="Freeform 97"/>
            <p:cNvSpPr>
              <a:spLocks noChangeAspect="1"/>
            </p:cNvSpPr>
            <p:nvPr/>
          </p:nvSpPr>
          <p:spPr bwMode="auto">
            <a:xfrm rot="16200000">
              <a:off x="10539318" y="2435595"/>
              <a:ext cx="518244" cy="548640"/>
            </a:xfrm>
            <a:custGeom>
              <a:avLst/>
              <a:gdLst>
                <a:gd name="connsiteX0" fmla="*/ 59957 w 546268"/>
                <a:gd name="connsiteY0" fmla="*/ 369868 h 578307"/>
                <a:gd name="connsiteX1" fmla="*/ 257006 w 546268"/>
                <a:gd name="connsiteY1" fmla="*/ 484264 h 578307"/>
                <a:gd name="connsiteX2" fmla="*/ 257707 w 546268"/>
                <a:gd name="connsiteY2" fmla="*/ 484264 h 578307"/>
                <a:gd name="connsiteX3" fmla="*/ 273135 w 546268"/>
                <a:gd name="connsiteY3" fmla="*/ 488475 h 578307"/>
                <a:gd name="connsiteX4" fmla="*/ 289263 w 546268"/>
                <a:gd name="connsiteY4" fmla="*/ 484264 h 578307"/>
                <a:gd name="connsiteX5" fmla="*/ 487013 w 546268"/>
                <a:gd name="connsiteY5" fmla="*/ 369868 h 578307"/>
                <a:gd name="connsiteX6" fmla="*/ 538204 w 546268"/>
                <a:gd name="connsiteY6" fmla="*/ 399344 h 578307"/>
                <a:gd name="connsiteX7" fmla="*/ 545217 w 546268"/>
                <a:gd name="connsiteY7" fmla="*/ 407766 h 578307"/>
                <a:gd name="connsiteX8" fmla="*/ 545217 w 546268"/>
                <a:gd name="connsiteY8" fmla="*/ 418995 h 578307"/>
                <a:gd name="connsiteX9" fmla="*/ 538204 w 546268"/>
                <a:gd name="connsiteY9" fmla="*/ 427417 h 578307"/>
                <a:gd name="connsiteX10" fmla="*/ 280848 w 546268"/>
                <a:gd name="connsiteY10" fmla="*/ 576202 h 578307"/>
                <a:gd name="connsiteX11" fmla="*/ 273135 w 546268"/>
                <a:gd name="connsiteY11" fmla="*/ 578307 h 578307"/>
                <a:gd name="connsiteX12" fmla="*/ 265421 w 546268"/>
                <a:gd name="connsiteY12" fmla="*/ 576202 h 578307"/>
                <a:gd name="connsiteX13" fmla="*/ 8065 w 546268"/>
                <a:gd name="connsiteY13" fmla="*/ 427417 h 578307"/>
                <a:gd name="connsiteX14" fmla="*/ 1052 w 546268"/>
                <a:gd name="connsiteY14" fmla="*/ 418995 h 578307"/>
                <a:gd name="connsiteX15" fmla="*/ 1052 w 546268"/>
                <a:gd name="connsiteY15" fmla="*/ 407766 h 578307"/>
                <a:gd name="connsiteX16" fmla="*/ 8065 w 546268"/>
                <a:gd name="connsiteY16" fmla="*/ 399344 h 578307"/>
                <a:gd name="connsiteX17" fmla="*/ 59957 w 546268"/>
                <a:gd name="connsiteY17" fmla="*/ 369868 h 578307"/>
                <a:gd name="connsiteX18" fmla="*/ 59957 w 546268"/>
                <a:gd name="connsiteY18" fmla="*/ 245100 h 578307"/>
                <a:gd name="connsiteX19" fmla="*/ 257006 w 546268"/>
                <a:gd name="connsiteY19" fmla="*/ 359394 h 578307"/>
                <a:gd name="connsiteX20" fmla="*/ 257707 w 546268"/>
                <a:gd name="connsiteY20" fmla="*/ 359394 h 578307"/>
                <a:gd name="connsiteX21" fmla="*/ 273135 w 546268"/>
                <a:gd name="connsiteY21" fmla="*/ 362900 h 578307"/>
                <a:gd name="connsiteX22" fmla="*/ 289263 w 546268"/>
                <a:gd name="connsiteY22" fmla="*/ 359394 h 578307"/>
                <a:gd name="connsiteX23" fmla="*/ 487013 w 546268"/>
                <a:gd name="connsiteY23" fmla="*/ 245100 h 578307"/>
                <a:gd name="connsiteX24" fmla="*/ 538204 w 546268"/>
                <a:gd name="connsiteY24" fmla="*/ 274550 h 578307"/>
                <a:gd name="connsiteX25" fmla="*/ 545217 w 546268"/>
                <a:gd name="connsiteY25" fmla="*/ 282964 h 578307"/>
                <a:gd name="connsiteX26" fmla="*/ 545217 w 546268"/>
                <a:gd name="connsiteY26" fmla="*/ 294183 h 578307"/>
                <a:gd name="connsiteX27" fmla="*/ 538204 w 546268"/>
                <a:gd name="connsiteY27" fmla="*/ 302598 h 578307"/>
                <a:gd name="connsiteX28" fmla="*/ 280848 w 546268"/>
                <a:gd name="connsiteY28" fmla="*/ 451250 h 578307"/>
                <a:gd name="connsiteX29" fmla="*/ 273135 w 546268"/>
                <a:gd name="connsiteY29" fmla="*/ 452652 h 578307"/>
                <a:gd name="connsiteX30" fmla="*/ 265421 w 546268"/>
                <a:gd name="connsiteY30" fmla="*/ 451250 h 578307"/>
                <a:gd name="connsiteX31" fmla="*/ 8065 w 546268"/>
                <a:gd name="connsiteY31" fmla="*/ 302598 h 578307"/>
                <a:gd name="connsiteX32" fmla="*/ 1052 w 546268"/>
                <a:gd name="connsiteY32" fmla="*/ 294183 h 578307"/>
                <a:gd name="connsiteX33" fmla="*/ 1052 w 546268"/>
                <a:gd name="connsiteY33" fmla="*/ 282964 h 578307"/>
                <a:gd name="connsiteX34" fmla="*/ 8065 w 546268"/>
                <a:gd name="connsiteY34" fmla="*/ 274550 h 578307"/>
                <a:gd name="connsiteX35" fmla="*/ 59957 w 546268"/>
                <a:gd name="connsiteY35" fmla="*/ 245100 h 578307"/>
                <a:gd name="connsiteX36" fmla="*/ 273135 w 546268"/>
                <a:gd name="connsiteY36" fmla="*/ 0 h 578307"/>
                <a:gd name="connsiteX37" fmla="*/ 280848 w 546268"/>
                <a:gd name="connsiteY37" fmla="*/ 2803 h 578307"/>
                <a:gd name="connsiteX38" fmla="*/ 538204 w 546268"/>
                <a:gd name="connsiteY38" fmla="*/ 151352 h 578307"/>
                <a:gd name="connsiteX39" fmla="*/ 545217 w 546268"/>
                <a:gd name="connsiteY39" fmla="*/ 159761 h 578307"/>
                <a:gd name="connsiteX40" fmla="*/ 545217 w 546268"/>
                <a:gd name="connsiteY40" fmla="*/ 170271 h 578307"/>
                <a:gd name="connsiteX41" fmla="*/ 538204 w 546268"/>
                <a:gd name="connsiteY41" fmla="*/ 178680 h 578307"/>
                <a:gd name="connsiteX42" fmla="*/ 280848 w 546268"/>
                <a:gd name="connsiteY42" fmla="*/ 327930 h 578307"/>
                <a:gd name="connsiteX43" fmla="*/ 277342 w 546268"/>
                <a:gd name="connsiteY43" fmla="*/ 329331 h 578307"/>
                <a:gd name="connsiteX44" fmla="*/ 273135 w 546268"/>
                <a:gd name="connsiteY44" fmla="*/ 331433 h 578307"/>
                <a:gd name="connsiteX45" fmla="*/ 268927 w 546268"/>
                <a:gd name="connsiteY45" fmla="*/ 329331 h 578307"/>
                <a:gd name="connsiteX46" fmla="*/ 265421 w 546268"/>
                <a:gd name="connsiteY46" fmla="*/ 327930 h 578307"/>
                <a:gd name="connsiteX47" fmla="*/ 8065 w 546268"/>
                <a:gd name="connsiteY47" fmla="*/ 178680 h 578307"/>
                <a:gd name="connsiteX48" fmla="*/ 1052 w 546268"/>
                <a:gd name="connsiteY48" fmla="*/ 170271 h 578307"/>
                <a:gd name="connsiteX49" fmla="*/ 1052 w 546268"/>
                <a:gd name="connsiteY49" fmla="*/ 159761 h 578307"/>
                <a:gd name="connsiteX50" fmla="*/ 8065 w 546268"/>
                <a:gd name="connsiteY50" fmla="*/ 151352 h 578307"/>
                <a:gd name="connsiteX51" fmla="*/ 265421 w 546268"/>
                <a:gd name="connsiteY51" fmla="*/ 2803 h 578307"/>
                <a:gd name="connsiteX52" fmla="*/ 273135 w 546268"/>
                <a:gd name="connsiteY52" fmla="*/ 0 h 57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46268" h="578307">
                  <a:moveTo>
                    <a:pt x="59957" y="369868"/>
                  </a:moveTo>
                  <a:lnTo>
                    <a:pt x="257006" y="484264"/>
                  </a:lnTo>
                  <a:cubicBezTo>
                    <a:pt x="257707" y="484264"/>
                    <a:pt x="257707" y="484264"/>
                    <a:pt x="257707" y="484264"/>
                  </a:cubicBezTo>
                  <a:cubicBezTo>
                    <a:pt x="261915" y="487071"/>
                    <a:pt x="267525" y="488475"/>
                    <a:pt x="273135" y="488475"/>
                  </a:cubicBezTo>
                  <a:cubicBezTo>
                    <a:pt x="278744" y="488475"/>
                    <a:pt x="284354" y="487071"/>
                    <a:pt x="289263" y="484264"/>
                  </a:cubicBezTo>
                  <a:cubicBezTo>
                    <a:pt x="487013" y="369868"/>
                    <a:pt x="487013" y="369868"/>
                    <a:pt x="487013" y="369868"/>
                  </a:cubicBezTo>
                  <a:cubicBezTo>
                    <a:pt x="538204" y="399344"/>
                    <a:pt x="538204" y="399344"/>
                    <a:pt x="538204" y="399344"/>
                  </a:cubicBezTo>
                  <a:cubicBezTo>
                    <a:pt x="541710" y="401450"/>
                    <a:pt x="543814" y="404257"/>
                    <a:pt x="545217" y="407766"/>
                  </a:cubicBezTo>
                  <a:cubicBezTo>
                    <a:pt x="546619" y="411275"/>
                    <a:pt x="546619" y="415486"/>
                    <a:pt x="545217" y="418995"/>
                  </a:cubicBezTo>
                  <a:cubicBezTo>
                    <a:pt x="543814" y="422504"/>
                    <a:pt x="541710" y="425312"/>
                    <a:pt x="538204" y="427417"/>
                  </a:cubicBezTo>
                  <a:cubicBezTo>
                    <a:pt x="280848" y="576202"/>
                    <a:pt x="280848" y="576202"/>
                    <a:pt x="280848" y="576202"/>
                  </a:cubicBezTo>
                  <a:cubicBezTo>
                    <a:pt x="278744" y="577605"/>
                    <a:pt x="275939" y="578307"/>
                    <a:pt x="273135" y="578307"/>
                  </a:cubicBezTo>
                  <a:cubicBezTo>
                    <a:pt x="270330" y="578307"/>
                    <a:pt x="267525" y="577605"/>
                    <a:pt x="265421" y="576202"/>
                  </a:cubicBezTo>
                  <a:cubicBezTo>
                    <a:pt x="8065" y="427417"/>
                    <a:pt x="8065" y="427417"/>
                    <a:pt x="8065" y="427417"/>
                  </a:cubicBezTo>
                  <a:cubicBezTo>
                    <a:pt x="4559" y="425312"/>
                    <a:pt x="2455" y="422504"/>
                    <a:pt x="1052" y="418995"/>
                  </a:cubicBezTo>
                  <a:cubicBezTo>
                    <a:pt x="-350" y="415486"/>
                    <a:pt x="-350" y="411275"/>
                    <a:pt x="1052" y="407766"/>
                  </a:cubicBezTo>
                  <a:cubicBezTo>
                    <a:pt x="2455" y="404257"/>
                    <a:pt x="4559" y="401450"/>
                    <a:pt x="8065" y="399344"/>
                  </a:cubicBezTo>
                  <a:cubicBezTo>
                    <a:pt x="59957" y="369868"/>
                    <a:pt x="59957" y="369868"/>
                    <a:pt x="59957" y="369868"/>
                  </a:cubicBezTo>
                  <a:close/>
                  <a:moveTo>
                    <a:pt x="59957" y="245100"/>
                  </a:moveTo>
                  <a:cubicBezTo>
                    <a:pt x="257006" y="359394"/>
                    <a:pt x="257006" y="359394"/>
                    <a:pt x="257006" y="359394"/>
                  </a:cubicBezTo>
                  <a:cubicBezTo>
                    <a:pt x="257707" y="359394"/>
                    <a:pt x="257707" y="359394"/>
                    <a:pt x="257707" y="359394"/>
                  </a:cubicBezTo>
                  <a:cubicBezTo>
                    <a:pt x="261915" y="362199"/>
                    <a:pt x="267525" y="362900"/>
                    <a:pt x="273135" y="362900"/>
                  </a:cubicBezTo>
                  <a:cubicBezTo>
                    <a:pt x="278744" y="362900"/>
                    <a:pt x="284354" y="362199"/>
                    <a:pt x="289263" y="359394"/>
                  </a:cubicBezTo>
                  <a:cubicBezTo>
                    <a:pt x="487013" y="245100"/>
                    <a:pt x="487013" y="245100"/>
                    <a:pt x="487013" y="245100"/>
                  </a:cubicBezTo>
                  <a:cubicBezTo>
                    <a:pt x="538204" y="274550"/>
                    <a:pt x="538204" y="274550"/>
                    <a:pt x="538204" y="274550"/>
                  </a:cubicBezTo>
                  <a:cubicBezTo>
                    <a:pt x="541710" y="276654"/>
                    <a:pt x="543814" y="279459"/>
                    <a:pt x="545217" y="282964"/>
                  </a:cubicBezTo>
                  <a:cubicBezTo>
                    <a:pt x="546619" y="286470"/>
                    <a:pt x="546619" y="289976"/>
                    <a:pt x="545217" y="294183"/>
                  </a:cubicBezTo>
                  <a:cubicBezTo>
                    <a:pt x="543814" y="296988"/>
                    <a:pt x="541710" y="299793"/>
                    <a:pt x="538204" y="302598"/>
                  </a:cubicBezTo>
                  <a:cubicBezTo>
                    <a:pt x="280848" y="451250"/>
                    <a:pt x="280848" y="451250"/>
                    <a:pt x="280848" y="451250"/>
                  </a:cubicBezTo>
                  <a:cubicBezTo>
                    <a:pt x="278744" y="451951"/>
                    <a:pt x="275939" y="452652"/>
                    <a:pt x="273135" y="452652"/>
                  </a:cubicBezTo>
                  <a:cubicBezTo>
                    <a:pt x="270330" y="452652"/>
                    <a:pt x="267525" y="451951"/>
                    <a:pt x="265421" y="451250"/>
                  </a:cubicBezTo>
                  <a:cubicBezTo>
                    <a:pt x="8065" y="302598"/>
                    <a:pt x="8065" y="302598"/>
                    <a:pt x="8065" y="302598"/>
                  </a:cubicBezTo>
                  <a:cubicBezTo>
                    <a:pt x="4559" y="299793"/>
                    <a:pt x="2455" y="296988"/>
                    <a:pt x="1052" y="294183"/>
                  </a:cubicBezTo>
                  <a:cubicBezTo>
                    <a:pt x="-350" y="289976"/>
                    <a:pt x="-350" y="286470"/>
                    <a:pt x="1052" y="282964"/>
                  </a:cubicBezTo>
                  <a:cubicBezTo>
                    <a:pt x="2455" y="279459"/>
                    <a:pt x="4559" y="276654"/>
                    <a:pt x="8065" y="274550"/>
                  </a:cubicBezTo>
                  <a:cubicBezTo>
                    <a:pt x="59957" y="245100"/>
                    <a:pt x="59957" y="245100"/>
                    <a:pt x="59957" y="245100"/>
                  </a:cubicBezTo>
                  <a:close/>
                  <a:moveTo>
                    <a:pt x="273135" y="0"/>
                  </a:moveTo>
                  <a:cubicBezTo>
                    <a:pt x="275939" y="0"/>
                    <a:pt x="278744" y="701"/>
                    <a:pt x="280848" y="2803"/>
                  </a:cubicBezTo>
                  <a:cubicBezTo>
                    <a:pt x="538204" y="151352"/>
                    <a:pt x="538204" y="151352"/>
                    <a:pt x="538204" y="151352"/>
                  </a:cubicBezTo>
                  <a:cubicBezTo>
                    <a:pt x="541710" y="153454"/>
                    <a:pt x="543814" y="156257"/>
                    <a:pt x="545217" y="159761"/>
                  </a:cubicBezTo>
                  <a:cubicBezTo>
                    <a:pt x="546619" y="163264"/>
                    <a:pt x="546619" y="166768"/>
                    <a:pt x="545217" y="170271"/>
                  </a:cubicBezTo>
                  <a:cubicBezTo>
                    <a:pt x="543814" y="173775"/>
                    <a:pt x="541710" y="176578"/>
                    <a:pt x="538204" y="178680"/>
                  </a:cubicBezTo>
                  <a:cubicBezTo>
                    <a:pt x="280848" y="327930"/>
                    <a:pt x="280848" y="327930"/>
                    <a:pt x="280848" y="327930"/>
                  </a:cubicBezTo>
                  <a:cubicBezTo>
                    <a:pt x="280147" y="327930"/>
                    <a:pt x="278744" y="328630"/>
                    <a:pt x="277342" y="329331"/>
                  </a:cubicBezTo>
                  <a:cubicBezTo>
                    <a:pt x="273135" y="331433"/>
                    <a:pt x="273135" y="331433"/>
                    <a:pt x="273135" y="331433"/>
                  </a:cubicBezTo>
                  <a:cubicBezTo>
                    <a:pt x="268927" y="329331"/>
                    <a:pt x="268927" y="329331"/>
                    <a:pt x="268927" y="329331"/>
                  </a:cubicBezTo>
                  <a:cubicBezTo>
                    <a:pt x="267525" y="328630"/>
                    <a:pt x="266122" y="327930"/>
                    <a:pt x="265421" y="327930"/>
                  </a:cubicBezTo>
                  <a:cubicBezTo>
                    <a:pt x="8065" y="178680"/>
                    <a:pt x="8065" y="178680"/>
                    <a:pt x="8065" y="178680"/>
                  </a:cubicBezTo>
                  <a:cubicBezTo>
                    <a:pt x="4559" y="176578"/>
                    <a:pt x="2455" y="173775"/>
                    <a:pt x="1052" y="170271"/>
                  </a:cubicBezTo>
                  <a:cubicBezTo>
                    <a:pt x="-350" y="166768"/>
                    <a:pt x="-350" y="163264"/>
                    <a:pt x="1052" y="159761"/>
                  </a:cubicBezTo>
                  <a:cubicBezTo>
                    <a:pt x="2455" y="156257"/>
                    <a:pt x="4559" y="153454"/>
                    <a:pt x="8065" y="151352"/>
                  </a:cubicBezTo>
                  <a:cubicBezTo>
                    <a:pt x="265421" y="2803"/>
                    <a:pt x="265421" y="2803"/>
                    <a:pt x="265421" y="2803"/>
                  </a:cubicBezTo>
                  <a:cubicBezTo>
                    <a:pt x="267525" y="701"/>
                    <a:pt x="270330" y="0"/>
                    <a:pt x="27313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045" tIns="74436" rIns="93045" bIns="74436" numCol="1" spcCol="0" rtlCol="0" fromWordArt="0" anchor="t" anchorCtr="0" forceAA="0" compatLnSpc="1">
              <a:prstTxWarp prst="textNoShape">
                <a:avLst/>
              </a:prstTxWarp>
              <a:noAutofit/>
            </a:bodyPr>
            <a:lstStyle/>
            <a:p>
              <a:pPr algn="ctr" defTabSz="474391" fontAlgn="base">
                <a:lnSpc>
                  <a:spcPct val="90000"/>
                </a:lnSpc>
                <a:spcBef>
                  <a:spcPct val="0"/>
                </a:spcBef>
                <a:spcAft>
                  <a:spcPct val="0"/>
                </a:spcAft>
                <a:defRPr/>
              </a:pPr>
              <a:endParaRPr lang="en-US" sz="122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1" name="Rectangle 10"/>
            <p:cNvSpPr/>
            <p:nvPr/>
          </p:nvSpPr>
          <p:spPr>
            <a:xfrm>
              <a:off x="9746880" y="3157334"/>
              <a:ext cx="2103120" cy="735497"/>
            </a:xfrm>
            <a:prstGeom prst="rect">
              <a:avLst/>
            </a:prstGeom>
            <a:solidFill>
              <a:srgbClr val="0070C0"/>
            </a:solidFill>
          </p:spPr>
          <p:txBody>
            <a:bodyPr wrap="square" tIns="89642" bIns="89642" anchor="ctr">
              <a:noAutofit/>
            </a:bodyPr>
            <a:lstStyle/>
            <a:p>
              <a:pPr algn="ctr" defTabSz="914228">
                <a:defRPr/>
              </a:pPr>
              <a:r>
                <a:rPr lang="en-US" sz="1372" dirty="0">
                  <a:solidFill>
                    <a:srgbClr val="FFFFFF"/>
                  </a:solidFill>
                  <a:latin typeface="Segoe UI Semilight"/>
                  <a:cs typeface="Segoe UI Semibold" panose="020B0702040204020203" pitchFamily="34" charset="0"/>
                </a:rPr>
                <a:t>Fully managed and hosted IoT SaaS</a:t>
              </a:r>
            </a:p>
          </p:txBody>
        </p:sp>
      </p:grpSp>
      <p:grpSp>
        <p:nvGrpSpPr>
          <p:cNvPr id="25" name="Group 24"/>
          <p:cNvGrpSpPr/>
          <p:nvPr/>
        </p:nvGrpSpPr>
        <p:grpSpPr>
          <a:xfrm>
            <a:off x="2822550" y="4134958"/>
            <a:ext cx="2061777" cy="2319325"/>
            <a:chOff x="2879147" y="4217376"/>
            <a:chExt cx="2103120" cy="2365832"/>
          </a:xfrm>
        </p:grpSpPr>
        <p:sp>
          <p:nvSpPr>
            <p:cNvPr id="202" name="Rectangle 201"/>
            <p:cNvSpPr/>
            <p:nvPr/>
          </p:nvSpPr>
          <p:spPr>
            <a:xfrm>
              <a:off x="2879147" y="4217376"/>
              <a:ext cx="2103120" cy="2365830"/>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179285" rIns="182854" bIns="91427" rtlCol="0" anchor="t"/>
            <a:lstStyle/>
            <a:p>
              <a:pPr algn="ctr" defTabSz="913924" fontAlgn="base">
                <a:spcBef>
                  <a:spcPct val="0"/>
                </a:spcBef>
                <a:spcAft>
                  <a:spcPct val="0"/>
                </a:spcAft>
                <a:defRPr/>
              </a:pPr>
              <a:r>
                <a:rPr lang="en-US" dirty="0">
                  <a:solidFill>
                    <a:srgbClr val="0078D7"/>
                  </a:solidFill>
                  <a:latin typeface="Segoe UI Light"/>
                  <a:ea typeface="Segoe UI" pitchFamily="34" charset="0"/>
                  <a:cs typeface="Segoe UI" pitchFamily="34" charset="0"/>
                </a:rPr>
                <a:t>Azure IoT Hub message routing</a:t>
              </a:r>
            </a:p>
          </p:txBody>
        </p:sp>
        <p:grpSp>
          <p:nvGrpSpPr>
            <p:cNvPr id="197" name="Group 196"/>
            <p:cNvGrpSpPr>
              <a:grpSpLocks noChangeAspect="1"/>
            </p:cNvGrpSpPr>
            <p:nvPr/>
          </p:nvGrpSpPr>
          <p:grpSpPr>
            <a:xfrm>
              <a:off x="3655189" y="5125971"/>
              <a:ext cx="551036" cy="548640"/>
              <a:chOff x="10991702" y="1437287"/>
              <a:chExt cx="1173924" cy="1168822"/>
            </a:xfrm>
          </p:grpSpPr>
          <p:sp>
            <p:nvSpPr>
              <p:cNvPr id="187" name="Freeform: Shape 186"/>
              <p:cNvSpPr/>
              <p:nvPr/>
            </p:nvSpPr>
            <p:spPr bwMode="auto">
              <a:xfrm>
                <a:off x="10991702" y="1437287"/>
                <a:ext cx="1173924" cy="1168822"/>
              </a:xfrm>
              <a:custGeom>
                <a:avLst/>
                <a:gdLst>
                  <a:gd name="connsiteX0" fmla="*/ 591418 w 1173924"/>
                  <a:gd name="connsiteY0" fmla="*/ 0 h 1168822"/>
                  <a:gd name="connsiteX1" fmla="*/ 632097 w 1173924"/>
                  <a:gd name="connsiteY1" fmla="*/ 8269 h 1168822"/>
                  <a:gd name="connsiteX2" fmla="*/ 664108 w 1173924"/>
                  <a:gd name="connsiteY2" fmla="*/ 28356 h 1168822"/>
                  <a:gd name="connsiteX3" fmla="*/ 664108 w 1173924"/>
                  <a:gd name="connsiteY3" fmla="*/ 26828 h 1168822"/>
                  <a:gd name="connsiteX4" fmla="*/ 744053 w 1173924"/>
                  <a:gd name="connsiteY4" fmla="*/ 105359 h 1168822"/>
                  <a:gd name="connsiteX5" fmla="*/ 1024934 w 1173924"/>
                  <a:gd name="connsiteY5" fmla="*/ 388506 h 1168822"/>
                  <a:gd name="connsiteX6" fmla="*/ 1050698 w 1173924"/>
                  <a:gd name="connsiteY6" fmla="*/ 416210 h 1168822"/>
                  <a:gd name="connsiteX7" fmla="*/ 1143837 w 1173924"/>
                  <a:gd name="connsiteY7" fmla="*/ 509816 h 1168822"/>
                  <a:gd name="connsiteX8" fmla="*/ 1139293 w 1173924"/>
                  <a:gd name="connsiteY8" fmla="*/ 509816 h 1168822"/>
                  <a:gd name="connsiteX9" fmla="*/ 1155359 w 1173924"/>
                  <a:gd name="connsiteY9" fmla="*/ 526386 h 1168822"/>
                  <a:gd name="connsiteX10" fmla="*/ 1173924 w 1173924"/>
                  <a:gd name="connsiteY10" fmla="*/ 586701 h 1168822"/>
                  <a:gd name="connsiteX11" fmla="*/ 1084715 w 1173924"/>
                  <a:gd name="connsiteY11" fmla="*/ 720615 h 1168822"/>
                  <a:gd name="connsiteX12" fmla="*/ 987203 w 1173924"/>
                  <a:gd name="connsiteY12" fmla="*/ 817640 h 1168822"/>
                  <a:gd name="connsiteX13" fmla="*/ 962816 w 1173924"/>
                  <a:gd name="connsiteY13" fmla="*/ 842209 h 1168822"/>
                  <a:gd name="connsiteX14" fmla="*/ 866120 w 1173924"/>
                  <a:gd name="connsiteY14" fmla="*/ 938267 h 1168822"/>
                  <a:gd name="connsiteX15" fmla="*/ 859784 w 1173924"/>
                  <a:gd name="connsiteY15" fmla="*/ 944422 h 1168822"/>
                  <a:gd name="connsiteX16" fmla="*/ 664108 w 1173924"/>
                  <a:gd name="connsiteY16" fmla="*/ 1139120 h 1168822"/>
                  <a:gd name="connsiteX17" fmla="*/ 664108 w 1173924"/>
                  <a:gd name="connsiteY17" fmla="*/ 1131031 h 1168822"/>
                  <a:gd name="connsiteX18" fmla="*/ 644279 w 1173924"/>
                  <a:gd name="connsiteY18" fmla="*/ 1150257 h 1168822"/>
                  <a:gd name="connsiteX19" fmla="*/ 583964 w 1173924"/>
                  <a:gd name="connsiteY19" fmla="*/ 1168822 h 1168822"/>
                  <a:gd name="connsiteX20" fmla="*/ 543285 w 1173924"/>
                  <a:gd name="connsiteY20" fmla="*/ 1160553 h 1168822"/>
                  <a:gd name="connsiteX21" fmla="*/ 509816 w 1173924"/>
                  <a:gd name="connsiteY21" fmla="*/ 1139551 h 1168822"/>
                  <a:gd name="connsiteX22" fmla="*/ 509816 w 1173924"/>
                  <a:gd name="connsiteY22" fmla="*/ 1145934 h 1168822"/>
                  <a:gd name="connsiteX23" fmla="*/ 429871 w 1173924"/>
                  <a:gd name="connsiteY23" fmla="*/ 1067403 h 1168822"/>
                  <a:gd name="connsiteX24" fmla="*/ 89209 w 1173924"/>
                  <a:gd name="connsiteY24" fmla="*/ 719975 h 1168822"/>
                  <a:gd name="connsiteX25" fmla="*/ 0 w 1173924"/>
                  <a:gd name="connsiteY25" fmla="*/ 586061 h 1168822"/>
                  <a:gd name="connsiteX26" fmla="*/ 58260 w 1173924"/>
                  <a:gd name="connsiteY26" fmla="*/ 481531 h 1168822"/>
                  <a:gd name="connsiteX27" fmla="*/ 74144 w 1173924"/>
                  <a:gd name="connsiteY27" fmla="*/ 466450 h 1168822"/>
                  <a:gd name="connsiteX28" fmla="*/ 110076 w 1173924"/>
                  <a:gd name="connsiteY28" fmla="*/ 429871 h 1168822"/>
                  <a:gd name="connsiteX29" fmla="*/ 393223 w 1173924"/>
                  <a:gd name="connsiteY29" fmla="*/ 148990 h 1168822"/>
                  <a:gd name="connsiteX30" fmla="*/ 403416 w 1173924"/>
                  <a:gd name="connsiteY30" fmla="*/ 139510 h 1168822"/>
                  <a:gd name="connsiteX31" fmla="*/ 509816 w 1173924"/>
                  <a:gd name="connsiteY31" fmla="*/ 33642 h 1168822"/>
                  <a:gd name="connsiteX32" fmla="*/ 509816 w 1173924"/>
                  <a:gd name="connsiteY32" fmla="*/ 39204 h 1168822"/>
                  <a:gd name="connsiteX33" fmla="*/ 531103 w 1173924"/>
                  <a:gd name="connsiteY33" fmla="*/ 18565 h 1168822"/>
                  <a:gd name="connsiteX34" fmla="*/ 591418 w 1173924"/>
                  <a:gd name="connsiteY34" fmla="*/ 0 h 116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73924" h="1168822">
                    <a:moveTo>
                      <a:pt x="591418" y="0"/>
                    </a:moveTo>
                    <a:cubicBezTo>
                      <a:pt x="606468" y="0"/>
                      <a:pt x="619855" y="3055"/>
                      <a:pt x="632097" y="8269"/>
                    </a:cubicBezTo>
                    <a:lnTo>
                      <a:pt x="664108" y="28356"/>
                    </a:lnTo>
                    <a:lnTo>
                      <a:pt x="664108" y="26828"/>
                    </a:lnTo>
                    <a:lnTo>
                      <a:pt x="744053" y="105359"/>
                    </a:lnTo>
                    <a:cubicBezTo>
                      <a:pt x="848481" y="208431"/>
                      <a:pt x="953046" y="313228"/>
                      <a:pt x="1024934" y="388506"/>
                    </a:cubicBezTo>
                    <a:lnTo>
                      <a:pt x="1050698" y="416210"/>
                    </a:lnTo>
                    <a:lnTo>
                      <a:pt x="1143837" y="509816"/>
                    </a:lnTo>
                    <a:lnTo>
                      <a:pt x="1139293" y="509816"/>
                    </a:lnTo>
                    <a:lnTo>
                      <a:pt x="1155359" y="526386"/>
                    </a:lnTo>
                    <a:cubicBezTo>
                      <a:pt x="1168981" y="542601"/>
                      <a:pt x="1173924" y="556602"/>
                      <a:pt x="1173924" y="586701"/>
                    </a:cubicBezTo>
                    <a:cubicBezTo>
                      <a:pt x="1173924" y="646900"/>
                      <a:pt x="1125036" y="680496"/>
                      <a:pt x="1084715" y="720615"/>
                    </a:cubicBezTo>
                    <a:lnTo>
                      <a:pt x="987203" y="817640"/>
                    </a:lnTo>
                    <a:lnTo>
                      <a:pt x="962816" y="842209"/>
                    </a:lnTo>
                    <a:cubicBezTo>
                      <a:pt x="929233" y="875834"/>
                      <a:pt x="896615" y="908258"/>
                      <a:pt x="866120" y="938267"/>
                    </a:cubicBezTo>
                    <a:lnTo>
                      <a:pt x="859784" y="944422"/>
                    </a:lnTo>
                    <a:lnTo>
                      <a:pt x="664108" y="1139120"/>
                    </a:lnTo>
                    <a:lnTo>
                      <a:pt x="664108" y="1131031"/>
                    </a:lnTo>
                    <a:lnTo>
                      <a:pt x="644279" y="1150257"/>
                    </a:lnTo>
                    <a:cubicBezTo>
                      <a:pt x="628064" y="1163879"/>
                      <a:pt x="614064" y="1168822"/>
                      <a:pt x="583964" y="1168822"/>
                    </a:cubicBezTo>
                    <a:cubicBezTo>
                      <a:pt x="568914" y="1168822"/>
                      <a:pt x="555527" y="1165767"/>
                      <a:pt x="543285" y="1160553"/>
                    </a:cubicBezTo>
                    <a:lnTo>
                      <a:pt x="509816" y="1139551"/>
                    </a:lnTo>
                    <a:lnTo>
                      <a:pt x="509816" y="1145934"/>
                    </a:lnTo>
                    <a:lnTo>
                      <a:pt x="429871" y="1067403"/>
                    </a:lnTo>
                    <a:cubicBezTo>
                      <a:pt x="290634" y="929974"/>
                      <a:pt x="151153" y="789478"/>
                      <a:pt x="89209" y="719975"/>
                    </a:cubicBezTo>
                    <a:cubicBezTo>
                      <a:pt x="19771" y="642063"/>
                      <a:pt x="0" y="646260"/>
                      <a:pt x="0" y="586061"/>
                    </a:cubicBezTo>
                    <a:cubicBezTo>
                      <a:pt x="0" y="540912"/>
                      <a:pt x="27500" y="510727"/>
                      <a:pt x="58260" y="481531"/>
                    </a:cubicBezTo>
                    <a:lnTo>
                      <a:pt x="74144" y="466450"/>
                    </a:lnTo>
                    <a:lnTo>
                      <a:pt x="110076" y="429871"/>
                    </a:lnTo>
                    <a:cubicBezTo>
                      <a:pt x="213148" y="325443"/>
                      <a:pt x="317945" y="220878"/>
                      <a:pt x="393223" y="148990"/>
                    </a:cubicBezTo>
                    <a:lnTo>
                      <a:pt x="403416" y="139510"/>
                    </a:lnTo>
                    <a:lnTo>
                      <a:pt x="509816" y="33642"/>
                    </a:lnTo>
                    <a:lnTo>
                      <a:pt x="509816" y="39204"/>
                    </a:lnTo>
                    <a:lnTo>
                      <a:pt x="531103" y="18565"/>
                    </a:lnTo>
                    <a:cubicBezTo>
                      <a:pt x="547318" y="4943"/>
                      <a:pt x="561319" y="0"/>
                      <a:pt x="591418"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96" name="Group 195"/>
              <p:cNvGrpSpPr/>
              <p:nvPr/>
            </p:nvGrpSpPr>
            <p:grpSpPr>
              <a:xfrm>
                <a:off x="11204864" y="1626446"/>
                <a:ext cx="738457" cy="820578"/>
                <a:chOff x="8933984" y="853153"/>
                <a:chExt cx="618201" cy="686950"/>
              </a:xfrm>
            </p:grpSpPr>
            <p:sp>
              <p:nvSpPr>
                <p:cNvPr id="192" name="Arrow: Up 191"/>
                <p:cNvSpPr/>
                <p:nvPr/>
              </p:nvSpPr>
              <p:spPr bwMode="auto">
                <a:xfrm>
                  <a:off x="9114016" y="853153"/>
                  <a:ext cx="269142" cy="275638"/>
                </a:xfrm>
                <a:prstGeom prst="upArrow">
                  <a:avLst>
                    <a:gd name="adj1" fmla="val 41823"/>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3" name="Arrow: Up 192"/>
                <p:cNvSpPr/>
                <p:nvPr/>
              </p:nvSpPr>
              <p:spPr bwMode="auto">
                <a:xfrm flipH="1" flipV="1">
                  <a:off x="9114016" y="1264465"/>
                  <a:ext cx="269142" cy="275638"/>
                </a:xfrm>
                <a:prstGeom prst="upArrow">
                  <a:avLst>
                    <a:gd name="adj1" fmla="val 41823"/>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4" name="Arrow: Up 193"/>
                <p:cNvSpPr/>
                <p:nvPr/>
              </p:nvSpPr>
              <p:spPr bwMode="auto">
                <a:xfrm rot="5400000">
                  <a:off x="8937232" y="1046358"/>
                  <a:ext cx="269142" cy="275638"/>
                </a:xfrm>
                <a:prstGeom prst="upArrow">
                  <a:avLst>
                    <a:gd name="adj1" fmla="val 41823"/>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5" name="Arrow: Up 194"/>
                <p:cNvSpPr/>
                <p:nvPr/>
              </p:nvSpPr>
              <p:spPr bwMode="auto">
                <a:xfrm rot="5400000" flipH="1" flipV="1">
                  <a:off x="9279795" y="1056874"/>
                  <a:ext cx="269142" cy="275638"/>
                </a:xfrm>
                <a:prstGeom prst="upArrow">
                  <a:avLst>
                    <a:gd name="adj1" fmla="val 41823"/>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sp>
          <p:nvSpPr>
            <p:cNvPr id="39" name="Rectangle 38"/>
            <p:cNvSpPr/>
            <p:nvPr/>
          </p:nvSpPr>
          <p:spPr>
            <a:xfrm>
              <a:off x="2879147" y="5847711"/>
              <a:ext cx="2103120" cy="735497"/>
            </a:xfrm>
            <a:prstGeom prst="rect">
              <a:avLst/>
            </a:prstGeom>
            <a:solidFill>
              <a:srgbClr val="0070C0"/>
            </a:solidFill>
          </p:spPr>
          <p:txBody>
            <a:bodyPr wrap="square" tIns="89642" bIns="89642" anchor="ctr">
              <a:noAutofit/>
            </a:bodyPr>
            <a:lstStyle/>
            <a:p>
              <a:pPr algn="ctr" defTabSz="914228">
                <a:defRPr/>
              </a:pPr>
              <a:r>
                <a:rPr lang="en-US" sz="1372">
                  <a:solidFill>
                    <a:srgbClr val="FFFFFF"/>
                  </a:solidFill>
                  <a:latin typeface="Segoe UI Semilight"/>
                  <a:cs typeface="Segoe UI Semibold" panose="020B0702040204020203" pitchFamily="34" charset="0"/>
                </a:rPr>
                <a:t>Simple, powerful, declarative</a:t>
              </a:r>
            </a:p>
          </p:txBody>
        </p:sp>
      </p:grpSp>
      <p:grpSp>
        <p:nvGrpSpPr>
          <p:cNvPr id="26" name="Group 25"/>
          <p:cNvGrpSpPr/>
          <p:nvPr/>
        </p:nvGrpSpPr>
        <p:grpSpPr>
          <a:xfrm>
            <a:off x="578307" y="4134958"/>
            <a:ext cx="2061777" cy="2319325"/>
            <a:chOff x="589903" y="4217376"/>
            <a:chExt cx="2103120" cy="2365832"/>
          </a:xfrm>
        </p:grpSpPr>
        <p:sp>
          <p:nvSpPr>
            <p:cNvPr id="42" name="Rectangle 41"/>
            <p:cNvSpPr/>
            <p:nvPr/>
          </p:nvSpPr>
          <p:spPr>
            <a:xfrm>
              <a:off x="589903" y="4217376"/>
              <a:ext cx="2103120" cy="2365832"/>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89642" rIns="182854" bIns="91427" rtlCol="0" anchor="t"/>
            <a:lstStyle/>
            <a:p>
              <a:pPr algn="ctr" defTabSz="913924" fontAlgn="base">
                <a:spcBef>
                  <a:spcPct val="0"/>
                </a:spcBef>
                <a:spcAft>
                  <a:spcPct val="0"/>
                </a:spcAft>
                <a:defRPr/>
              </a:pPr>
              <a:r>
                <a:rPr lang="en-US" dirty="0">
                  <a:solidFill>
                    <a:srgbClr val="0078D7"/>
                  </a:solidFill>
                  <a:latin typeface="Segoe UI Light"/>
                  <a:ea typeface="Segoe UI" pitchFamily="34" charset="0"/>
                  <a:cs typeface="Segoe UI" pitchFamily="34" charset="0"/>
                </a:rPr>
                <a:t>Security Partnerships /DICE</a:t>
              </a:r>
            </a:p>
          </p:txBody>
        </p:sp>
        <p:sp>
          <p:nvSpPr>
            <p:cNvPr id="43" name="Freeform 94"/>
            <p:cNvSpPr>
              <a:spLocks noChangeAspect="1"/>
            </p:cNvSpPr>
            <p:nvPr/>
          </p:nvSpPr>
          <p:spPr bwMode="auto">
            <a:xfrm>
              <a:off x="1392926" y="5125972"/>
              <a:ext cx="497075" cy="548640"/>
            </a:xfrm>
            <a:custGeom>
              <a:avLst/>
              <a:gdLst/>
              <a:ahLst/>
              <a:cxnLst/>
              <a:rect l="l" t="t" r="r" b="b"/>
              <a:pathLst>
                <a:path w="1407693" h="1585061">
                  <a:moveTo>
                    <a:pt x="727084" y="1101630"/>
                  </a:moveTo>
                  <a:lnTo>
                    <a:pt x="727305" y="1101630"/>
                  </a:lnTo>
                  <a:lnTo>
                    <a:pt x="727157" y="1101892"/>
                  </a:lnTo>
                  <a:close/>
                  <a:moveTo>
                    <a:pt x="671601" y="1101630"/>
                  </a:moveTo>
                  <a:lnTo>
                    <a:pt x="671822" y="1101630"/>
                  </a:lnTo>
                  <a:lnTo>
                    <a:pt x="671749" y="1101892"/>
                  </a:lnTo>
                  <a:close/>
                  <a:moveTo>
                    <a:pt x="707320" y="531266"/>
                  </a:moveTo>
                  <a:cubicBezTo>
                    <a:pt x="761703" y="531060"/>
                    <a:pt x="807433" y="592034"/>
                    <a:pt x="809287" y="623345"/>
                  </a:cubicBezTo>
                  <a:cubicBezTo>
                    <a:pt x="811106" y="654060"/>
                    <a:pt x="809356" y="690723"/>
                    <a:pt x="809313" y="724582"/>
                  </a:cubicBezTo>
                  <a:lnTo>
                    <a:pt x="596682" y="724582"/>
                  </a:lnTo>
                  <a:cubicBezTo>
                    <a:pt x="596639" y="691338"/>
                    <a:pt x="595085" y="670420"/>
                    <a:pt x="596701" y="623345"/>
                  </a:cubicBezTo>
                  <a:cubicBezTo>
                    <a:pt x="598349" y="575348"/>
                    <a:pt x="652938" y="531471"/>
                    <a:pt x="707320" y="531266"/>
                  </a:cubicBezTo>
                  <a:close/>
                  <a:moveTo>
                    <a:pt x="704848" y="461434"/>
                  </a:moveTo>
                  <a:cubicBezTo>
                    <a:pt x="617919" y="461846"/>
                    <a:pt x="529547" y="530648"/>
                    <a:pt x="529960" y="622727"/>
                  </a:cubicBezTo>
                  <a:lnTo>
                    <a:pt x="529960" y="725226"/>
                  </a:lnTo>
                  <a:cubicBezTo>
                    <a:pt x="496208" y="728119"/>
                    <a:pt x="469840" y="756526"/>
                    <a:pt x="469840" y="791091"/>
                  </a:cubicBezTo>
                  <a:lnTo>
                    <a:pt x="469840" y="1057120"/>
                  </a:lnTo>
                  <a:cubicBezTo>
                    <a:pt x="469840" y="1093852"/>
                    <a:pt x="499617" y="1123629"/>
                    <a:pt x="536349" y="1123629"/>
                  </a:cubicBezTo>
                  <a:lnTo>
                    <a:pt x="871343" y="1123629"/>
                  </a:lnTo>
                  <a:cubicBezTo>
                    <a:pt x="908075" y="1123629"/>
                    <a:pt x="937852" y="1093852"/>
                    <a:pt x="937852" y="1057120"/>
                  </a:cubicBezTo>
                  <a:lnTo>
                    <a:pt x="937852" y="791091"/>
                  </a:lnTo>
                  <a:cubicBezTo>
                    <a:pt x="937852" y="755520"/>
                    <a:pt x="909928" y="726472"/>
                    <a:pt x="874792" y="724930"/>
                  </a:cubicBezTo>
                  <a:cubicBezTo>
                    <a:pt x="874789" y="692087"/>
                    <a:pt x="874589" y="709210"/>
                    <a:pt x="874793" y="623345"/>
                  </a:cubicBezTo>
                  <a:cubicBezTo>
                    <a:pt x="874999" y="536621"/>
                    <a:pt x="791778" y="461022"/>
                    <a:pt x="704848" y="461434"/>
                  </a:cubicBezTo>
                  <a:close/>
                  <a:moveTo>
                    <a:pt x="695394" y="0"/>
                  </a:moveTo>
                  <a:cubicBezTo>
                    <a:pt x="895720" y="148883"/>
                    <a:pt x="1163791" y="186000"/>
                    <a:pt x="1407693" y="200525"/>
                  </a:cubicBezTo>
                  <a:cubicBezTo>
                    <a:pt x="1390747" y="285861"/>
                    <a:pt x="1461517" y="1376262"/>
                    <a:pt x="694708" y="1585061"/>
                  </a:cubicBezTo>
                  <a:cubicBezTo>
                    <a:pt x="23523" y="1327239"/>
                    <a:pt x="4842" y="669975"/>
                    <a:pt x="0" y="196090"/>
                  </a:cubicBezTo>
                  <a:cubicBezTo>
                    <a:pt x="235429" y="194275"/>
                    <a:pt x="456333" y="161593"/>
                    <a:pt x="695394"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04" tIns="44802" rIns="44802" bIns="89604" numCol="1" spcCol="0" rtlCol="0" fromWordArt="0" anchor="b" anchorCtr="0" forceAA="0" compatLnSpc="1">
              <a:prstTxWarp prst="textNoShape">
                <a:avLst/>
              </a:prstTxWarp>
              <a:noAutofit/>
            </a:bodyPr>
            <a:lstStyle/>
            <a:p>
              <a:pPr algn="ctr" defTabSz="895688" fontAlgn="base">
                <a:spcBef>
                  <a:spcPct val="0"/>
                </a:spcBef>
                <a:spcAft>
                  <a:spcPct val="0"/>
                </a:spcAft>
                <a:defRPr/>
              </a:pPr>
              <a:endParaRPr lang="en-US" sz="900" kern="0" spc="-49">
                <a:solidFill>
                  <a:srgbClr val="FFFFFF"/>
                </a:solidFill>
                <a:latin typeface="Segoe UI Semilight"/>
                <a:ea typeface="Segoe UI" pitchFamily="34" charset="0"/>
                <a:cs typeface="Segoe UI" pitchFamily="34" charset="0"/>
              </a:endParaRPr>
            </a:p>
          </p:txBody>
        </p:sp>
        <p:sp>
          <p:nvSpPr>
            <p:cNvPr id="44" name="Rectangle 43"/>
            <p:cNvSpPr/>
            <p:nvPr/>
          </p:nvSpPr>
          <p:spPr>
            <a:xfrm>
              <a:off x="589903" y="5847711"/>
              <a:ext cx="2103120" cy="735497"/>
            </a:xfrm>
            <a:prstGeom prst="rect">
              <a:avLst/>
            </a:prstGeom>
            <a:solidFill>
              <a:srgbClr val="0070C0"/>
            </a:solidFill>
          </p:spPr>
          <p:txBody>
            <a:bodyPr wrap="square" tIns="89642" bIns="89642" anchor="ctr">
              <a:noAutofit/>
            </a:bodyPr>
            <a:lstStyle/>
            <a:p>
              <a:pPr algn="ctr" defTabSz="914228">
                <a:defRPr/>
              </a:pPr>
              <a:r>
                <a:rPr lang="en-US" sz="1372">
                  <a:solidFill>
                    <a:srgbClr val="FFFFFF"/>
                  </a:solidFill>
                  <a:latin typeface="Segoe UI Semilight"/>
                  <a:cs typeface="Segoe UI Semibold" panose="020B0702040204020203" pitchFamily="34" charset="0"/>
                </a:rPr>
                <a:t>Secure hardware attestation for constrained devices</a:t>
              </a:r>
            </a:p>
          </p:txBody>
        </p:sp>
      </p:grpSp>
      <p:grpSp>
        <p:nvGrpSpPr>
          <p:cNvPr id="21" name="Group 20"/>
          <p:cNvGrpSpPr/>
          <p:nvPr/>
        </p:nvGrpSpPr>
        <p:grpSpPr>
          <a:xfrm>
            <a:off x="7311034" y="4134958"/>
            <a:ext cx="2061777" cy="2319325"/>
            <a:chOff x="7457635" y="4217376"/>
            <a:chExt cx="2103120" cy="2365832"/>
          </a:xfrm>
        </p:grpSpPr>
        <p:sp>
          <p:nvSpPr>
            <p:cNvPr id="48" name="Rectangle 47"/>
            <p:cNvSpPr/>
            <p:nvPr/>
          </p:nvSpPr>
          <p:spPr>
            <a:xfrm>
              <a:off x="7457635" y="4217376"/>
              <a:ext cx="2103120" cy="2365832"/>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89642" rIns="182854" bIns="91427" rtlCol="0" anchor="t"/>
            <a:lstStyle/>
            <a:p>
              <a:pPr algn="ctr" defTabSz="913924" fontAlgn="base">
                <a:spcBef>
                  <a:spcPct val="0"/>
                </a:spcBef>
                <a:spcAft>
                  <a:spcPct val="0"/>
                </a:spcAft>
                <a:defRPr/>
              </a:pPr>
              <a:r>
                <a:rPr lang="en-US" dirty="0">
                  <a:solidFill>
                    <a:srgbClr val="0078D7"/>
                  </a:solidFill>
                  <a:latin typeface="Segoe UI Light"/>
                  <a:ea typeface="Segoe UI" pitchFamily="34" charset="0"/>
                  <a:cs typeface="Segoe UI" pitchFamily="34" charset="0"/>
                </a:rPr>
                <a:t>Azure Stream Analytics for Edge</a:t>
              </a:r>
            </a:p>
          </p:txBody>
        </p:sp>
        <p:grpSp>
          <p:nvGrpSpPr>
            <p:cNvPr id="49" name="Group 48"/>
            <p:cNvGrpSpPr>
              <a:grpSpLocks noChangeAspect="1"/>
            </p:cNvGrpSpPr>
            <p:nvPr/>
          </p:nvGrpSpPr>
          <p:grpSpPr>
            <a:xfrm>
              <a:off x="8233775" y="5125972"/>
              <a:ext cx="550840" cy="548640"/>
              <a:chOff x="-7378143" y="58666"/>
              <a:chExt cx="6534212" cy="6508134"/>
            </a:xfrm>
          </p:grpSpPr>
          <p:sp>
            <p:nvSpPr>
              <p:cNvPr id="50" name="Freeform 175"/>
              <p:cNvSpPr/>
              <p:nvPr/>
            </p:nvSpPr>
            <p:spPr>
              <a:xfrm rot="1800000">
                <a:off x="-7378143" y="58666"/>
                <a:ext cx="6534212" cy="6508134"/>
              </a:xfrm>
              <a:custGeom>
                <a:avLst/>
                <a:gdLst>
                  <a:gd name="connsiteX0" fmla="*/ 1204549 w 6534212"/>
                  <a:gd name="connsiteY0" fmla="*/ 1045491 h 6508134"/>
                  <a:gd name="connsiteX1" fmla="*/ 1475161 w 6534212"/>
                  <a:gd name="connsiteY1" fmla="*/ 962831 h 6508134"/>
                  <a:gd name="connsiteX2" fmla="*/ 2238177 w 6534212"/>
                  <a:gd name="connsiteY2" fmla="*/ 962831 h 6508134"/>
                  <a:gd name="connsiteX3" fmla="*/ 3793396 w 6534212"/>
                  <a:gd name="connsiteY3" fmla="*/ 64925 h 6508134"/>
                  <a:gd name="connsiteX4" fmla="*/ 4454559 w 6534212"/>
                  <a:gd name="connsiteY4" fmla="*/ 242083 h 6508134"/>
                  <a:gd name="connsiteX5" fmla="*/ 4870683 w 6534212"/>
                  <a:gd name="connsiteY5" fmla="*/ 962831 h 6508134"/>
                  <a:gd name="connsiteX6" fmla="*/ 5575864 w 6534212"/>
                  <a:gd name="connsiteY6" fmla="*/ 962831 h 6508134"/>
                  <a:gd name="connsiteX7" fmla="*/ 6059869 w 6534212"/>
                  <a:gd name="connsiteY7" fmla="*/ 1446836 h 6508134"/>
                  <a:gd name="connsiteX8" fmla="*/ 6059869 w 6534212"/>
                  <a:gd name="connsiteY8" fmla="*/ 3022561 h 6508134"/>
                  <a:gd name="connsiteX9" fmla="*/ 6469287 w 6534212"/>
                  <a:gd name="connsiteY9" fmla="*/ 3731694 h 6508134"/>
                  <a:gd name="connsiteX10" fmla="*/ 6292129 w 6534212"/>
                  <a:gd name="connsiteY10" fmla="*/ 4392857 h 6508134"/>
                  <a:gd name="connsiteX11" fmla="*/ 6059869 w 6534212"/>
                  <a:gd name="connsiteY11" fmla="*/ 4526953 h 6508134"/>
                  <a:gd name="connsiteX12" fmla="*/ 6059869 w 6534212"/>
                  <a:gd name="connsiteY12" fmla="*/ 5476292 h 6508134"/>
                  <a:gd name="connsiteX13" fmla="*/ 5575864 w 6534212"/>
                  <a:gd name="connsiteY13" fmla="*/ 5960297 h 6508134"/>
                  <a:gd name="connsiteX14" fmla="*/ 3577244 w 6534212"/>
                  <a:gd name="connsiteY14" fmla="*/ 5960297 h 6508134"/>
                  <a:gd name="connsiteX15" fmla="*/ 2740816 w 6534212"/>
                  <a:gd name="connsiteY15" fmla="*/ 6443209 h 6508134"/>
                  <a:gd name="connsiteX16" fmla="*/ 2079653 w 6534212"/>
                  <a:gd name="connsiteY16" fmla="*/ 6266051 h 6508134"/>
                  <a:gd name="connsiteX17" fmla="*/ 1903126 w 6534212"/>
                  <a:gd name="connsiteY17" fmla="*/ 5960297 h 6508134"/>
                  <a:gd name="connsiteX18" fmla="*/ 1475161 w 6534212"/>
                  <a:gd name="connsiteY18" fmla="*/ 5960297 h 6508134"/>
                  <a:gd name="connsiteX19" fmla="*/ 991156 w 6534212"/>
                  <a:gd name="connsiteY19" fmla="*/ 5476292 h 6508134"/>
                  <a:gd name="connsiteX20" fmla="*/ 991156 w 6534212"/>
                  <a:gd name="connsiteY20" fmla="*/ 4380719 h 6508134"/>
                  <a:gd name="connsiteX21" fmla="*/ 64925 w 6534212"/>
                  <a:gd name="connsiteY21" fmla="*/ 2776440 h 6508134"/>
                  <a:gd name="connsiteX22" fmla="*/ 242083 w 6534212"/>
                  <a:gd name="connsiteY22" fmla="*/ 2115276 h 6508134"/>
                  <a:gd name="connsiteX23" fmla="*/ 991156 w 6534212"/>
                  <a:gd name="connsiteY23" fmla="*/ 1682799 h 6508134"/>
                  <a:gd name="connsiteX24" fmla="*/ 991156 w 6534212"/>
                  <a:gd name="connsiteY24" fmla="*/ 1446836 h 6508134"/>
                  <a:gd name="connsiteX25" fmla="*/ 1204549 w 6534212"/>
                  <a:gd name="connsiteY25" fmla="*/ 1045491 h 650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34212" h="6508134">
                    <a:moveTo>
                      <a:pt x="1204549" y="1045491"/>
                    </a:moveTo>
                    <a:cubicBezTo>
                      <a:pt x="1281797" y="993304"/>
                      <a:pt x="1374920" y="962831"/>
                      <a:pt x="1475161" y="962831"/>
                    </a:cubicBezTo>
                    <a:lnTo>
                      <a:pt x="2238177" y="962831"/>
                    </a:lnTo>
                    <a:lnTo>
                      <a:pt x="3793396" y="64925"/>
                    </a:lnTo>
                    <a:cubicBezTo>
                      <a:pt x="4024892" y="-68730"/>
                      <a:pt x="4320905" y="10587"/>
                      <a:pt x="4454559" y="242083"/>
                    </a:cubicBezTo>
                    <a:lnTo>
                      <a:pt x="4870683" y="962831"/>
                    </a:lnTo>
                    <a:lnTo>
                      <a:pt x="5575864" y="962831"/>
                    </a:lnTo>
                    <a:cubicBezTo>
                      <a:pt x="5843173" y="962831"/>
                      <a:pt x="6059869" y="1179527"/>
                      <a:pt x="6059869" y="1446836"/>
                    </a:cubicBezTo>
                    <a:lnTo>
                      <a:pt x="6059869" y="3022561"/>
                    </a:lnTo>
                    <a:lnTo>
                      <a:pt x="6469287" y="3731694"/>
                    </a:lnTo>
                    <a:cubicBezTo>
                      <a:pt x="6602942" y="3963191"/>
                      <a:pt x="6523625" y="4259203"/>
                      <a:pt x="6292129" y="4392857"/>
                    </a:cubicBezTo>
                    <a:lnTo>
                      <a:pt x="6059869" y="4526953"/>
                    </a:lnTo>
                    <a:lnTo>
                      <a:pt x="6059869" y="5476292"/>
                    </a:lnTo>
                    <a:cubicBezTo>
                      <a:pt x="6059869" y="5743601"/>
                      <a:pt x="5843173" y="5960297"/>
                      <a:pt x="5575864" y="5960297"/>
                    </a:cubicBezTo>
                    <a:lnTo>
                      <a:pt x="3577244" y="5960297"/>
                    </a:lnTo>
                    <a:lnTo>
                      <a:pt x="2740816" y="6443209"/>
                    </a:lnTo>
                    <a:cubicBezTo>
                      <a:pt x="2509320" y="6576863"/>
                      <a:pt x="2213307" y="6497547"/>
                      <a:pt x="2079653" y="6266051"/>
                    </a:cubicBezTo>
                    <a:lnTo>
                      <a:pt x="1903126" y="5960297"/>
                    </a:lnTo>
                    <a:lnTo>
                      <a:pt x="1475161" y="5960297"/>
                    </a:lnTo>
                    <a:cubicBezTo>
                      <a:pt x="1207852" y="5960297"/>
                      <a:pt x="991156" y="5743601"/>
                      <a:pt x="991156" y="5476292"/>
                    </a:cubicBezTo>
                    <a:lnTo>
                      <a:pt x="991156" y="4380719"/>
                    </a:lnTo>
                    <a:lnTo>
                      <a:pt x="64925" y="2776440"/>
                    </a:lnTo>
                    <a:cubicBezTo>
                      <a:pt x="-68730" y="2544943"/>
                      <a:pt x="10587" y="2248931"/>
                      <a:pt x="242083" y="2115276"/>
                    </a:cubicBezTo>
                    <a:lnTo>
                      <a:pt x="991156" y="1682799"/>
                    </a:lnTo>
                    <a:lnTo>
                      <a:pt x="991156" y="1446836"/>
                    </a:lnTo>
                    <a:cubicBezTo>
                      <a:pt x="991156" y="1279768"/>
                      <a:pt x="1075803" y="1132471"/>
                      <a:pt x="1204549" y="1045491"/>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ounded Rectangle 176"/>
              <p:cNvSpPr/>
              <p:nvPr/>
            </p:nvSpPr>
            <p:spPr>
              <a:xfrm>
                <a:off x="-6313045" y="1093450"/>
                <a:ext cx="4587344" cy="4438532"/>
              </a:xfrm>
              <a:prstGeom prst="roundRect">
                <a:avLst>
                  <a:gd name="adj" fmla="val 5282"/>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4228">
                  <a:defRPr/>
                </a:pPr>
                <a:endParaRPr lang="en-US" sz="1176" err="1">
                  <a:solidFill>
                    <a:srgbClr val="FFFFFF"/>
                  </a:solidFill>
                  <a:latin typeface="Segoe UI Semilight"/>
                </a:endParaRPr>
              </a:p>
            </p:txBody>
          </p:sp>
          <p:sp>
            <p:nvSpPr>
              <p:cNvPr id="52" name="Freeform 864"/>
              <p:cNvSpPr>
                <a:spLocks noChangeAspect="1"/>
              </p:cNvSpPr>
              <p:nvPr/>
            </p:nvSpPr>
            <p:spPr bwMode="auto">
              <a:xfrm>
                <a:off x="-4946117" y="1626756"/>
                <a:ext cx="1670160" cy="3371943"/>
              </a:xfrm>
              <a:custGeom>
                <a:avLst/>
                <a:gdLst>
                  <a:gd name="T0" fmla="*/ 230 w 317"/>
                  <a:gd name="T1" fmla="*/ 0 h 640"/>
                  <a:gd name="T2" fmla="*/ 173 w 317"/>
                  <a:gd name="T3" fmla="*/ 256 h 640"/>
                  <a:gd name="T4" fmla="*/ 317 w 317"/>
                  <a:gd name="T5" fmla="*/ 256 h 640"/>
                  <a:gd name="T6" fmla="*/ 82 w 317"/>
                  <a:gd name="T7" fmla="*/ 640 h 640"/>
                  <a:gd name="T8" fmla="*/ 146 w 317"/>
                  <a:gd name="T9" fmla="*/ 344 h 640"/>
                  <a:gd name="T10" fmla="*/ 0 w 317"/>
                  <a:gd name="T11" fmla="*/ 342 h 640"/>
                  <a:gd name="T12" fmla="*/ 230 w 317"/>
                  <a:gd name="T13" fmla="*/ 0 h 640"/>
                </a:gdLst>
                <a:ahLst/>
                <a:cxnLst>
                  <a:cxn ang="0">
                    <a:pos x="T0" y="T1"/>
                  </a:cxn>
                  <a:cxn ang="0">
                    <a:pos x="T2" y="T3"/>
                  </a:cxn>
                  <a:cxn ang="0">
                    <a:pos x="T4" y="T5"/>
                  </a:cxn>
                  <a:cxn ang="0">
                    <a:pos x="T6" y="T7"/>
                  </a:cxn>
                  <a:cxn ang="0">
                    <a:pos x="T8" y="T9"/>
                  </a:cxn>
                  <a:cxn ang="0">
                    <a:pos x="T10" y="T11"/>
                  </a:cxn>
                  <a:cxn ang="0">
                    <a:pos x="T12" y="T13"/>
                  </a:cxn>
                </a:cxnLst>
                <a:rect l="0" t="0" r="r" b="b"/>
                <a:pathLst>
                  <a:path w="317" h="640">
                    <a:moveTo>
                      <a:pt x="230" y="0"/>
                    </a:moveTo>
                    <a:lnTo>
                      <a:pt x="173" y="256"/>
                    </a:lnTo>
                    <a:lnTo>
                      <a:pt x="317" y="256"/>
                    </a:lnTo>
                    <a:lnTo>
                      <a:pt x="82" y="640"/>
                    </a:lnTo>
                    <a:lnTo>
                      <a:pt x="146" y="344"/>
                    </a:lnTo>
                    <a:lnTo>
                      <a:pt x="0" y="342"/>
                    </a:lnTo>
                    <a:lnTo>
                      <a:pt x="230" y="0"/>
                    </a:lnTo>
                    <a:close/>
                  </a:path>
                </a:pathLst>
              </a:custGeom>
              <a:solidFill>
                <a:schemeClr val="accent1"/>
              </a:solidFill>
              <a:ln w="0">
                <a:noFill/>
                <a:prstDash val="solid"/>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a:solidFill>
                    <a:prstClr val="black"/>
                  </a:solidFill>
                  <a:latin typeface="Segoe UI Semilight"/>
                </a:endParaRPr>
              </a:p>
            </p:txBody>
          </p:sp>
        </p:grpSp>
        <p:sp>
          <p:nvSpPr>
            <p:cNvPr id="53" name="Rectangle 52"/>
            <p:cNvSpPr/>
            <p:nvPr/>
          </p:nvSpPr>
          <p:spPr>
            <a:xfrm>
              <a:off x="7457635" y="5847711"/>
              <a:ext cx="2103120" cy="735497"/>
            </a:xfrm>
            <a:prstGeom prst="rect">
              <a:avLst/>
            </a:prstGeom>
            <a:solidFill>
              <a:srgbClr val="0070C0"/>
            </a:solidFill>
          </p:spPr>
          <p:txBody>
            <a:bodyPr wrap="square" tIns="89642" bIns="89642" anchor="ctr">
              <a:noAutofit/>
            </a:bodyPr>
            <a:lstStyle/>
            <a:p>
              <a:pPr algn="ctr" defTabSz="914228">
                <a:defRPr/>
              </a:pPr>
              <a:r>
                <a:rPr lang="en-US" sz="1372">
                  <a:solidFill>
                    <a:srgbClr val="FFFFFF"/>
                  </a:solidFill>
                  <a:latin typeface="Segoe UI Semilight"/>
                  <a:cs typeface="Segoe UI Semibold" panose="020B0702040204020203" pitchFamily="34" charset="0"/>
                </a:rPr>
                <a:t>Complex event processing on Azure IoT Gateway SDK</a:t>
              </a:r>
            </a:p>
          </p:txBody>
        </p:sp>
      </p:grpSp>
      <p:grpSp>
        <p:nvGrpSpPr>
          <p:cNvPr id="23" name="Group 22"/>
          <p:cNvGrpSpPr/>
          <p:nvPr/>
        </p:nvGrpSpPr>
        <p:grpSpPr>
          <a:xfrm>
            <a:off x="5066793" y="1497468"/>
            <a:ext cx="2061778" cy="2319325"/>
            <a:chOff x="5168392" y="1526999"/>
            <a:chExt cx="2103121" cy="2365832"/>
          </a:xfrm>
        </p:grpSpPr>
        <p:sp>
          <p:nvSpPr>
            <p:cNvPr id="45" name="Rectangle 44"/>
            <p:cNvSpPr/>
            <p:nvPr/>
          </p:nvSpPr>
          <p:spPr>
            <a:xfrm>
              <a:off x="5168392" y="1526999"/>
              <a:ext cx="2103120" cy="2365828"/>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89642" rIns="182854" bIns="91427" rtlCol="0" anchor="t"/>
            <a:lstStyle/>
            <a:p>
              <a:pPr algn="ctr" defTabSz="913924" fontAlgn="base">
                <a:spcBef>
                  <a:spcPct val="0"/>
                </a:spcBef>
                <a:spcAft>
                  <a:spcPct val="0"/>
                </a:spcAft>
                <a:defRPr/>
              </a:pPr>
              <a:r>
                <a:rPr lang="en-US" dirty="0">
                  <a:solidFill>
                    <a:srgbClr val="0078D7"/>
                  </a:solidFill>
                  <a:latin typeface="Segoe UI Light"/>
                  <a:ea typeface="Segoe UI" pitchFamily="34" charset="0"/>
                  <a:cs typeface="Segoe UI" pitchFamily="34" charset="0"/>
                </a:rPr>
                <a:t>Azure IoT Hub Device Provisioning</a:t>
              </a:r>
            </a:p>
          </p:txBody>
        </p:sp>
        <p:sp>
          <p:nvSpPr>
            <p:cNvPr id="47" name="Rectangle 46"/>
            <p:cNvSpPr/>
            <p:nvPr/>
          </p:nvSpPr>
          <p:spPr>
            <a:xfrm>
              <a:off x="5168392" y="3157334"/>
              <a:ext cx="2103121" cy="735497"/>
            </a:xfrm>
            <a:prstGeom prst="rect">
              <a:avLst/>
            </a:prstGeom>
            <a:solidFill>
              <a:srgbClr val="0070C0"/>
            </a:solidFill>
          </p:spPr>
          <p:txBody>
            <a:bodyPr wrap="square" tIns="89642" bIns="89642" anchor="ctr">
              <a:noAutofit/>
            </a:bodyPr>
            <a:lstStyle/>
            <a:p>
              <a:pPr algn="ctr" defTabSz="914228">
                <a:defRPr/>
              </a:pPr>
              <a:r>
                <a:rPr lang="en-US" sz="1372" dirty="0">
                  <a:solidFill>
                    <a:srgbClr val="FFFFFF"/>
                  </a:solidFill>
                  <a:latin typeface="Segoe UI Semilight"/>
                  <a:cs typeface="Segoe UI Semibold" panose="020B0702040204020203" pitchFamily="34" charset="0"/>
                </a:rPr>
                <a:t>Cross platform and fully extensible at scale</a:t>
              </a:r>
            </a:p>
          </p:txBody>
        </p:sp>
        <p:sp>
          <p:nvSpPr>
            <p:cNvPr id="66" name="Freeform 65"/>
            <p:cNvSpPr>
              <a:spLocks noChangeAspect="1"/>
            </p:cNvSpPr>
            <p:nvPr/>
          </p:nvSpPr>
          <p:spPr bwMode="auto">
            <a:xfrm rot="5280000">
              <a:off x="6020431" y="2456209"/>
              <a:ext cx="399042" cy="507408"/>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70" fontAlgn="base">
                <a:spcBef>
                  <a:spcPct val="0"/>
                </a:spcBef>
                <a:spcAft>
                  <a:spcPct val="0"/>
                </a:spcAft>
                <a:defRPr/>
              </a:pPr>
              <a:endParaRPr lang="en-US" sz="2000">
                <a:gradFill>
                  <a:gsLst>
                    <a:gs pos="5417">
                      <a:srgbClr val="505050"/>
                    </a:gs>
                    <a:gs pos="100000">
                      <a:srgbClr val="505050"/>
                    </a:gs>
                  </a:gsLst>
                  <a:lin ang="5400000" scaled="0"/>
                </a:gradFill>
                <a:latin typeface="Segoe UI"/>
              </a:endParaRPr>
            </a:p>
          </p:txBody>
        </p:sp>
      </p:grpSp>
      <p:grpSp>
        <p:nvGrpSpPr>
          <p:cNvPr id="22" name="Group 21"/>
          <p:cNvGrpSpPr/>
          <p:nvPr/>
        </p:nvGrpSpPr>
        <p:grpSpPr>
          <a:xfrm>
            <a:off x="5066792" y="4134958"/>
            <a:ext cx="2061777" cy="2319325"/>
            <a:chOff x="5168391" y="4217376"/>
            <a:chExt cx="2103120" cy="2365832"/>
          </a:xfrm>
        </p:grpSpPr>
        <p:sp>
          <p:nvSpPr>
            <p:cNvPr id="57" name="Rectangle 56"/>
            <p:cNvSpPr/>
            <p:nvPr/>
          </p:nvSpPr>
          <p:spPr>
            <a:xfrm>
              <a:off x="5168391" y="4217376"/>
              <a:ext cx="2103120" cy="2365830"/>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89642" rIns="182854" bIns="91427" rtlCol="0" anchor="t"/>
            <a:lstStyle/>
            <a:p>
              <a:pPr algn="ctr" defTabSz="913924" fontAlgn="base">
                <a:spcBef>
                  <a:spcPct val="0"/>
                </a:spcBef>
                <a:spcAft>
                  <a:spcPct val="0"/>
                </a:spcAft>
                <a:defRPr/>
              </a:pPr>
              <a:r>
                <a:rPr lang="en-US" dirty="0">
                  <a:solidFill>
                    <a:srgbClr val="0078D7"/>
                  </a:solidFill>
                  <a:latin typeface="Segoe UI Light"/>
                  <a:ea typeface="Segoe UI" pitchFamily="34" charset="0"/>
                  <a:cs typeface="Segoe UI" pitchFamily="34" charset="0"/>
                </a:rPr>
                <a:t>Azure </a:t>
              </a:r>
              <a:r>
                <a:rPr lang="en-US" dirty="0" err="1">
                  <a:solidFill>
                    <a:srgbClr val="0078D7"/>
                  </a:solidFill>
                  <a:latin typeface="Segoe UI Light"/>
                  <a:ea typeface="Segoe UI" pitchFamily="34" charset="0"/>
                  <a:cs typeface="Segoe UI" pitchFamily="34" charset="0"/>
                </a:rPr>
                <a:t>IoT</a:t>
              </a:r>
              <a:r>
                <a:rPr lang="en-US" dirty="0">
                  <a:solidFill>
                    <a:srgbClr val="0078D7"/>
                  </a:solidFill>
                  <a:latin typeface="Segoe UI Light"/>
                  <a:ea typeface="Segoe UI" pitchFamily="34" charset="0"/>
                  <a:cs typeface="Segoe UI" pitchFamily="34" charset="0"/>
                </a:rPr>
                <a:t> </a:t>
              </a:r>
              <a:r>
                <a:rPr lang="en-US">
                  <a:solidFill>
                    <a:srgbClr val="0078D7"/>
                  </a:solidFill>
                  <a:latin typeface="Segoe UI Light"/>
                  <a:ea typeface="Segoe UI" pitchFamily="34" charset="0"/>
                  <a:cs typeface="Segoe UI" pitchFamily="34" charset="0"/>
                </a:rPr>
                <a:t>Suite connected </a:t>
              </a:r>
              <a:r>
                <a:rPr lang="en-US" dirty="0">
                  <a:solidFill>
                    <a:srgbClr val="0078D7"/>
                  </a:solidFill>
                  <a:latin typeface="Segoe UI Light"/>
                  <a:ea typeface="Segoe UI" pitchFamily="34" charset="0"/>
                  <a:cs typeface="Segoe UI" pitchFamily="34" charset="0"/>
                </a:rPr>
                <a:t>factory</a:t>
              </a:r>
            </a:p>
          </p:txBody>
        </p:sp>
        <p:sp>
          <p:nvSpPr>
            <p:cNvPr id="65" name="Rectangle 64"/>
            <p:cNvSpPr/>
            <p:nvPr/>
          </p:nvSpPr>
          <p:spPr>
            <a:xfrm>
              <a:off x="5168391" y="5847711"/>
              <a:ext cx="2103120" cy="735497"/>
            </a:xfrm>
            <a:prstGeom prst="rect">
              <a:avLst/>
            </a:prstGeom>
            <a:solidFill>
              <a:srgbClr val="0070C0"/>
            </a:solidFill>
          </p:spPr>
          <p:txBody>
            <a:bodyPr wrap="square" tIns="89642" bIns="89642" anchor="ctr">
              <a:noAutofit/>
            </a:bodyPr>
            <a:lstStyle/>
            <a:p>
              <a:pPr algn="ctr" defTabSz="914228">
                <a:defRPr/>
              </a:pPr>
              <a:r>
                <a:rPr lang="en-US" sz="1372">
                  <a:solidFill>
                    <a:srgbClr val="FFFFFF"/>
                  </a:solidFill>
                  <a:latin typeface="Segoe UI Semilight"/>
                  <a:cs typeface="Segoe UI Semibold" panose="020B0702040204020203" pitchFamily="34" charset="0"/>
                </a:rPr>
                <a:t>Pre-configured Solution for Insights from OPC installations</a:t>
              </a:r>
            </a:p>
          </p:txBody>
        </p:sp>
        <p:grpSp>
          <p:nvGrpSpPr>
            <p:cNvPr id="77" name="Group 76"/>
            <p:cNvGrpSpPr/>
            <p:nvPr/>
          </p:nvGrpSpPr>
          <p:grpSpPr>
            <a:xfrm>
              <a:off x="5944433" y="5169588"/>
              <a:ext cx="551036" cy="461407"/>
              <a:chOff x="-2530484" y="585787"/>
              <a:chExt cx="1119191" cy="911228"/>
            </a:xfrm>
            <a:solidFill>
              <a:srgbClr val="0072C6"/>
            </a:solidFill>
          </p:grpSpPr>
          <p:sp>
            <p:nvSpPr>
              <p:cNvPr id="78" name="Freeform 77"/>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79" name="Freeform 78"/>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80" name="Freeform 79"/>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81" name="Freeform 80"/>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82" name="Freeform 81"/>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sp>
            <p:nvSpPr>
              <p:cNvPr id="83" name="Freeform 82"/>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noFill/>
                <a:round/>
                <a:headEnd/>
                <a:tailEnd/>
              </a:ln>
              <a:extLst/>
            </p:spPr>
            <p:txBody>
              <a:bodyPr vert="horz" wrap="square" lIns="89592" tIns="44796" rIns="89592" bIns="44796"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13665">
                  <a:defRPr/>
                </a:pPr>
                <a:endParaRPr lang="en-US" sz="1400" kern="0">
                  <a:solidFill>
                    <a:srgbClr val="FFFFFF"/>
                  </a:solidFill>
                  <a:latin typeface="Segoe UI"/>
                </a:endParaRPr>
              </a:p>
            </p:txBody>
          </p:sp>
        </p:grpSp>
      </p:grpSp>
      <p:grpSp>
        <p:nvGrpSpPr>
          <p:cNvPr id="19" name="Group 18"/>
          <p:cNvGrpSpPr/>
          <p:nvPr/>
        </p:nvGrpSpPr>
        <p:grpSpPr>
          <a:xfrm>
            <a:off x="9555277" y="4134958"/>
            <a:ext cx="2061777" cy="2319325"/>
            <a:chOff x="9746880" y="4217376"/>
            <a:chExt cx="2103120" cy="2365832"/>
          </a:xfrm>
        </p:grpSpPr>
        <p:sp>
          <p:nvSpPr>
            <p:cNvPr id="54" name="Rectangle 53"/>
            <p:cNvSpPr/>
            <p:nvPr/>
          </p:nvSpPr>
          <p:spPr>
            <a:xfrm>
              <a:off x="9746880" y="4217376"/>
              <a:ext cx="2103120" cy="2365832"/>
            </a:xfrm>
            <a:prstGeom prst="rect">
              <a:avLst/>
            </a:prstGeom>
            <a:solidFill>
              <a:schemeClr val="bg1"/>
            </a:solidFill>
            <a:ln w="3175">
              <a:solidFill>
                <a:schemeClr val="accent1"/>
              </a:solidFill>
            </a:ln>
          </p:spPr>
          <p:style>
            <a:lnRef idx="1">
              <a:schemeClr val="dk1"/>
            </a:lnRef>
            <a:fillRef idx="0">
              <a:schemeClr val="dk1"/>
            </a:fillRef>
            <a:effectRef idx="0">
              <a:schemeClr val="dk1"/>
            </a:effectRef>
            <a:fontRef idx="minor">
              <a:schemeClr val="tx1"/>
            </a:fontRef>
          </p:style>
          <p:txBody>
            <a:bodyPr lIns="179285" tIns="179285" rIns="182854" bIns="91427" rtlCol="0" anchor="t"/>
            <a:lstStyle/>
            <a:p>
              <a:pPr algn="ctr" defTabSz="913924" fontAlgn="base">
                <a:spcBef>
                  <a:spcPct val="0"/>
                </a:spcBef>
                <a:spcAft>
                  <a:spcPct val="0"/>
                </a:spcAft>
                <a:defRPr/>
              </a:pPr>
              <a:r>
                <a:rPr lang="en-US">
                  <a:solidFill>
                    <a:srgbClr val="0078D7"/>
                  </a:solidFill>
                  <a:latin typeface="Segoe UI Light"/>
                  <a:ea typeface="Segoe UI" pitchFamily="34" charset="0"/>
                  <a:cs typeface="Segoe UI" pitchFamily="34" charset="0"/>
                </a:rPr>
                <a:t>Azure Time Series Insights</a:t>
              </a:r>
            </a:p>
          </p:txBody>
        </p:sp>
        <p:sp>
          <p:nvSpPr>
            <p:cNvPr id="56" name="Rectangle 55"/>
            <p:cNvSpPr/>
            <p:nvPr/>
          </p:nvSpPr>
          <p:spPr>
            <a:xfrm>
              <a:off x="9746880" y="5847711"/>
              <a:ext cx="2103120" cy="735497"/>
            </a:xfrm>
            <a:prstGeom prst="rect">
              <a:avLst/>
            </a:prstGeom>
            <a:solidFill>
              <a:srgbClr val="0070C0"/>
            </a:solidFill>
          </p:spPr>
          <p:txBody>
            <a:bodyPr wrap="square" tIns="89642" bIns="89642" anchor="ctr">
              <a:noAutofit/>
            </a:bodyPr>
            <a:lstStyle/>
            <a:p>
              <a:pPr algn="ctr" defTabSz="914228">
                <a:defRPr/>
              </a:pPr>
              <a:r>
                <a:rPr lang="en-US" sz="1372" dirty="0">
                  <a:solidFill>
                    <a:srgbClr val="FFFFFF"/>
                  </a:solidFill>
                  <a:latin typeface="Segoe UI Semilight"/>
                  <a:cs typeface="Segoe UI Semibold" panose="020B0702040204020203" pitchFamily="34" charset="0"/>
                </a:rPr>
                <a:t>Fully managed Time Series Store and UX</a:t>
              </a:r>
            </a:p>
          </p:txBody>
        </p:sp>
        <p:pic>
          <p:nvPicPr>
            <p:cNvPr id="18" name="Picture 17"/>
            <p:cNvPicPr>
              <a:picLocks noChangeAspect="1"/>
            </p:cNvPicPr>
            <p:nvPr/>
          </p:nvPicPr>
          <p:blipFill>
            <a:blip r:embed="rId3"/>
            <a:stretch>
              <a:fillRect/>
            </a:stretch>
          </p:blipFill>
          <p:spPr>
            <a:xfrm>
              <a:off x="10426596" y="5087605"/>
              <a:ext cx="743689" cy="625375"/>
            </a:xfrm>
            <a:prstGeom prst="rect">
              <a:avLst/>
            </a:prstGeom>
          </p:spPr>
        </p:pic>
      </p:grpSp>
    </p:spTree>
    <p:extLst>
      <p:ext uri="{BB962C8B-B14F-4D97-AF65-F5344CB8AC3E}">
        <p14:creationId xmlns:p14="http://schemas.microsoft.com/office/powerpoint/2010/main" val="296986886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42" presetClass="path" presetSubtype="0" accel="50000" decel="50000" fill="hold" nodeType="withEffect">
                                  <p:stCondLst>
                                    <p:cond delay="0"/>
                                  </p:stCondLst>
                                  <p:childTnLst>
                                    <p:animMotion origin="layout" path="M 1.23309E-6 3.76305E-6 L 1.23309E-6 0.03926 " pathEditMode="relative" rAng="0" ptsTypes="AA">
                                      <p:cBhvr>
                                        <p:cTn id="9" dur="500" spd="-100000" fill="hold"/>
                                        <p:tgtEl>
                                          <p:spTgt spid="27"/>
                                        </p:tgtEl>
                                        <p:attrNameLst>
                                          <p:attrName>ppt_x</p:attrName>
                                          <p:attrName>ppt_y</p:attrName>
                                        </p:attrNameLst>
                                      </p:cBhvr>
                                      <p:rCtr x="0" y="1952"/>
                                    </p:animMotion>
                                  </p:childTnLst>
                                </p:cTn>
                              </p:par>
                              <p:par>
                                <p:cTn id="10" presetID="10" presetClass="entr" presetSubtype="0" fill="hold" nodeType="withEffect">
                                  <p:stCondLst>
                                    <p:cond delay="10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42" presetClass="path" presetSubtype="0" accel="50000" decel="50000" fill="hold" nodeType="withEffect">
                                  <p:stCondLst>
                                    <p:cond delay="100"/>
                                  </p:stCondLst>
                                  <p:childTnLst>
                                    <p:animMotion origin="layout" path="M 1.79219E-6 3.76305E-6 L 1.79219E-6 0.03926 " pathEditMode="relative" rAng="0" ptsTypes="AA">
                                      <p:cBhvr>
                                        <p:cTn id="14" dur="500" spd="-100000" fill="hold"/>
                                        <p:tgtEl>
                                          <p:spTgt spid="24"/>
                                        </p:tgtEl>
                                        <p:attrNameLst>
                                          <p:attrName>ppt_x</p:attrName>
                                          <p:attrName>ppt_y</p:attrName>
                                        </p:attrNameLst>
                                      </p:cBhvr>
                                      <p:rCtr x="0" y="1952"/>
                                    </p:animMotion>
                                  </p:childTnLst>
                                </p:cTn>
                              </p:par>
                              <p:par>
                                <p:cTn id="15" presetID="10" presetClass="entr" presetSubtype="0" fill="hold" nodeType="withEffect">
                                  <p:stCondLst>
                                    <p:cond delay="20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42" presetClass="path" presetSubtype="0" accel="50000" decel="50000" fill="hold" nodeType="withEffect">
                                  <p:stCondLst>
                                    <p:cond delay="200"/>
                                  </p:stCondLst>
                                  <p:childTnLst>
                                    <p:animMotion origin="layout" path="M 2.35129E-6 3.76305E-6 L 2.35129E-6 0.03699 " pathEditMode="relative" rAng="0" ptsTypes="AA">
                                      <p:cBhvr>
                                        <p:cTn id="19" dur="500" spd="-100000" fill="hold"/>
                                        <p:tgtEl>
                                          <p:spTgt spid="23"/>
                                        </p:tgtEl>
                                        <p:attrNameLst>
                                          <p:attrName>ppt_x</p:attrName>
                                          <p:attrName>ppt_y</p:attrName>
                                        </p:attrNameLst>
                                      </p:cBhvr>
                                      <p:rCtr x="0" y="1838"/>
                                    </p:animMotion>
                                  </p:childTnLst>
                                </p:cTn>
                              </p:par>
                              <p:par>
                                <p:cTn id="20" presetID="10" presetClass="entr" presetSubtype="0" fill="hold" nodeType="withEffect">
                                  <p:stCondLst>
                                    <p:cond delay="3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42" presetClass="path" presetSubtype="0" accel="50000" decel="50000" fill="hold" nodeType="withEffect">
                                  <p:stCondLst>
                                    <p:cond delay="300"/>
                                  </p:stCondLst>
                                  <p:childTnLst>
                                    <p:animMotion origin="layout" path="M 2.91039E-6 3.76305E-6 L 2.91039E-6 0.03699 " pathEditMode="relative" rAng="0" ptsTypes="AA">
                                      <p:cBhvr>
                                        <p:cTn id="24" dur="500" spd="-100000" fill="hold"/>
                                        <p:tgtEl>
                                          <p:spTgt spid="20"/>
                                        </p:tgtEl>
                                        <p:attrNameLst>
                                          <p:attrName>ppt_x</p:attrName>
                                          <p:attrName>ppt_y</p:attrName>
                                        </p:attrNameLst>
                                      </p:cBhvr>
                                      <p:rCtr x="0" y="1838"/>
                                    </p:animMotion>
                                  </p:childTnLst>
                                </p:cTn>
                              </p:par>
                              <p:par>
                                <p:cTn id="25" presetID="10" presetClass="entr" presetSubtype="0" fill="hold" nodeType="withEffect">
                                  <p:stCondLst>
                                    <p:cond delay="40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par>
                                <p:cTn id="28" presetID="42" presetClass="path" presetSubtype="0" accel="50000" decel="50000" fill="hold" nodeType="withEffect">
                                  <p:stCondLst>
                                    <p:cond delay="400"/>
                                  </p:stCondLst>
                                  <p:childTnLst>
                                    <p:animMotion origin="layout" path="M 3.46949E-6 3.76305E-6 L 3.46949E-6 0.03676 " pathEditMode="relative" rAng="0" ptsTypes="AA">
                                      <p:cBhvr>
                                        <p:cTn id="29" dur="500" spd="-100000" fill="hold"/>
                                        <p:tgtEl>
                                          <p:spTgt spid="17"/>
                                        </p:tgtEl>
                                        <p:attrNameLst>
                                          <p:attrName>ppt_x</p:attrName>
                                          <p:attrName>ppt_y</p:attrName>
                                        </p:attrNameLst>
                                      </p:cBhvr>
                                      <p:rCtr x="0" y="1838"/>
                                    </p:animMotion>
                                  </p:childTnLst>
                                </p:cTn>
                              </p:par>
                              <p:par>
                                <p:cTn id="30" presetID="10" presetClass="entr" presetSubtype="0" fill="hold" nodeType="withEffect">
                                  <p:stCondLst>
                                    <p:cond delay="5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64" presetClass="path" presetSubtype="0" accel="50000" decel="50000" fill="hold" nodeType="withEffect">
                                  <p:stCondLst>
                                    <p:cond delay="500"/>
                                  </p:stCondLst>
                                  <p:childTnLst>
                                    <p:animMotion origin="layout" path="M 1.23309E-6 1.08488E-6 L 1.23309E-6 -0.03927 " pathEditMode="relative" rAng="0" ptsTypes="AA">
                                      <p:cBhvr>
                                        <p:cTn id="34" dur="500" spd="-100000" fill="hold"/>
                                        <p:tgtEl>
                                          <p:spTgt spid="26"/>
                                        </p:tgtEl>
                                        <p:attrNameLst>
                                          <p:attrName>ppt_x</p:attrName>
                                          <p:attrName>ppt_y</p:attrName>
                                        </p:attrNameLst>
                                      </p:cBhvr>
                                      <p:rCtr x="0" y="-1975"/>
                                    </p:animMotion>
                                  </p:childTnLst>
                                </p:cTn>
                              </p:par>
                              <p:par>
                                <p:cTn id="35" presetID="10" presetClass="entr" presetSubtype="0" fill="hold" nodeType="withEffect">
                                  <p:stCondLst>
                                    <p:cond delay="600"/>
                                  </p:stCondLst>
                                  <p:childTnLst>
                                    <p:set>
                                      <p:cBhvr>
                                        <p:cTn id="36" dur="1" fill="hold">
                                          <p:stCondLst>
                                            <p:cond delay="0"/>
                                          </p:stCondLst>
                                        </p:cTn>
                                        <p:tgtEl>
                                          <p:spTgt spid="25"/>
                                        </p:tgtEl>
                                        <p:attrNameLst>
                                          <p:attrName>style.visibility</p:attrName>
                                        </p:attrNameLst>
                                      </p:cBhvr>
                                      <p:to>
                                        <p:strVal val="visible"/>
                                      </p:to>
                                    </p:set>
                                    <p:animEffect transition="in" filter="fade">
                                      <p:cBhvr>
                                        <p:cTn id="37" dur="500"/>
                                        <p:tgtEl>
                                          <p:spTgt spid="25"/>
                                        </p:tgtEl>
                                      </p:cBhvr>
                                    </p:animEffect>
                                  </p:childTnLst>
                                </p:cTn>
                              </p:par>
                              <p:par>
                                <p:cTn id="38" presetID="64" presetClass="path" presetSubtype="0" accel="50000" decel="50000" fill="hold" nodeType="withEffect">
                                  <p:stCondLst>
                                    <p:cond delay="600"/>
                                  </p:stCondLst>
                                  <p:childTnLst>
                                    <p:animMotion origin="layout" path="M 1.79219E-6 1.08488E-6 L 1.79219E-6 -0.03927 " pathEditMode="relative" rAng="0" ptsTypes="AA">
                                      <p:cBhvr>
                                        <p:cTn id="39" dur="500" spd="-100000" fill="hold"/>
                                        <p:tgtEl>
                                          <p:spTgt spid="25"/>
                                        </p:tgtEl>
                                        <p:attrNameLst>
                                          <p:attrName>ppt_x</p:attrName>
                                          <p:attrName>ppt_y</p:attrName>
                                        </p:attrNameLst>
                                      </p:cBhvr>
                                      <p:rCtr x="0" y="-1975"/>
                                    </p:animMotion>
                                  </p:childTnLst>
                                </p:cTn>
                              </p:par>
                              <p:par>
                                <p:cTn id="40" presetID="10" presetClass="entr" presetSubtype="0" fill="hold" nodeType="withEffect">
                                  <p:stCondLst>
                                    <p:cond delay="70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64" presetClass="path" presetSubtype="0" accel="50000" decel="50000" fill="hold" nodeType="withEffect">
                                  <p:stCondLst>
                                    <p:cond delay="700"/>
                                  </p:stCondLst>
                                  <p:childTnLst>
                                    <p:animMotion origin="layout" path="M 2.35129E-6 1.08488E-6 L 2.35129E-6 -0.03927 " pathEditMode="relative" rAng="0" ptsTypes="AA">
                                      <p:cBhvr>
                                        <p:cTn id="44" dur="500" spd="-100000" fill="hold"/>
                                        <p:tgtEl>
                                          <p:spTgt spid="22"/>
                                        </p:tgtEl>
                                        <p:attrNameLst>
                                          <p:attrName>ppt_x</p:attrName>
                                          <p:attrName>ppt_y</p:attrName>
                                        </p:attrNameLst>
                                      </p:cBhvr>
                                      <p:rCtr x="0" y="-1975"/>
                                    </p:animMotion>
                                  </p:childTnLst>
                                </p:cTn>
                              </p:par>
                              <p:par>
                                <p:cTn id="45" presetID="10" presetClass="entr" presetSubtype="0" fill="hold" nodeType="withEffect">
                                  <p:stCondLst>
                                    <p:cond delay="80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64" presetClass="path" presetSubtype="0" accel="50000" decel="50000" fill="hold" nodeType="withEffect">
                                  <p:stCondLst>
                                    <p:cond delay="800"/>
                                  </p:stCondLst>
                                  <p:childTnLst>
                                    <p:animMotion origin="layout" path="M 2.91039E-6 1.08488E-6 L 2.91039E-6 -0.03927 " pathEditMode="relative" rAng="0" ptsTypes="AA">
                                      <p:cBhvr>
                                        <p:cTn id="49" dur="500" spd="-100000" fill="hold"/>
                                        <p:tgtEl>
                                          <p:spTgt spid="21"/>
                                        </p:tgtEl>
                                        <p:attrNameLst>
                                          <p:attrName>ppt_x</p:attrName>
                                          <p:attrName>ppt_y</p:attrName>
                                        </p:attrNameLst>
                                      </p:cBhvr>
                                      <p:rCtr x="0" y="-1975"/>
                                    </p:animMotion>
                                  </p:childTnLst>
                                </p:cTn>
                              </p:par>
                              <p:par>
                                <p:cTn id="50" presetID="10" presetClass="entr" presetSubtype="0" fill="hold" nodeType="withEffect">
                                  <p:stCondLst>
                                    <p:cond delay="90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par>
                                <p:cTn id="53" presetID="64" presetClass="path" presetSubtype="0" accel="50000" decel="50000" fill="hold" nodeType="withEffect">
                                  <p:stCondLst>
                                    <p:cond delay="900"/>
                                  </p:stCondLst>
                                  <p:childTnLst>
                                    <p:animMotion origin="layout" path="M 3.46949E-6 1.08488E-6 L 3.46949E-6 -0.03927 " pathEditMode="relative" rAng="0" ptsTypes="AA">
                                      <p:cBhvr>
                                        <p:cTn id="54" dur="500" spd="-100000" fill="hold"/>
                                        <p:tgtEl>
                                          <p:spTgt spid="19"/>
                                        </p:tgtEl>
                                        <p:attrNameLst>
                                          <p:attrName>ppt_x</p:attrName>
                                          <p:attrName>ppt_y</p:attrName>
                                        </p:attrNameLst>
                                      </p:cBhvr>
                                      <p:rCtr x="0" y="-197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ome developers tools</a:t>
            </a:r>
          </a:p>
        </p:txBody>
      </p:sp>
      <p:sp>
        <p:nvSpPr>
          <p:cNvPr id="5" name="Text Placeholder 4"/>
          <p:cNvSpPr>
            <a:spLocks noGrp="1"/>
          </p:cNvSpPr>
          <p:nvPr>
            <p:ph type="body" sz="quarter" idx="13"/>
          </p:nvPr>
        </p:nvSpPr>
        <p:spPr>
          <a:xfrm>
            <a:off x="845761" y="1341975"/>
            <a:ext cx="11009634" cy="5046898"/>
          </a:xfrm>
        </p:spPr>
        <p:txBody>
          <a:bodyPr>
            <a:normAutofit/>
          </a:bodyPr>
          <a:lstStyle/>
          <a:p>
            <a:r>
              <a:rPr lang="en-US" dirty="0" err="1"/>
              <a:t>IoTHub</a:t>
            </a:r>
            <a:r>
              <a:rPr lang="en-US" dirty="0"/>
              <a:t>-explorer : node based CLI</a:t>
            </a:r>
          </a:p>
          <a:p>
            <a:pPr lvl="1"/>
            <a:r>
              <a:rPr lang="en-US" dirty="0" err="1"/>
              <a:t>npm</a:t>
            </a:r>
            <a:r>
              <a:rPr lang="en-US" dirty="0"/>
              <a:t> install -g </a:t>
            </a:r>
            <a:r>
              <a:rPr lang="en-US" dirty="0" err="1"/>
              <a:t>iothub</a:t>
            </a:r>
            <a:r>
              <a:rPr lang="en-US" dirty="0"/>
              <a:t>-explorer</a:t>
            </a:r>
          </a:p>
          <a:p>
            <a:r>
              <a:rPr lang="en-US" dirty="0"/>
              <a:t>Device Explorer: Windows app</a:t>
            </a:r>
          </a:p>
          <a:p>
            <a:pPr lvl="1"/>
            <a:r>
              <a:rPr lang="fr-FR" dirty="0"/>
              <a:t>Installer in releases of github.com/azure/azure-</a:t>
            </a:r>
            <a:r>
              <a:rPr lang="fr-FR" dirty="0" err="1"/>
              <a:t>iot</a:t>
            </a:r>
            <a:r>
              <a:rPr lang="fr-FR" dirty="0"/>
              <a:t>-</a:t>
            </a:r>
            <a:r>
              <a:rPr lang="fr-FR" dirty="0" err="1"/>
              <a:t>sdk-csharp</a:t>
            </a:r>
            <a:endParaRPr lang="en-US" dirty="0"/>
          </a:p>
          <a:p>
            <a:r>
              <a:rPr lang="en-US" dirty="0"/>
              <a:t>Device discovery CLI</a:t>
            </a:r>
          </a:p>
          <a:p>
            <a:pPr lvl="1"/>
            <a:r>
              <a:rPr lang="en-US" dirty="0" err="1"/>
              <a:t>npm</a:t>
            </a:r>
            <a:r>
              <a:rPr lang="en-US" dirty="0"/>
              <a:t> install -g device-discovery-cli</a:t>
            </a:r>
          </a:p>
          <a:p>
            <a:r>
              <a:rPr lang="en-US" dirty="0" err="1"/>
              <a:t>IoTHub</a:t>
            </a:r>
            <a:r>
              <a:rPr lang="en-US" dirty="0"/>
              <a:t> Diagnostics tool</a:t>
            </a:r>
          </a:p>
          <a:p>
            <a:pPr lvl="1"/>
            <a:r>
              <a:rPr lang="en-US" dirty="0" err="1"/>
              <a:t>npm</a:t>
            </a:r>
            <a:r>
              <a:rPr lang="en-US" dirty="0"/>
              <a:t> install -g </a:t>
            </a:r>
            <a:r>
              <a:rPr lang="en-US" dirty="0" err="1"/>
              <a:t>iothub</a:t>
            </a:r>
            <a:r>
              <a:rPr lang="en-US" dirty="0"/>
              <a:t>-diagnostics</a:t>
            </a:r>
          </a:p>
          <a:p>
            <a:r>
              <a:rPr lang="en-US" dirty="0"/>
              <a:t>Azure IoT Toolkit Extension for Visual Studio Code</a:t>
            </a:r>
          </a:p>
          <a:p>
            <a:pPr lvl="1"/>
            <a:r>
              <a:rPr lang="fr-FR" dirty="0"/>
              <a:t>Look for « Azure IoT Toolkit » in the VS Code extensions </a:t>
            </a:r>
            <a:r>
              <a:rPr lang="fr-FR" dirty="0" err="1"/>
              <a:t>library</a:t>
            </a:r>
            <a:endParaRPr lang="en-US" dirty="0"/>
          </a:p>
          <a:p>
            <a:r>
              <a:rPr lang="en-US" dirty="0"/>
              <a:t>Arduino Extension for Visual Studio Code</a:t>
            </a:r>
          </a:p>
          <a:p>
            <a:pPr lvl="1"/>
            <a:r>
              <a:rPr lang="fr-FR" dirty="0"/>
              <a:t>Look for « Arduino » in the VS Code extensions </a:t>
            </a:r>
            <a:r>
              <a:rPr lang="fr-FR" dirty="0" err="1"/>
              <a:t>library</a:t>
            </a:r>
            <a:endParaRPr lang="en-US" dirty="0"/>
          </a:p>
        </p:txBody>
      </p:sp>
    </p:spTree>
    <p:extLst>
      <p:ext uri="{BB962C8B-B14F-4D97-AF65-F5344CB8AC3E}">
        <p14:creationId xmlns:p14="http://schemas.microsoft.com/office/powerpoint/2010/main" val="121420391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fade">
                                      <p:cBhvr>
                                        <p:cTn id="23" dur="500"/>
                                        <p:tgtEl>
                                          <p:spTgt spid="5">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txEl>
                                              <p:pRg st="5" end="5"/>
                                            </p:txEl>
                                          </p:spTgt>
                                        </p:tgtEl>
                                        <p:attrNameLst>
                                          <p:attrName>style.visibility</p:attrName>
                                        </p:attrNameLst>
                                      </p:cBhvr>
                                      <p:to>
                                        <p:strVal val="visible"/>
                                      </p:to>
                                    </p:set>
                                    <p:animEffect transition="in" filter="fade">
                                      <p:cBhvr>
                                        <p:cTn id="26" dur="500"/>
                                        <p:tgtEl>
                                          <p:spTgt spid="5">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animEffect transition="in" filter="fade">
                                      <p:cBhvr>
                                        <p:cTn id="31" dur="500"/>
                                        <p:tgtEl>
                                          <p:spTgt spid="5">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
                                            <p:txEl>
                                              <p:pRg st="7" end="7"/>
                                            </p:txEl>
                                          </p:spTgt>
                                        </p:tgtEl>
                                        <p:attrNameLst>
                                          <p:attrName>style.visibility</p:attrName>
                                        </p:attrNameLst>
                                      </p:cBhvr>
                                      <p:to>
                                        <p:strVal val="visible"/>
                                      </p:to>
                                    </p:set>
                                    <p:animEffect transition="in" filter="fade">
                                      <p:cBhvr>
                                        <p:cTn id="34" dur="500"/>
                                        <p:tgtEl>
                                          <p:spTgt spid="5">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animEffect transition="in" filter="fade">
                                      <p:cBhvr>
                                        <p:cTn id="39" dur="500"/>
                                        <p:tgtEl>
                                          <p:spTgt spid="5">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5">
                                            <p:txEl>
                                              <p:pRg st="9" end="9"/>
                                            </p:txEl>
                                          </p:spTgt>
                                        </p:tgtEl>
                                        <p:attrNameLst>
                                          <p:attrName>style.visibility</p:attrName>
                                        </p:attrNameLst>
                                      </p:cBhvr>
                                      <p:to>
                                        <p:strVal val="visible"/>
                                      </p:to>
                                    </p:set>
                                    <p:animEffect transition="in" filter="fade">
                                      <p:cBhvr>
                                        <p:cTn id="42" dur="500"/>
                                        <p:tgtEl>
                                          <p:spTgt spid="5">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animEffect transition="in" filter="fade">
                                      <p:cBhvr>
                                        <p:cTn id="47" dur="500"/>
                                        <p:tgtEl>
                                          <p:spTgt spid="5">
                                            <p:txEl>
                                              <p:pRg st="10" end="10"/>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
                                            <p:txEl>
                                              <p:pRg st="11" end="11"/>
                                            </p:txEl>
                                          </p:spTgt>
                                        </p:tgtEl>
                                        <p:attrNameLst>
                                          <p:attrName>style.visibility</p:attrName>
                                        </p:attrNameLst>
                                      </p:cBhvr>
                                      <p:to>
                                        <p:strVal val="visible"/>
                                      </p:to>
                                    </p:set>
                                    <p:animEffect transition="in" filter="fade">
                                      <p:cBhvr>
                                        <p:cTn id="50" dur="500"/>
                                        <p:tgtEl>
                                          <p:spTgt spid="5">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1044" name="think-cell Slide" r:id="rId5" imgW="378" imgH="379" progId="TCLayout.ActiveDocument.1">
                  <p:embed/>
                </p:oleObj>
              </mc:Choice>
              <mc:Fallback>
                <p:oleObj name="think-cell Slide" r:id="rId5" imgW="378" imgH="379" progId="TCLayout.ActiveDocument.1">
                  <p:embed/>
                  <p:pic>
                    <p:nvPicPr>
                      <p:cNvPr id="8" name="Object 7"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Open Source SDKs</a:t>
            </a:r>
          </a:p>
        </p:txBody>
      </p:sp>
      <p:sp>
        <p:nvSpPr>
          <p:cNvPr id="3" name="Espace réservé du texte 2"/>
          <p:cNvSpPr>
            <a:spLocks noGrp="1"/>
          </p:cNvSpPr>
          <p:nvPr>
            <p:ph type="body" sz="quarter" idx="13"/>
          </p:nvPr>
        </p:nvSpPr>
        <p:spPr/>
        <p:txBody>
          <a:bodyPr/>
          <a:lstStyle/>
          <a:p>
            <a:endParaRPr lang="fr-FR"/>
          </a:p>
        </p:txBody>
      </p:sp>
      <p:sp>
        <p:nvSpPr>
          <p:cNvPr id="5" name="Espace réservé pour une image  4"/>
          <p:cNvSpPr>
            <a:spLocks noGrp="1"/>
          </p:cNvSpPr>
          <p:nvPr>
            <p:ph type="pic" sz="quarter" idx="17"/>
          </p:nvPr>
        </p:nvSpPr>
        <p:spPr/>
      </p:sp>
      <p:pic>
        <p:nvPicPr>
          <p:cNvPr id="4" name="Picture 3">
            <a:extLst>
              <a:ext uri="{FF2B5EF4-FFF2-40B4-BE49-F238E27FC236}">
                <a16:creationId xmlns:a16="http://schemas.microsoft.com/office/drawing/2014/main" id="{7D6BF26D-D96D-4088-AEAB-6743E3C88C20}"/>
              </a:ext>
            </a:extLst>
          </p:cNvPr>
          <p:cNvPicPr>
            <a:picLocks noChangeAspect="1"/>
          </p:cNvPicPr>
          <p:nvPr/>
        </p:nvPicPr>
        <p:blipFill>
          <a:blip r:embed="rId7"/>
          <a:stretch>
            <a:fillRect/>
          </a:stretch>
        </p:blipFill>
        <p:spPr>
          <a:xfrm>
            <a:off x="266920" y="1187962"/>
            <a:ext cx="6147062" cy="4308041"/>
          </a:xfrm>
          <a:prstGeom prst="rect">
            <a:avLst/>
          </a:prstGeom>
        </p:spPr>
      </p:pic>
      <p:pic>
        <p:nvPicPr>
          <p:cNvPr id="6" name="Picture 5">
            <a:extLst>
              <a:ext uri="{FF2B5EF4-FFF2-40B4-BE49-F238E27FC236}">
                <a16:creationId xmlns:a16="http://schemas.microsoft.com/office/drawing/2014/main" id="{547340D1-1F16-445F-A954-24C1D50F1436}"/>
              </a:ext>
            </a:extLst>
          </p:cNvPr>
          <p:cNvPicPr>
            <a:picLocks noChangeAspect="1"/>
          </p:cNvPicPr>
          <p:nvPr/>
        </p:nvPicPr>
        <p:blipFill>
          <a:blip r:embed="rId8"/>
          <a:stretch>
            <a:fillRect/>
          </a:stretch>
        </p:blipFill>
        <p:spPr>
          <a:xfrm>
            <a:off x="1703567" y="1367246"/>
            <a:ext cx="6440898" cy="4302793"/>
          </a:xfrm>
          <a:prstGeom prst="rect">
            <a:avLst/>
          </a:prstGeom>
        </p:spPr>
      </p:pic>
      <p:pic>
        <p:nvPicPr>
          <p:cNvPr id="7" name="Picture 6">
            <a:extLst>
              <a:ext uri="{FF2B5EF4-FFF2-40B4-BE49-F238E27FC236}">
                <a16:creationId xmlns:a16="http://schemas.microsoft.com/office/drawing/2014/main" id="{6B981D87-EF1D-45EB-866B-1D0E047F2E6D}"/>
              </a:ext>
            </a:extLst>
          </p:cNvPr>
          <p:cNvPicPr>
            <a:picLocks noChangeAspect="1"/>
          </p:cNvPicPr>
          <p:nvPr/>
        </p:nvPicPr>
        <p:blipFill rotWithShape="1">
          <a:blip r:embed="rId9"/>
          <a:srcRect b="6482"/>
          <a:stretch/>
        </p:blipFill>
        <p:spPr>
          <a:xfrm>
            <a:off x="3406755" y="1546529"/>
            <a:ext cx="6376659" cy="4213151"/>
          </a:xfrm>
          <a:prstGeom prst="rect">
            <a:avLst/>
          </a:prstGeom>
        </p:spPr>
      </p:pic>
      <p:pic>
        <p:nvPicPr>
          <p:cNvPr id="9" name="Picture 8">
            <a:extLst>
              <a:ext uri="{FF2B5EF4-FFF2-40B4-BE49-F238E27FC236}">
                <a16:creationId xmlns:a16="http://schemas.microsoft.com/office/drawing/2014/main" id="{E70480B9-63D2-4F85-BBE0-24778C79CDB2}"/>
              </a:ext>
            </a:extLst>
          </p:cNvPr>
          <p:cNvPicPr>
            <a:picLocks noChangeAspect="1"/>
          </p:cNvPicPr>
          <p:nvPr/>
        </p:nvPicPr>
        <p:blipFill rotWithShape="1">
          <a:blip r:embed="rId10"/>
          <a:srcRect b="5950"/>
          <a:stretch/>
        </p:blipFill>
        <p:spPr>
          <a:xfrm>
            <a:off x="5069654" y="1712050"/>
            <a:ext cx="6329350" cy="4213152"/>
          </a:xfrm>
          <a:prstGeom prst="rect">
            <a:avLst/>
          </a:prstGeom>
        </p:spPr>
      </p:pic>
      <p:pic>
        <p:nvPicPr>
          <p:cNvPr id="10" name="Picture 9">
            <a:extLst>
              <a:ext uri="{FF2B5EF4-FFF2-40B4-BE49-F238E27FC236}">
                <a16:creationId xmlns:a16="http://schemas.microsoft.com/office/drawing/2014/main" id="{54382CC2-7B57-47A6-B911-DC2E7D8B5F43}"/>
              </a:ext>
            </a:extLst>
          </p:cNvPr>
          <p:cNvPicPr>
            <a:picLocks noChangeAspect="1"/>
          </p:cNvPicPr>
          <p:nvPr/>
        </p:nvPicPr>
        <p:blipFill>
          <a:blip r:embed="rId11"/>
          <a:stretch>
            <a:fillRect/>
          </a:stretch>
        </p:blipFill>
        <p:spPr>
          <a:xfrm>
            <a:off x="6830272" y="1867200"/>
            <a:ext cx="5954181" cy="4184495"/>
          </a:xfrm>
          <a:prstGeom prst="rect">
            <a:avLst/>
          </a:prstGeom>
        </p:spPr>
      </p:pic>
    </p:spTree>
    <p:extLst>
      <p:ext uri="{BB962C8B-B14F-4D97-AF65-F5344CB8AC3E}">
        <p14:creationId xmlns:p14="http://schemas.microsoft.com/office/powerpoint/2010/main" val="418844005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ckages and libraries</a:t>
            </a:r>
          </a:p>
        </p:txBody>
      </p:sp>
      <p:sp>
        <p:nvSpPr>
          <p:cNvPr id="3" name="Text Placeholder 2"/>
          <p:cNvSpPr>
            <a:spLocks noGrp="1"/>
          </p:cNvSpPr>
          <p:nvPr>
            <p:ph type="body" sz="quarter" idx="13"/>
          </p:nvPr>
        </p:nvSpPr>
        <p:spPr>
          <a:xfrm>
            <a:off x="845761" y="1341975"/>
            <a:ext cx="5507331" cy="4076839"/>
          </a:xfrm>
        </p:spPr>
        <p:txBody>
          <a:bodyPr>
            <a:normAutofit/>
          </a:bodyPr>
          <a:lstStyle/>
          <a:p>
            <a:r>
              <a:rPr lang="en-US" sz="3529" dirty="0" err="1"/>
              <a:t>NuGet</a:t>
            </a:r>
            <a:endParaRPr lang="en-US" sz="3529" dirty="0"/>
          </a:p>
          <a:p>
            <a:pPr lvl="1"/>
            <a:r>
              <a:rPr lang="en-US" sz="3137" dirty="0"/>
              <a:t>C on Windows</a:t>
            </a:r>
          </a:p>
          <a:p>
            <a:pPr lvl="1"/>
            <a:r>
              <a:rPr lang="en-US" sz="3137" dirty="0" err="1"/>
              <a:t>.Net</a:t>
            </a:r>
            <a:endParaRPr lang="en-US" sz="3137" dirty="0"/>
          </a:p>
          <a:p>
            <a:r>
              <a:rPr lang="en-US" sz="3529" dirty="0"/>
              <a:t>Apt-get</a:t>
            </a:r>
          </a:p>
          <a:p>
            <a:pPr lvl="1"/>
            <a:r>
              <a:rPr lang="en-US" sz="3137" dirty="0"/>
              <a:t>C on Linux (Ubuntu/</a:t>
            </a:r>
            <a:r>
              <a:rPr lang="en-US" sz="3137" dirty="0" err="1"/>
              <a:t>Debian</a:t>
            </a:r>
            <a:r>
              <a:rPr lang="en-US" sz="3137" dirty="0"/>
              <a:t>)</a:t>
            </a:r>
          </a:p>
          <a:p>
            <a:r>
              <a:rPr lang="en-US" sz="3529" dirty="0" err="1"/>
              <a:t>Npm</a:t>
            </a:r>
            <a:endParaRPr lang="en-US" sz="3529" dirty="0"/>
          </a:p>
          <a:p>
            <a:pPr lvl="1"/>
            <a:r>
              <a:rPr lang="en-US" sz="3137" dirty="0"/>
              <a:t>Node.js</a:t>
            </a:r>
          </a:p>
        </p:txBody>
      </p:sp>
      <p:sp>
        <p:nvSpPr>
          <p:cNvPr id="4" name="Text Placeholder 3"/>
          <p:cNvSpPr>
            <a:spLocks noGrp="1"/>
          </p:cNvSpPr>
          <p:nvPr>
            <p:ph type="body" sz="quarter" idx="4294967295"/>
          </p:nvPr>
        </p:nvSpPr>
        <p:spPr>
          <a:xfrm>
            <a:off x="6813550" y="1187450"/>
            <a:ext cx="5378450" cy="3506788"/>
          </a:xfrm>
        </p:spPr>
        <p:txBody>
          <a:bodyPr/>
          <a:lstStyle/>
          <a:p>
            <a:r>
              <a:rPr lang="en-US" sz="3529" dirty="0"/>
              <a:t>Maven</a:t>
            </a:r>
          </a:p>
          <a:p>
            <a:pPr lvl="1"/>
            <a:r>
              <a:rPr lang="en-US" sz="3137" dirty="0"/>
              <a:t>Java</a:t>
            </a:r>
          </a:p>
          <a:p>
            <a:r>
              <a:rPr lang="en-US" sz="3529" dirty="0" err="1"/>
              <a:t>PyPI</a:t>
            </a:r>
            <a:endParaRPr lang="en-US" sz="3529" dirty="0"/>
          </a:p>
          <a:p>
            <a:pPr lvl="1"/>
            <a:r>
              <a:rPr lang="en-US" sz="3137" dirty="0"/>
              <a:t>Python</a:t>
            </a:r>
          </a:p>
          <a:p>
            <a:r>
              <a:rPr lang="en-US" sz="3529" dirty="0"/>
              <a:t>Arduino lib</a:t>
            </a:r>
          </a:p>
          <a:p>
            <a:r>
              <a:rPr lang="en-US" sz="3529" dirty="0" err="1"/>
              <a:t>Mbed</a:t>
            </a:r>
            <a:r>
              <a:rPr lang="en-US" sz="3529" dirty="0"/>
              <a:t> lib</a:t>
            </a:r>
          </a:p>
        </p:txBody>
      </p:sp>
    </p:spTree>
    <p:extLst>
      <p:ext uri="{BB962C8B-B14F-4D97-AF65-F5344CB8AC3E}">
        <p14:creationId xmlns:p14="http://schemas.microsoft.com/office/powerpoint/2010/main" val="858948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4">
                                            <p:txEl>
                                              <p:pRg st="0" end="0"/>
                                            </p:txEl>
                                          </p:spTgt>
                                        </p:tgtEl>
                                        <p:attrNameLst>
                                          <p:attrName>style.visibility</p:attrName>
                                        </p:attrNameLst>
                                      </p:cBhvr>
                                      <p:to>
                                        <p:strVal val="visible"/>
                                      </p:to>
                                    </p:set>
                                    <p:animEffect transition="in" filter="fade">
                                      <p:cBhvr>
                                        <p:cTn id="34" dur="500"/>
                                        <p:tgtEl>
                                          <p:spTgt spid="4">
                                            <p:txEl>
                                              <p:pRg st="0" end="0"/>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xEl>
                                              <p:pRg st="1" end="1"/>
                                            </p:txEl>
                                          </p:spTgt>
                                        </p:tgtEl>
                                        <p:attrNameLst>
                                          <p:attrName>style.visibility</p:attrName>
                                        </p:attrNameLst>
                                      </p:cBhvr>
                                      <p:to>
                                        <p:strVal val="visible"/>
                                      </p:to>
                                    </p:set>
                                    <p:animEffect transition="in" filter="fade">
                                      <p:cBhvr>
                                        <p:cTn id="37" dur="500"/>
                                        <p:tgtEl>
                                          <p:spTgt spid="4">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
                                            <p:txEl>
                                              <p:pRg st="2" end="2"/>
                                            </p:txEl>
                                          </p:spTgt>
                                        </p:tgtEl>
                                        <p:attrNameLst>
                                          <p:attrName>style.visibility</p:attrName>
                                        </p:attrNameLst>
                                      </p:cBhvr>
                                      <p:to>
                                        <p:strVal val="visible"/>
                                      </p:to>
                                    </p:set>
                                    <p:animEffect transition="in" filter="fade">
                                      <p:cBhvr>
                                        <p:cTn id="42" dur="500"/>
                                        <p:tgtEl>
                                          <p:spTgt spid="4">
                                            <p:txEl>
                                              <p:pRg st="2" end="2"/>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
                                            <p:txEl>
                                              <p:pRg st="3" end="3"/>
                                            </p:txEl>
                                          </p:spTgt>
                                        </p:tgtEl>
                                        <p:attrNameLst>
                                          <p:attrName>style.visibility</p:attrName>
                                        </p:attrNameLst>
                                      </p:cBhvr>
                                      <p:to>
                                        <p:strVal val="visible"/>
                                      </p:to>
                                    </p:set>
                                    <p:animEffect transition="in" filter="fade">
                                      <p:cBhvr>
                                        <p:cTn id="45" dur="500"/>
                                        <p:tgtEl>
                                          <p:spTgt spid="4">
                                            <p:txEl>
                                              <p:pRg st="3" end="3"/>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4">
                                            <p:txEl>
                                              <p:pRg st="4" end="4"/>
                                            </p:txEl>
                                          </p:spTgt>
                                        </p:tgtEl>
                                        <p:attrNameLst>
                                          <p:attrName>style.visibility</p:attrName>
                                        </p:attrNameLst>
                                      </p:cBhvr>
                                      <p:to>
                                        <p:strVal val="visible"/>
                                      </p:to>
                                    </p:set>
                                    <p:animEffect transition="in" filter="fade">
                                      <p:cBhvr>
                                        <p:cTn id="50" dur="500"/>
                                        <p:tgtEl>
                                          <p:spTgt spid="4">
                                            <p:txEl>
                                              <p:pRg st="4" end="4"/>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4">
                                            <p:txEl>
                                              <p:pRg st="5" end="5"/>
                                            </p:txEl>
                                          </p:spTgt>
                                        </p:tgtEl>
                                        <p:attrNameLst>
                                          <p:attrName>style.visibility</p:attrName>
                                        </p:attrNameLst>
                                      </p:cBhvr>
                                      <p:to>
                                        <p:strVal val="visible"/>
                                      </p:to>
                                    </p:set>
                                    <p:animEffect transition="in" filter="fade">
                                      <p:cBhvr>
                                        <p:cTn id="55"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by-step tutorials</a:t>
            </a:r>
          </a:p>
        </p:txBody>
      </p:sp>
      <p:sp>
        <p:nvSpPr>
          <p:cNvPr id="3" name="Espace réservé du texte 2"/>
          <p:cNvSpPr>
            <a:spLocks noGrp="1"/>
          </p:cNvSpPr>
          <p:nvPr>
            <p:ph type="body" sz="quarter" idx="13"/>
          </p:nvPr>
        </p:nvSpPr>
        <p:spPr/>
        <p:txBody>
          <a:bodyPr/>
          <a:lstStyle/>
          <a:p>
            <a:endParaRPr lang="fr-FR"/>
          </a:p>
        </p:txBody>
      </p:sp>
      <p:sp>
        <p:nvSpPr>
          <p:cNvPr id="5" name="TextBox 4"/>
          <p:cNvSpPr txBox="1"/>
          <p:nvPr/>
        </p:nvSpPr>
        <p:spPr>
          <a:xfrm>
            <a:off x="662482" y="6305142"/>
            <a:ext cx="4563878" cy="369332"/>
          </a:xfrm>
          <a:prstGeom prst="rect">
            <a:avLst/>
          </a:prstGeom>
          <a:noFill/>
        </p:spPr>
        <p:txBody>
          <a:bodyPr wrap="none" rtlCol="0">
            <a:spAutoFit/>
          </a:bodyPr>
          <a:lstStyle/>
          <a:p>
            <a:r>
              <a:rPr lang="en-US" dirty="0"/>
              <a:t>Learn more: </a:t>
            </a:r>
            <a:r>
              <a:rPr lang="en-US" dirty="0">
                <a:hlinkClick r:id="rId3"/>
              </a:rPr>
              <a:t>https://aka.ms/azureiotgetstarted</a:t>
            </a:r>
            <a:endParaRPr lang="en-US" dirty="0"/>
          </a:p>
        </p:txBody>
      </p:sp>
      <p:pic>
        <p:nvPicPr>
          <p:cNvPr id="6" name="Picture 5">
            <a:extLst>
              <a:ext uri="{FF2B5EF4-FFF2-40B4-BE49-F238E27FC236}">
                <a16:creationId xmlns:a16="http://schemas.microsoft.com/office/drawing/2014/main" id="{8CD075E9-D75E-49A0-9EC3-5911C4138009}"/>
              </a:ext>
            </a:extLst>
          </p:cNvPr>
          <p:cNvPicPr>
            <a:picLocks noChangeAspect="1"/>
          </p:cNvPicPr>
          <p:nvPr/>
        </p:nvPicPr>
        <p:blipFill rotWithShape="1">
          <a:blip r:embed="rId4"/>
          <a:srcRect t="49452"/>
          <a:stretch/>
        </p:blipFill>
        <p:spPr>
          <a:xfrm>
            <a:off x="6365303" y="1725812"/>
            <a:ext cx="5826698" cy="3476881"/>
          </a:xfrm>
          <a:prstGeom prst="rect">
            <a:avLst/>
          </a:prstGeom>
        </p:spPr>
      </p:pic>
      <p:pic>
        <p:nvPicPr>
          <p:cNvPr id="7" name="Picture 6">
            <a:extLst>
              <a:ext uri="{FF2B5EF4-FFF2-40B4-BE49-F238E27FC236}">
                <a16:creationId xmlns:a16="http://schemas.microsoft.com/office/drawing/2014/main" id="{EC25F28F-AC24-48CC-BD40-E57AEC9EC126}"/>
              </a:ext>
            </a:extLst>
          </p:cNvPr>
          <p:cNvPicPr>
            <a:picLocks noChangeAspect="1"/>
          </p:cNvPicPr>
          <p:nvPr/>
        </p:nvPicPr>
        <p:blipFill rotWithShape="1">
          <a:blip r:embed="rId4"/>
          <a:srcRect b="50476"/>
          <a:stretch/>
        </p:blipFill>
        <p:spPr>
          <a:xfrm>
            <a:off x="119310" y="1905095"/>
            <a:ext cx="5826698" cy="3406377"/>
          </a:xfrm>
          <a:prstGeom prst="rect">
            <a:avLst/>
          </a:prstGeom>
        </p:spPr>
      </p:pic>
    </p:spTree>
    <p:extLst>
      <p:ext uri="{BB962C8B-B14F-4D97-AF65-F5344CB8AC3E}">
        <p14:creationId xmlns:p14="http://schemas.microsoft.com/office/powerpoint/2010/main" val="15809612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10" name="Rectangle 9"/>
          <p:cNvSpPr/>
          <p:nvPr/>
        </p:nvSpPr>
        <p:spPr>
          <a:xfrm>
            <a:off x="-4401" y="0"/>
            <a:ext cx="12192000" cy="6858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30" name="Group 29"/>
          <p:cNvGrpSpPr/>
          <p:nvPr/>
        </p:nvGrpSpPr>
        <p:grpSpPr>
          <a:xfrm>
            <a:off x="6349" y="0"/>
            <a:ext cx="12181249" cy="6858000"/>
            <a:chOff x="6350" y="0"/>
            <a:chExt cx="7194550" cy="3600450"/>
          </a:xfrm>
          <a:gradFill>
            <a:gsLst>
              <a:gs pos="100000">
                <a:schemeClr val="bg1">
                  <a:alpha val="15000"/>
                </a:schemeClr>
              </a:gs>
              <a:gs pos="0">
                <a:schemeClr val="bg1">
                  <a:alpha val="0"/>
                </a:schemeClr>
              </a:gs>
            </a:gsLst>
            <a:path path="circle">
              <a:fillToRect l="50000" t="50000" r="50000" b="50000"/>
            </a:path>
          </a:gradFill>
        </p:grpSpPr>
        <p:sp>
          <p:nvSpPr>
            <p:cNvPr id="31"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0" name="Freeform 5"/>
          <p:cNvSpPr>
            <a:spLocks/>
          </p:cNvSpPr>
          <p:nvPr/>
        </p:nvSpPr>
        <p:spPr bwMode="auto">
          <a:xfrm>
            <a:off x="2566358" y="3692525"/>
            <a:ext cx="1012825" cy="617537"/>
          </a:xfrm>
          <a:custGeom>
            <a:avLst/>
            <a:gdLst>
              <a:gd name="T0" fmla="*/ 229 w 410"/>
              <a:gd name="T1" fmla="*/ 0 h 250"/>
              <a:gd name="T2" fmla="*/ 163 w 410"/>
              <a:gd name="T3" fmla="*/ 34 h 250"/>
              <a:gd name="T4" fmla="*/ 133 w 410"/>
              <a:gd name="T5" fmla="*/ 28 h 250"/>
              <a:gd name="T6" fmla="*/ 95 w 410"/>
              <a:gd name="T7" fmla="*/ 42 h 250"/>
              <a:gd name="T8" fmla="*/ 72 w 410"/>
              <a:gd name="T9" fmla="*/ 92 h 250"/>
              <a:gd name="T10" fmla="*/ 65 w 410"/>
              <a:gd name="T11" fmla="*/ 92 h 250"/>
              <a:gd name="T12" fmla="*/ 12 w 410"/>
              <a:gd name="T13" fmla="*/ 115 h 250"/>
              <a:gd name="T14" fmla="*/ 10 w 410"/>
              <a:gd name="T15" fmla="*/ 169 h 250"/>
              <a:gd name="T16" fmla="*/ 48 w 410"/>
              <a:gd name="T17" fmla="*/ 197 h 250"/>
              <a:gd name="T18" fmla="*/ 82 w 410"/>
              <a:gd name="T19" fmla="*/ 216 h 250"/>
              <a:gd name="T20" fmla="*/ 100 w 410"/>
              <a:gd name="T21" fmla="*/ 213 h 250"/>
              <a:gd name="T22" fmla="*/ 160 w 410"/>
              <a:gd name="T23" fmla="*/ 250 h 250"/>
              <a:gd name="T24" fmla="*/ 173 w 410"/>
              <a:gd name="T25" fmla="*/ 249 h 250"/>
              <a:gd name="T26" fmla="*/ 228 w 410"/>
              <a:gd name="T27" fmla="*/ 217 h 250"/>
              <a:gd name="T28" fmla="*/ 272 w 410"/>
              <a:gd name="T29" fmla="*/ 238 h 250"/>
              <a:gd name="T30" fmla="*/ 282 w 410"/>
              <a:gd name="T31" fmla="*/ 237 h 250"/>
              <a:gd name="T32" fmla="*/ 321 w 410"/>
              <a:gd name="T33" fmla="*/ 201 h 250"/>
              <a:gd name="T34" fmla="*/ 342 w 410"/>
              <a:gd name="T35" fmla="*/ 203 h 250"/>
              <a:gd name="T36" fmla="*/ 400 w 410"/>
              <a:gd name="T37" fmla="*/ 172 h 250"/>
              <a:gd name="T38" fmla="*/ 398 w 410"/>
              <a:gd name="T39" fmla="*/ 111 h 250"/>
              <a:gd name="T40" fmla="*/ 357 w 410"/>
              <a:gd name="T41" fmla="*/ 84 h 250"/>
              <a:gd name="T42" fmla="*/ 352 w 410"/>
              <a:gd name="T43" fmla="*/ 84 h 250"/>
              <a:gd name="T44" fmla="*/ 313 w 410"/>
              <a:gd name="T45" fmla="*/ 55 h 250"/>
              <a:gd name="T46" fmla="*/ 301 w 410"/>
              <a:gd name="T47" fmla="*/ 57 h 250"/>
              <a:gd name="T48" fmla="*/ 233 w 410"/>
              <a:gd name="T49" fmla="*/ 0 h 250"/>
              <a:gd name="T50" fmla="*/ 229 w 410"/>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0" h="250">
                <a:moveTo>
                  <a:pt x="229" y="0"/>
                </a:moveTo>
                <a:cubicBezTo>
                  <a:pt x="185" y="0"/>
                  <a:pt x="168" y="25"/>
                  <a:pt x="163" y="34"/>
                </a:cubicBezTo>
                <a:cubicBezTo>
                  <a:pt x="158" y="32"/>
                  <a:pt x="146" y="28"/>
                  <a:pt x="133" y="28"/>
                </a:cubicBezTo>
                <a:cubicBezTo>
                  <a:pt x="118" y="28"/>
                  <a:pt x="105" y="33"/>
                  <a:pt x="95" y="42"/>
                </a:cubicBezTo>
                <a:cubicBezTo>
                  <a:pt x="72" y="63"/>
                  <a:pt x="71" y="84"/>
                  <a:pt x="72" y="92"/>
                </a:cubicBezTo>
                <a:cubicBezTo>
                  <a:pt x="70" y="92"/>
                  <a:pt x="68" y="92"/>
                  <a:pt x="65" y="92"/>
                </a:cubicBezTo>
                <a:cubicBezTo>
                  <a:pt x="52" y="92"/>
                  <a:pt x="27" y="95"/>
                  <a:pt x="12" y="115"/>
                </a:cubicBezTo>
                <a:cubicBezTo>
                  <a:pt x="1" y="130"/>
                  <a:pt x="0" y="150"/>
                  <a:pt x="10" y="169"/>
                </a:cubicBezTo>
                <a:cubicBezTo>
                  <a:pt x="18" y="186"/>
                  <a:pt x="33" y="197"/>
                  <a:pt x="48" y="197"/>
                </a:cubicBezTo>
                <a:cubicBezTo>
                  <a:pt x="51" y="202"/>
                  <a:pt x="61" y="216"/>
                  <a:pt x="82" y="216"/>
                </a:cubicBezTo>
                <a:cubicBezTo>
                  <a:pt x="88" y="216"/>
                  <a:pt x="94" y="215"/>
                  <a:pt x="100" y="213"/>
                </a:cubicBezTo>
                <a:cubicBezTo>
                  <a:pt x="105" y="222"/>
                  <a:pt x="121" y="250"/>
                  <a:pt x="160" y="250"/>
                </a:cubicBezTo>
                <a:cubicBezTo>
                  <a:pt x="164" y="250"/>
                  <a:pt x="169" y="249"/>
                  <a:pt x="173" y="249"/>
                </a:cubicBezTo>
                <a:cubicBezTo>
                  <a:pt x="213" y="243"/>
                  <a:pt x="225" y="226"/>
                  <a:pt x="228" y="217"/>
                </a:cubicBezTo>
                <a:cubicBezTo>
                  <a:pt x="235" y="225"/>
                  <a:pt x="250" y="238"/>
                  <a:pt x="272" y="238"/>
                </a:cubicBezTo>
                <a:cubicBezTo>
                  <a:pt x="276" y="238"/>
                  <a:pt x="279" y="238"/>
                  <a:pt x="282" y="237"/>
                </a:cubicBezTo>
                <a:cubicBezTo>
                  <a:pt x="312" y="232"/>
                  <a:pt x="319" y="209"/>
                  <a:pt x="321" y="201"/>
                </a:cubicBezTo>
                <a:cubicBezTo>
                  <a:pt x="325" y="202"/>
                  <a:pt x="333" y="203"/>
                  <a:pt x="342" y="203"/>
                </a:cubicBezTo>
                <a:cubicBezTo>
                  <a:pt x="361" y="203"/>
                  <a:pt x="385" y="198"/>
                  <a:pt x="400" y="172"/>
                </a:cubicBezTo>
                <a:cubicBezTo>
                  <a:pt x="410" y="153"/>
                  <a:pt x="410" y="130"/>
                  <a:pt x="398" y="111"/>
                </a:cubicBezTo>
                <a:cubicBezTo>
                  <a:pt x="389" y="94"/>
                  <a:pt x="373" y="84"/>
                  <a:pt x="357" y="84"/>
                </a:cubicBezTo>
                <a:cubicBezTo>
                  <a:pt x="355" y="84"/>
                  <a:pt x="354" y="84"/>
                  <a:pt x="352" y="84"/>
                </a:cubicBezTo>
                <a:cubicBezTo>
                  <a:pt x="350" y="77"/>
                  <a:pt x="341" y="55"/>
                  <a:pt x="313" y="55"/>
                </a:cubicBezTo>
                <a:cubicBezTo>
                  <a:pt x="309" y="55"/>
                  <a:pt x="305" y="56"/>
                  <a:pt x="301" y="57"/>
                </a:cubicBezTo>
                <a:cubicBezTo>
                  <a:pt x="299" y="44"/>
                  <a:pt x="287" y="1"/>
                  <a:pt x="233" y="0"/>
                </a:cubicBezTo>
                <a:cubicBezTo>
                  <a:pt x="232" y="0"/>
                  <a:pt x="231" y="0"/>
                  <a:pt x="22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6"/>
          <p:cNvSpPr>
            <a:spLocks/>
          </p:cNvSpPr>
          <p:nvPr/>
        </p:nvSpPr>
        <p:spPr bwMode="auto">
          <a:xfrm>
            <a:off x="8257546" y="4527550"/>
            <a:ext cx="774700" cy="471487"/>
          </a:xfrm>
          <a:custGeom>
            <a:avLst/>
            <a:gdLst>
              <a:gd name="T0" fmla="*/ 139 w 314"/>
              <a:gd name="T1" fmla="*/ 0 h 191"/>
              <a:gd name="T2" fmla="*/ 136 w 314"/>
              <a:gd name="T3" fmla="*/ 0 h 191"/>
              <a:gd name="T4" fmla="*/ 84 w 314"/>
              <a:gd name="T5" fmla="*/ 44 h 191"/>
              <a:gd name="T6" fmla="*/ 74 w 314"/>
              <a:gd name="T7" fmla="*/ 43 h 191"/>
              <a:gd name="T8" fmla="*/ 45 w 314"/>
              <a:gd name="T9" fmla="*/ 65 h 191"/>
              <a:gd name="T10" fmla="*/ 41 w 314"/>
              <a:gd name="T11" fmla="*/ 65 h 191"/>
              <a:gd name="T12" fmla="*/ 10 w 314"/>
              <a:gd name="T13" fmla="*/ 85 h 191"/>
              <a:gd name="T14" fmla="*/ 8 w 314"/>
              <a:gd name="T15" fmla="*/ 132 h 191"/>
              <a:gd name="T16" fmla="*/ 52 w 314"/>
              <a:gd name="T17" fmla="*/ 156 h 191"/>
              <a:gd name="T18" fmla="*/ 69 w 314"/>
              <a:gd name="T19" fmla="*/ 154 h 191"/>
              <a:gd name="T20" fmla="*/ 98 w 314"/>
              <a:gd name="T21" fmla="*/ 181 h 191"/>
              <a:gd name="T22" fmla="*/ 106 w 314"/>
              <a:gd name="T23" fmla="*/ 182 h 191"/>
              <a:gd name="T24" fmla="*/ 139 w 314"/>
              <a:gd name="T25" fmla="*/ 166 h 191"/>
              <a:gd name="T26" fmla="*/ 181 w 314"/>
              <a:gd name="T27" fmla="*/ 190 h 191"/>
              <a:gd name="T28" fmla="*/ 191 w 314"/>
              <a:gd name="T29" fmla="*/ 191 h 191"/>
              <a:gd name="T30" fmla="*/ 237 w 314"/>
              <a:gd name="T31" fmla="*/ 163 h 191"/>
              <a:gd name="T32" fmla="*/ 251 w 314"/>
              <a:gd name="T33" fmla="*/ 165 h 191"/>
              <a:gd name="T34" fmla="*/ 277 w 314"/>
              <a:gd name="T35" fmla="*/ 151 h 191"/>
              <a:gd name="T36" fmla="*/ 306 w 314"/>
              <a:gd name="T37" fmla="*/ 130 h 191"/>
              <a:gd name="T38" fmla="*/ 305 w 314"/>
              <a:gd name="T39" fmla="*/ 89 h 191"/>
              <a:gd name="T40" fmla="*/ 264 w 314"/>
              <a:gd name="T41" fmla="*/ 71 h 191"/>
              <a:gd name="T42" fmla="*/ 258 w 314"/>
              <a:gd name="T43" fmla="*/ 71 h 191"/>
              <a:gd name="T44" fmla="*/ 241 w 314"/>
              <a:gd name="T45" fmla="*/ 33 h 191"/>
              <a:gd name="T46" fmla="*/ 212 w 314"/>
              <a:gd name="T47" fmla="*/ 22 h 191"/>
              <a:gd name="T48" fmla="*/ 189 w 314"/>
              <a:gd name="T49" fmla="*/ 27 h 191"/>
              <a:gd name="T50" fmla="*/ 139 w 314"/>
              <a:gd name="T51"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91">
                <a:moveTo>
                  <a:pt x="139" y="0"/>
                </a:moveTo>
                <a:cubicBezTo>
                  <a:pt x="138" y="0"/>
                  <a:pt x="137" y="0"/>
                  <a:pt x="136" y="0"/>
                </a:cubicBezTo>
                <a:cubicBezTo>
                  <a:pt x="95" y="2"/>
                  <a:pt x="85" y="34"/>
                  <a:pt x="84" y="44"/>
                </a:cubicBezTo>
                <a:cubicBezTo>
                  <a:pt x="80" y="43"/>
                  <a:pt x="77" y="43"/>
                  <a:pt x="74" y="43"/>
                </a:cubicBezTo>
                <a:cubicBezTo>
                  <a:pt x="53" y="43"/>
                  <a:pt x="46" y="59"/>
                  <a:pt x="45" y="65"/>
                </a:cubicBezTo>
                <a:cubicBezTo>
                  <a:pt x="43" y="65"/>
                  <a:pt x="42" y="65"/>
                  <a:pt x="41" y="65"/>
                </a:cubicBezTo>
                <a:cubicBezTo>
                  <a:pt x="29" y="65"/>
                  <a:pt x="17" y="72"/>
                  <a:pt x="10" y="85"/>
                </a:cubicBezTo>
                <a:cubicBezTo>
                  <a:pt x="1" y="100"/>
                  <a:pt x="0" y="117"/>
                  <a:pt x="8" y="132"/>
                </a:cubicBezTo>
                <a:cubicBezTo>
                  <a:pt x="19" y="151"/>
                  <a:pt x="38" y="156"/>
                  <a:pt x="52" y="156"/>
                </a:cubicBezTo>
                <a:cubicBezTo>
                  <a:pt x="59" y="156"/>
                  <a:pt x="65" y="154"/>
                  <a:pt x="69" y="154"/>
                </a:cubicBezTo>
                <a:cubicBezTo>
                  <a:pt x="70" y="160"/>
                  <a:pt x="75" y="177"/>
                  <a:pt x="98" y="181"/>
                </a:cubicBezTo>
                <a:cubicBezTo>
                  <a:pt x="101" y="182"/>
                  <a:pt x="103" y="182"/>
                  <a:pt x="106" y="182"/>
                </a:cubicBezTo>
                <a:cubicBezTo>
                  <a:pt x="123" y="182"/>
                  <a:pt x="134" y="172"/>
                  <a:pt x="139" y="166"/>
                </a:cubicBezTo>
                <a:cubicBezTo>
                  <a:pt x="142" y="173"/>
                  <a:pt x="151" y="186"/>
                  <a:pt x="181" y="190"/>
                </a:cubicBezTo>
                <a:cubicBezTo>
                  <a:pt x="185" y="191"/>
                  <a:pt x="188" y="191"/>
                  <a:pt x="191" y="191"/>
                </a:cubicBezTo>
                <a:cubicBezTo>
                  <a:pt x="221" y="191"/>
                  <a:pt x="234" y="170"/>
                  <a:pt x="237" y="163"/>
                </a:cubicBezTo>
                <a:cubicBezTo>
                  <a:pt x="242" y="165"/>
                  <a:pt x="246" y="165"/>
                  <a:pt x="251" y="165"/>
                </a:cubicBezTo>
                <a:cubicBezTo>
                  <a:pt x="267" y="165"/>
                  <a:pt x="275" y="155"/>
                  <a:pt x="277" y="151"/>
                </a:cubicBezTo>
                <a:cubicBezTo>
                  <a:pt x="289" y="151"/>
                  <a:pt x="300" y="143"/>
                  <a:pt x="306" y="130"/>
                </a:cubicBezTo>
                <a:cubicBezTo>
                  <a:pt x="314" y="115"/>
                  <a:pt x="313" y="100"/>
                  <a:pt x="305" y="89"/>
                </a:cubicBezTo>
                <a:cubicBezTo>
                  <a:pt x="293" y="73"/>
                  <a:pt x="274" y="71"/>
                  <a:pt x="264" y="71"/>
                </a:cubicBezTo>
                <a:cubicBezTo>
                  <a:pt x="262" y="71"/>
                  <a:pt x="260" y="71"/>
                  <a:pt x="258" y="71"/>
                </a:cubicBezTo>
                <a:cubicBezTo>
                  <a:pt x="259" y="64"/>
                  <a:pt x="259" y="48"/>
                  <a:pt x="241" y="33"/>
                </a:cubicBezTo>
                <a:cubicBezTo>
                  <a:pt x="234" y="26"/>
                  <a:pt x="224" y="22"/>
                  <a:pt x="212" y="22"/>
                </a:cubicBezTo>
                <a:cubicBezTo>
                  <a:pt x="202" y="22"/>
                  <a:pt x="193" y="25"/>
                  <a:pt x="189" y="27"/>
                </a:cubicBezTo>
                <a:cubicBezTo>
                  <a:pt x="185" y="20"/>
                  <a:pt x="172" y="0"/>
                  <a:pt x="13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7"/>
          <p:cNvSpPr>
            <a:spLocks/>
          </p:cNvSpPr>
          <p:nvPr/>
        </p:nvSpPr>
        <p:spPr bwMode="auto">
          <a:xfrm>
            <a:off x="8074983" y="5005388"/>
            <a:ext cx="338138" cy="207962"/>
          </a:xfrm>
          <a:custGeom>
            <a:avLst/>
            <a:gdLst>
              <a:gd name="T0" fmla="*/ 77 w 137"/>
              <a:gd name="T1" fmla="*/ 0 h 84"/>
              <a:gd name="T2" fmla="*/ 55 w 137"/>
              <a:gd name="T3" fmla="*/ 12 h 84"/>
              <a:gd name="T4" fmla="*/ 44 w 137"/>
              <a:gd name="T5" fmla="*/ 10 h 84"/>
              <a:gd name="T6" fmla="*/ 32 w 137"/>
              <a:gd name="T7" fmla="*/ 15 h 84"/>
              <a:gd name="T8" fmla="*/ 24 w 137"/>
              <a:gd name="T9" fmla="*/ 31 h 84"/>
              <a:gd name="T10" fmla="*/ 22 w 137"/>
              <a:gd name="T11" fmla="*/ 31 h 84"/>
              <a:gd name="T12" fmla="*/ 4 w 137"/>
              <a:gd name="T13" fmla="*/ 39 h 84"/>
              <a:gd name="T14" fmla="*/ 3 w 137"/>
              <a:gd name="T15" fmla="*/ 57 h 84"/>
              <a:gd name="T16" fmla="*/ 16 w 137"/>
              <a:gd name="T17" fmla="*/ 66 h 84"/>
              <a:gd name="T18" fmla="*/ 28 w 137"/>
              <a:gd name="T19" fmla="*/ 72 h 84"/>
              <a:gd name="T20" fmla="*/ 34 w 137"/>
              <a:gd name="T21" fmla="*/ 71 h 84"/>
              <a:gd name="T22" fmla="*/ 54 w 137"/>
              <a:gd name="T23" fmla="*/ 84 h 84"/>
              <a:gd name="T24" fmla="*/ 58 w 137"/>
              <a:gd name="T25" fmla="*/ 83 h 84"/>
              <a:gd name="T26" fmla="*/ 76 w 137"/>
              <a:gd name="T27" fmla="*/ 73 h 84"/>
              <a:gd name="T28" fmla="*/ 91 w 137"/>
              <a:gd name="T29" fmla="*/ 80 h 84"/>
              <a:gd name="T30" fmla="*/ 94 w 137"/>
              <a:gd name="T31" fmla="*/ 79 h 84"/>
              <a:gd name="T32" fmla="*/ 107 w 137"/>
              <a:gd name="T33" fmla="*/ 67 h 84"/>
              <a:gd name="T34" fmla="*/ 114 w 137"/>
              <a:gd name="T35" fmla="*/ 68 h 84"/>
              <a:gd name="T36" fmla="*/ 133 w 137"/>
              <a:gd name="T37" fmla="*/ 58 h 84"/>
              <a:gd name="T38" fmla="*/ 133 w 137"/>
              <a:gd name="T39" fmla="*/ 37 h 84"/>
              <a:gd name="T40" fmla="*/ 119 w 137"/>
              <a:gd name="T41" fmla="*/ 29 h 84"/>
              <a:gd name="T42" fmla="*/ 117 w 137"/>
              <a:gd name="T43" fmla="*/ 29 h 84"/>
              <a:gd name="T44" fmla="*/ 105 w 137"/>
              <a:gd name="T45" fmla="*/ 19 h 84"/>
              <a:gd name="T46" fmla="*/ 100 w 137"/>
              <a:gd name="T47" fmla="*/ 19 h 84"/>
              <a:gd name="T48" fmla="*/ 78 w 137"/>
              <a:gd name="T49" fmla="*/ 0 h 84"/>
              <a:gd name="T50" fmla="*/ 77 w 137"/>
              <a:gd name="T5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84">
                <a:moveTo>
                  <a:pt x="77" y="0"/>
                </a:moveTo>
                <a:cubicBezTo>
                  <a:pt x="62" y="0"/>
                  <a:pt x="56" y="9"/>
                  <a:pt x="55" y="12"/>
                </a:cubicBezTo>
                <a:cubicBezTo>
                  <a:pt x="53" y="11"/>
                  <a:pt x="49" y="10"/>
                  <a:pt x="44" y="10"/>
                </a:cubicBezTo>
                <a:cubicBezTo>
                  <a:pt x="39" y="10"/>
                  <a:pt x="35" y="11"/>
                  <a:pt x="32" y="15"/>
                </a:cubicBezTo>
                <a:cubicBezTo>
                  <a:pt x="24" y="21"/>
                  <a:pt x="24" y="28"/>
                  <a:pt x="24" y="31"/>
                </a:cubicBezTo>
                <a:cubicBezTo>
                  <a:pt x="24" y="31"/>
                  <a:pt x="23" y="31"/>
                  <a:pt x="22" y="31"/>
                </a:cubicBezTo>
                <a:cubicBezTo>
                  <a:pt x="17" y="31"/>
                  <a:pt x="9" y="32"/>
                  <a:pt x="4" y="39"/>
                </a:cubicBezTo>
                <a:cubicBezTo>
                  <a:pt x="1" y="44"/>
                  <a:pt x="0" y="51"/>
                  <a:pt x="3" y="57"/>
                </a:cubicBezTo>
                <a:cubicBezTo>
                  <a:pt x="6" y="62"/>
                  <a:pt x="11" y="66"/>
                  <a:pt x="16" y="66"/>
                </a:cubicBezTo>
                <a:cubicBezTo>
                  <a:pt x="17" y="68"/>
                  <a:pt x="20" y="72"/>
                  <a:pt x="28" y="72"/>
                </a:cubicBezTo>
                <a:cubicBezTo>
                  <a:pt x="30" y="72"/>
                  <a:pt x="32" y="72"/>
                  <a:pt x="34" y="71"/>
                </a:cubicBezTo>
                <a:cubicBezTo>
                  <a:pt x="35" y="74"/>
                  <a:pt x="41" y="84"/>
                  <a:pt x="54" y="84"/>
                </a:cubicBezTo>
                <a:cubicBezTo>
                  <a:pt x="55" y="84"/>
                  <a:pt x="56" y="83"/>
                  <a:pt x="58" y="83"/>
                </a:cubicBezTo>
                <a:cubicBezTo>
                  <a:pt x="71" y="81"/>
                  <a:pt x="75" y="76"/>
                  <a:pt x="76" y="73"/>
                </a:cubicBezTo>
                <a:cubicBezTo>
                  <a:pt x="78" y="75"/>
                  <a:pt x="83" y="80"/>
                  <a:pt x="91" y="80"/>
                </a:cubicBezTo>
                <a:cubicBezTo>
                  <a:pt x="92" y="80"/>
                  <a:pt x="93" y="80"/>
                  <a:pt x="94" y="79"/>
                </a:cubicBezTo>
                <a:cubicBezTo>
                  <a:pt x="104" y="78"/>
                  <a:pt x="106" y="70"/>
                  <a:pt x="107" y="67"/>
                </a:cubicBezTo>
                <a:cubicBezTo>
                  <a:pt x="108" y="68"/>
                  <a:pt x="111" y="68"/>
                  <a:pt x="114" y="68"/>
                </a:cubicBezTo>
                <a:cubicBezTo>
                  <a:pt x="120" y="68"/>
                  <a:pt x="128" y="66"/>
                  <a:pt x="133" y="58"/>
                </a:cubicBezTo>
                <a:cubicBezTo>
                  <a:pt x="137" y="51"/>
                  <a:pt x="137" y="44"/>
                  <a:pt x="133" y="37"/>
                </a:cubicBezTo>
                <a:cubicBezTo>
                  <a:pt x="130" y="32"/>
                  <a:pt x="124" y="29"/>
                  <a:pt x="119" y="29"/>
                </a:cubicBezTo>
                <a:cubicBezTo>
                  <a:pt x="119" y="29"/>
                  <a:pt x="118" y="29"/>
                  <a:pt x="117" y="29"/>
                </a:cubicBezTo>
                <a:cubicBezTo>
                  <a:pt x="117" y="26"/>
                  <a:pt x="114" y="19"/>
                  <a:pt x="105" y="19"/>
                </a:cubicBezTo>
                <a:cubicBezTo>
                  <a:pt x="103" y="19"/>
                  <a:pt x="102" y="19"/>
                  <a:pt x="100" y="19"/>
                </a:cubicBezTo>
                <a:cubicBezTo>
                  <a:pt x="100" y="15"/>
                  <a:pt x="96" y="1"/>
                  <a:pt x="78" y="0"/>
                </a:cubicBezTo>
                <a:cubicBezTo>
                  <a:pt x="77" y="0"/>
                  <a:pt x="77" y="0"/>
                  <a:pt x="77"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
          <p:cNvSpPr>
            <a:spLocks/>
          </p:cNvSpPr>
          <p:nvPr/>
        </p:nvSpPr>
        <p:spPr bwMode="auto">
          <a:xfrm>
            <a:off x="3828421" y="1000125"/>
            <a:ext cx="404813" cy="247650"/>
          </a:xfrm>
          <a:custGeom>
            <a:avLst/>
            <a:gdLst>
              <a:gd name="T0" fmla="*/ 73 w 164"/>
              <a:gd name="T1" fmla="*/ 0 h 100"/>
              <a:gd name="T2" fmla="*/ 71 w 164"/>
              <a:gd name="T3" fmla="*/ 0 h 100"/>
              <a:gd name="T4" fmla="*/ 44 w 164"/>
              <a:gd name="T5" fmla="*/ 23 h 100"/>
              <a:gd name="T6" fmla="*/ 39 w 164"/>
              <a:gd name="T7" fmla="*/ 22 h 100"/>
              <a:gd name="T8" fmla="*/ 23 w 164"/>
              <a:gd name="T9" fmla="*/ 34 h 100"/>
              <a:gd name="T10" fmla="*/ 21 w 164"/>
              <a:gd name="T11" fmla="*/ 34 h 100"/>
              <a:gd name="T12" fmla="*/ 5 w 164"/>
              <a:gd name="T13" fmla="*/ 44 h 100"/>
              <a:gd name="T14" fmla="*/ 4 w 164"/>
              <a:gd name="T15" fmla="*/ 69 h 100"/>
              <a:gd name="T16" fmla="*/ 27 w 164"/>
              <a:gd name="T17" fmla="*/ 81 h 100"/>
              <a:gd name="T18" fmla="*/ 36 w 164"/>
              <a:gd name="T19" fmla="*/ 80 h 100"/>
              <a:gd name="T20" fmla="*/ 51 w 164"/>
              <a:gd name="T21" fmla="*/ 95 h 100"/>
              <a:gd name="T22" fmla="*/ 55 w 164"/>
              <a:gd name="T23" fmla="*/ 95 h 100"/>
              <a:gd name="T24" fmla="*/ 73 w 164"/>
              <a:gd name="T25" fmla="*/ 87 h 100"/>
              <a:gd name="T26" fmla="*/ 95 w 164"/>
              <a:gd name="T27" fmla="*/ 99 h 100"/>
              <a:gd name="T28" fmla="*/ 100 w 164"/>
              <a:gd name="T29" fmla="*/ 100 h 100"/>
              <a:gd name="T30" fmla="*/ 124 w 164"/>
              <a:gd name="T31" fmla="*/ 85 h 100"/>
              <a:gd name="T32" fmla="*/ 131 w 164"/>
              <a:gd name="T33" fmla="*/ 86 h 100"/>
              <a:gd name="T34" fmla="*/ 145 w 164"/>
              <a:gd name="T35" fmla="*/ 79 h 100"/>
              <a:gd name="T36" fmla="*/ 160 w 164"/>
              <a:gd name="T37" fmla="*/ 68 h 100"/>
              <a:gd name="T38" fmla="*/ 160 w 164"/>
              <a:gd name="T39" fmla="*/ 46 h 100"/>
              <a:gd name="T40" fmla="*/ 138 w 164"/>
              <a:gd name="T41" fmla="*/ 37 h 100"/>
              <a:gd name="T42" fmla="*/ 135 w 164"/>
              <a:gd name="T43" fmla="*/ 37 h 100"/>
              <a:gd name="T44" fmla="*/ 126 w 164"/>
              <a:gd name="T45" fmla="*/ 17 h 100"/>
              <a:gd name="T46" fmla="*/ 111 w 164"/>
              <a:gd name="T47" fmla="*/ 11 h 100"/>
              <a:gd name="T48" fmla="*/ 99 w 164"/>
              <a:gd name="T49" fmla="*/ 14 h 100"/>
              <a:gd name="T50" fmla="*/ 73 w 164"/>
              <a:gd name="T5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100">
                <a:moveTo>
                  <a:pt x="73" y="0"/>
                </a:moveTo>
                <a:cubicBezTo>
                  <a:pt x="72" y="0"/>
                  <a:pt x="71" y="0"/>
                  <a:pt x="71" y="0"/>
                </a:cubicBezTo>
                <a:cubicBezTo>
                  <a:pt x="49" y="1"/>
                  <a:pt x="45" y="18"/>
                  <a:pt x="44" y="23"/>
                </a:cubicBezTo>
                <a:cubicBezTo>
                  <a:pt x="42" y="22"/>
                  <a:pt x="40" y="22"/>
                  <a:pt x="39" y="22"/>
                </a:cubicBezTo>
                <a:cubicBezTo>
                  <a:pt x="28" y="22"/>
                  <a:pt x="24" y="31"/>
                  <a:pt x="23" y="34"/>
                </a:cubicBezTo>
                <a:cubicBezTo>
                  <a:pt x="23" y="34"/>
                  <a:pt x="22" y="34"/>
                  <a:pt x="21" y="34"/>
                </a:cubicBezTo>
                <a:cubicBezTo>
                  <a:pt x="15" y="34"/>
                  <a:pt x="9" y="38"/>
                  <a:pt x="5" y="44"/>
                </a:cubicBezTo>
                <a:cubicBezTo>
                  <a:pt x="0" y="52"/>
                  <a:pt x="0" y="61"/>
                  <a:pt x="4" y="69"/>
                </a:cubicBezTo>
                <a:cubicBezTo>
                  <a:pt x="10" y="79"/>
                  <a:pt x="20" y="81"/>
                  <a:pt x="27" y="81"/>
                </a:cubicBezTo>
                <a:cubicBezTo>
                  <a:pt x="31" y="81"/>
                  <a:pt x="34" y="81"/>
                  <a:pt x="36" y="80"/>
                </a:cubicBezTo>
                <a:cubicBezTo>
                  <a:pt x="37" y="84"/>
                  <a:pt x="39" y="93"/>
                  <a:pt x="51" y="95"/>
                </a:cubicBezTo>
                <a:cubicBezTo>
                  <a:pt x="53" y="95"/>
                  <a:pt x="54" y="95"/>
                  <a:pt x="55" y="95"/>
                </a:cubicBezTo>
                <a:cubicBezTo>
                  <a:pt x="64" y="95"/>
                  <a:pt x="70" y="90"/>
                  <a:pt x="73" y="87"/>
                </a:cubicBezTo>
                <a:cubicBezTo>
                  <a:pt x="74" y="91"/>
                  <a:pt x="79" y="97"/>
                  <a:pt x="95" y="99"/>
                </a:cubicBezTo>
                <a:cubicBezTo>
                  <a:pt x="97" y="100"/>
                  <a:pt x="98" y="100"/>
                  <a:pt x="100" y="100"/>
                </a:cubicBezTo>
                <a:cubicBezTo>
                  <a:pt x="116" y="100"/>
                  <a:pt x="122" y="89"/>
                  <a:pt x="124" y="85"/>
                </a:cubicBezTo>
                <a:cubicBezTo>
                  <a:pt x="127" y="86"/>
                  <a:pt x="129" y="86"/>
                  <a:pt x="131" y="86"/>
                </a:cubicBezTo>
                <a:cubicBezTo>
                  <a:pt x="140" y="86"/>
                  <a:pt x="144" y="81"/>
                  <a:pt x="145" y="79"/>
                </a:cubicBezTo>
                <a:cubicBezTo>
                  <a:pt x="151" y="79"/>
                  <a:pt x="157" y="75"/>
                  <a:pt x="160" y="68"/>
                </a:cubicBezTo>
                <a:cubicBezTo>
                  <a:pt x="164" y="60"/>
                  <a:pt x="164" y="52"/>
                  <a:pt x="160" y="46"/>
                </a:cubicBezTo>
                <a:cubicBezTo>
                  <a:pt x="153" y="38"/>
                  <a:pt x="144" y="37"/>
                  <a:pt x="138" y="37"/>
                </a:cubicBezTo>
                <a:cubicBezTo>
                  <a:pt x="137" y="37"/>
                  <a:pt x="136" y="37"/>
                  <a:pt x="135" y="37"/>
                </a:cubicBezTo>
                <a:cubicBezTo>
                  <a:pt x="136" y="33"/>
                  <a:pt x="136" y="25"/>
                  <a:pt x="126" y="17"/>
                </a:cubicBezTo>
                <a:cubicBezTo>
                  <a:pt x="122" y="13"/>
                  <a:pt x="117" y="11"/>
                  <a:pt x="111" y="11"/>
                </a:cubicBezTo>
                <a:cubicBezTo>
                  <a:pt x="106" y="11"/>
                  <a:pt x="101" y="13"/>
                  <a:pt x="99" y="14"/>
                </a:cubicBezTo>
                <a:cubicBezTo>
                  <a:pt x="97" y="10"/>
                  <a:pt x="90" y="0"/>
                  <a:pt x="7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9"/>
          <p:cNvSpPr>
            <a:spLocks/>
          </p:cNvSpPr>
          <p:nvPr/>
        </p:nvSpPr>
        <p:spPr bwMode="auto">
          <a:xfrm>
            <a:off x="7100258" y="945669"/>
            <a:ext cx="1577975" cy="960437"/>
          </a:xfrm>
          <a:custGeom>
            <a:avLst/>
            <a:gdLst>
              <a:gd name="T0" fmla="*/ 282 w 639"/>
              <a:gd name="T1" fmla="*/ 0 h 389"/>
              <a:gd name="T2" fmla="*/ 276 w 639"/>
              <a:gd name="T3" fmla="*/ 0 h 389"/>
              <a:gd name="T4" fmla="*/ 170 w 639"/>
              <a:gd name="T5" fmla="*/ 89 h 389"/>
              <a:gd name="T6" fmla="*/ 151 w 639"/>
              <a:gd name="T7" fmla="*/ 87 h 389"/>
              <a:gd name="T8" fmla="*/ 90 w 639"/>
              <a:gd name="T9" fmla="*/ 132 h 389"/>
              <a:gd name="T10" fmla="*/ 83 w 639"/>
              <a:gd name="T11" fmla="*/ 131 h 389"/>
              <a:gd name="T12" fmla="*/ 19 w 639"/>
              <a:gd name="T13" fmla="*/ 173 h 389"/>
              <a:gd name="T14" fmla="*/ 16 w 639"/>
              <a:gd name="T15" fmla="*/ 268 h 389"/>
              <a:gd name="T16" fmla="*/ 105 w 639"/>
              <a:gd name="T17" fmla="*/ 317 h 389"/>
              <a:gd name="T18" fmla="*/ 105 w 639"/>
              <a:gd name="T19" fmla="*/ 317 h 389"/>
              <a:gd name="T20" fmla="*/ 139 w 639"/>
              <a:gd name="T21" fmla="*/ 313 h 389"/>
              <a:gd name="T22" fmla="*/ 199 w 639"/>
              <a:gd name="T23" fmla="*/ 370 h 389"/>
              <a:gd name="T24" fmla="*/ 215 w 639"/>
              <a:gd name="T25" fmla="*/ 371 h 389"/>
              <a:gd name="T26" fmla="*/ 283 w 639"/>
              <a:gd name="T27" fmla="*/ 338 h 389"/>
              <a:gd name="T28" fmla="*/ 369 w 639"/>
              <a:gd name="T29" fmla="*/ 388 h 389"/>
              <a:gd name="T30" fmla="*/ 390 w 639"/>
              <a:gd name="T31" fmla="*/ 389 h 389"/>
              <a:gd name="T32" fmla="*/ 483 w 639"/>
              <a:gd name="T33" fmla="*/ 332 h 389"/>
              <a:gd name="T34" fmla="*/ 511 w 639"/>
              <a:gd name="T35" fmla="*/ 336 h 389"/>
              <a:gd name="T36" fmla="*/ 565 w 639"/>
              <a:gd name="T37" fmla="*/ 307 h 389"/>
              <a:gd name="T38" fmla="*/ 625 w 639"/>
              <a:gd name="T39" fmla="*/ 264 h 389"/>
              <a:gd name="T40" fmla="*/ 621 w 639"/>
              <a:gd name="T41" fmla="*/ 180 h 389"/>
              <a:gd name="T42" fmla="*/ 538 w 639"/>
              <a:gd name="T43" fmla="*/ 144 h 389"/>
              <a:gd name="T44" fmla="*/ 526 w 639"/>
              <a:gd name="T45" fmla="*/ 144 h 389"/>
              <a:gd name="T46" fmla="*/ 492 w 639"/>
              <a:gd name="T47" fmla="*/ 66 h 389"/>
              <a:gd name="T48" fmla="*/ 433 w 639"/>
              <a:gd name="T49" fmla="*/ 44 h 389"/>
              <a:gd name="T50" fmla="*/ 385 w 639"/>
              <a:gd name="T51" fmla="*/ 53 h 389"/>
              <a:gd name="T52" fmla="*/ 282 w 639"/>
              <a:gd name="T53"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9" h="389">
                <a:moveTo>
                  <a:pt x="282" y="0"/>
                </a:moveTo>
                <a:cubicBezTo>
                  <a:pt x="280" y="0"/>
                  <a:pt x="278" y="0"/>
                  <a:pt x="276" y="0"/>
                </a:cubicBezTo>
                <a:cubicBezTo>
                  <a:pt x="192" y="2"/>
                  <a:pt x="174" y="69"/>
                  <a:pt x="170" y="89"/>
                </a:cubicBezTo>
                <a:cubicBezTo>
                  <a:pt x="163" y="87"/>
                  <a:pt x="157" y="87"/>
                  <a:pt x="151" y="87"/>
                </a:cubicBezTo>
                <a:cubicBezTo>
                  <a:pt x="108" y="87"/>
                  <a:pt x="94" y="120"/>
                  <a:pt x="90" y="132"/>
                </a:cubicBezTo>
                <a:cubicBezTo>
                  <a:pt x="88" y="131"/>
                  <a:pt x="85" y="131"/>
                  <a:pt x="83" y="131"/>
                </a:cubicBezTo>
                <a:cubicBezTo>
                  <a:pt x="58" y="131"/>
                  <a:pt x="34" y="147"/>
                  <a:pt x="19" y="173"/>
                </a:cubicBezTo>
                <a:cubicBezTo>
                  <a:pt x="1" y="203"/>
                  <a:pt x="0" y="238"/>
                  <a:pt x="16" y="268"/>
                </a:cubicBezTo>
                <a:cubicBezTo>
                  <a:pt x="39" y="308"/>
                  <a:pt x="77" y="317"/>
                  <a:pt x="105" y="317"/>
                </a:cubicBezTo>
                <a:cubicBezTo>
                  <a:pt x="105" y="317"/>
                  <a:pt x="105" y="317"/>
                  <a:pt x="105" y="317"/>
                </a:cubicBezTo>
                <a:cubicBezTo>
                  <a:pt x="120" y="317"/>
                  <a:pt x="133" y="314"/>
                  <a:pt x="139" y="313"/>
                </a:cubicBezTo>
                <a:cubicBezTo>
                  <a:pt x="142" y="327"/>
                  <a:pt x="152" y="361"/>
                  <a:pt x="199" y="370"/>
                </a:cubicBezTo>
                <a:cubicBezTo>
                  <a:pt x="204" y="371"/>
                  <a:pt x="210" y="371"/>
                  <a:pt x="215" y="371"/>
                </a:cubicBezTo>
                <a:cubicBezTo>
                  <a:pt x="250" y="371"/>
                  <a:pt x="273" y="350"/>
                  <a:pt x="283" y="338"/>
                </a:cubicBezTo>
                <a:cubicBezTo>
                  <a:pt x="289" y="353"/>
                  <a:pt x="307" y="378"/>
                  <a:pt x="369" y="388"/>
                </a:cubicBezTo>
                <a:cubicBezTo>
                  <a:pt x="376" y="389"/>
                  <a:pt x="383" y="389"/>
                  <a:pt x="390" y="389"/>
                </a:cubicBezTo>
                <a:cubicBezTo>
                  <a:pt x="450" y="389"/>
                  <a:pt x="476" y="346"/>
                  <a:pt x="483" y="332"/>
                </a:cubicBezTo>
                <a:cubicBezTo>
                  <a:pt x="493" y="335"/>
                  <a:pt x="502" y="336"/>
                  <a:pt x="511" y="336"/>
                </a:cubicBezTo>
                <a:cubicBezTo>
                  <a:pt x="545" y="336"/>
                  <a:pt x="560" y="315"/>
                  <a:pt x="565" y="307"/>
                </a:cubicBezTo>
                <a:cubicBezTo>
                  <a:pt x="589" y="307"/>
                  <a:pt x="611" y="290"/>
                  <a:pt x="625" y="264"/>
                </a:cubicBezTo>
                <a:cubicBezTo>
                  <a:pt x="639" y="234"/>
                  <a:pt x="638" y="202"/>
                  <a:pt x="621" y="180"/>
                </a:cubicBezTo>
                <a:cubicBezTo>
                  <a:pt x="598" y="148"/>
                  <a:pt x="559" y="144"/>
                  <a:pt x="538" y="144"/>
                </a:cubicBezTo>
                <a:cubicBezTo>
                  <a:pt x="534" y="144"/>
                  <a:pt x="530" y="144"/>
                  <a:pt x="526" y="144"/>
                </a:cubicBezTo>
                <a:cubicBezTo>
                  <a:pt x="528" y="130"/>
                  <a:pt x="528" y="98"/>
                  <a:pt x="492" y="66"/>
                </a:cubicBezTo>
                <a:cubicBezTo>
                  <a:pt x="476" y="51"/>
                  <a:pt x="456" y="44"/>
                  <a:pt x="433" y="44"/>
                </a:cubicBezTo>
                <a:cubicBezTo>
                  <a:pt x="411" y="44"/>
                  <a:pt x="393" y="50"/>
                  <a:pt x="385" y="53"/>
                </a:cubicBezTo>
                <a:cubicBezTo>
                  <a:pt x="378" y="40"/>
                  <a:pt x="351" y="0"/>
                  <a:pt x="282" y="0"/>
                </a:cubicBezTo>
              </a:path>
            </a:pathLst>
          </a:custGeom>
          <a:solidFill>
            <a:schemeClr val="bg1">
              <a:alpha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10"/>
          <p:cNvSpPr>
            <a:spLocks/>
          </p:cNvSpPr>
          <p:nvPr/>
        </p:nvSpPr>
        <p:spPr bwMode="auto">
          <a:xfrm>
            <a:off x="3334708" y="977900"/>
            <a:ext cx="122238" cy="109537"/>
          </a:xfrm>
          <a:custGeom>
            <a:avLst/>
            <a:gdLst>
              <a:gd name="T0" fmla="*/ 25 w 50"/>
              <a:gd name="T1" fmla="*/ 0 h 44"/>
              <a:gd name="T2" fmla="*/ 5 w 50"/>
              <a:gd name="T3" fmla="*/ 13 h 44"/>
              <a:gd name="T4" fmla="*/ 16 w 50"/>
              <a:gd name="T5" fmla="*/ 42 h 44"/>
              <a:gd name="T6" fmla="*/ 25 w 50"/>
              <a:gd name="T7" fmla="*/ 44 h 44"/>
              <a:gd name="T8" fmla="*/ 45 w 50"/>
              <a:gd name="T9" fmla="*/ 32 h 44"/>
              <a:gd name="T10" fmla="*/ 34 w 50"/>
              <a:gd name="T11" fmla="*/ 2 h 44"/>
              <a:gd name="T12" fmla="*/ 25 w 50"/>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50" h="44">
                <a:moveTo>
                  <a:pt x="25" y="0"/>
                </a:moveTo>
                <a:cubicBezTo>
                  <a:pt x="17" y="0"/>
                  <a:pt x="9" y="5"/>
                  <a:pt x="5" y="13"/>
                </a:cubicBezTo>
                <a:cubicBezTo>
                  <a:pt x="0" y="24"/>
                  <a:pt x="5" y="37"/>
                  <a:pt x="16" y="42"/>
                </a:cubicBezTo>
                <a:cubicBezTo>
                  <a:pt x="19" y="44"/>
                  <a:pt x="22" y="44"/>
                  <a:pt x="25" y="44"/>
                </a:cubicBezTo>
                <a:cubicBezTo>
                  <a:pt x="33" y="44"/>
                  <a:pt x="41" y="40"/>
                  <a:pt x="45" y="32"/>
                </a:cubicBezTo>
                <a:cubicBezTo>
                  <a:pt x="50" y="21"/>
                  <a:pt x="45" y="7"/>
                  <a:pt x="34" y="2"/>
                </a:cubicBezTo>
                <a:cubicBezTo>
                  <a:pt x="31" y="1"/>
                  <a:pt x="28" y="0"/>
                  <a:pt x="2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11"/>
          <p:cNvSpPr>
            <a:spLocks/>
          </p:cNvSpPr>
          <p:nvPr/>
        </p:nvSpPr>
        <p:spPr bwMode="auto">
          <a:xfrm>
            <a:off x="3523621" y="1111250"/>
            <a:ext cx="193675" cy="171450"/>
          </a:xfrm>
          <a:custGeom>
            <a:avLst/>
            <a:gdLst>
              <a:gd name="T0" fmla="*/ 39 w 78"/>
              <a:gd name="T1" fmla="*/ 0 h 69"/>
              <a:gd name="T2" fmla="*/ 8 w 78"/>
              <a:gd name="T3" fmla="*/ 20 h 69"/>
              <a:gd name="T4" fmla="*/ 24 w 78"/>
              <a:gd name="T5" fmla="*/ 66 h 69"/>
              <a:gd name="T6" fmla="*/ 39 w 78"/>
              <a:gd name="T7" fmla="*/ 69 h 69"/>
              <a:gd name="T8" fmla="*/ 70 w 78"/>
              <a:gd name="T9" fmla="*/ 49 h 69"/>
              <a:gd name="T10" fmla="*/ 53 w 78"/>
              <a:gd name="T11" fmla="*/ 3 h 69"/>
              <a:gd name="T12" fmla="*/ 39 w 78"/>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78" h="69">
                <a:moveTo>
                  <a:pt x="39" y="0"/>
                </a:moveTo>
                <a:cubicBezTo>
                  <a:pt x="26" y="0"/>
                  <a:pt x="13" y="7"/>
                  <a:pt x="8" y="20"/>
                </a:cubicBezTo>
                <a:cubicBezTo>
                  <a:pt x="0" y="37"/>
                  <a:pt x="7" y="58"/>
                  <a:pt x="24" y="66"/>
                </a:cubicBezTo>
                <a:cubicBezTo>
                  <a:pt x="29" y="68"/>
                  <a:pt x="34" y="69"/>
                  <a:pt x="39" y="69"/>
                </a:cubicBezTo>
                <a:cubicBezTo>
                  <a:pt x="52" y="69"/>
                  <a:pt x="64" y="61"/>
                  <a:pt x="70" y="49"/>
                </a:cubicBezTo>
                <a:cubicBezTo>
                  <a:pt x="78" y="32"/>
                  <a:pt x="71" y="11"/>
                  <a:pt x="53" y="3"/>
                </a:cubicBezTo>
                <a:cubicBezTo>
                  <a:pt x="49" y="1"/>
                  <a:pt x="44" y="0"/>
                  <a:pt x="3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12"/>
          <p:cNvSpPr>
            <a:spLocks/>
          </p:cNvSpPr>
          <p:nvPr/>
        </p:nvSpPr>
        <p:spPr bwMode="auto">
          <a:xfrm>
            <a:off x="2766383" y="3327400"/>
            <a:ext cx="123825" cy="111125"/>
          </a:xfrm>
          <a:custGeom>
            <a:avLst/>
            <a:gdLst>
              <a:gd name="T0" fmla="*/ 25 w 50"/>
              <a:gd name="T1" fmla="*/ 0 h 45"/>
              <a:gd name="T2" fmla="*/ 15 w 50"/>
              <a:gd name="T3" fmla="*/ 3 h 45"/>
              <a:gd name="T4" fmla="*/ 5 w 50"/>
              <a:gd name="T5" fmla="*/ 32 h 45"/>
              <a:gd name="T6" fmla="*/ 25 w 50"/>
              <a:gd name="T7" fmla="*/ 45 h 45"/>
              <a:gd name="T8" fmla="*/ 35 w 50"/>
              <a:gd name="T9" fmla="*/ 42 h 45"/>
              <a:gd name="T10" fmla="*/ 45 w 50"/>
              <a:gd name="T11" fmla="*/ 13 h 45"/>
              <a:gd name="T12" fmla="*/ 25 w 5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50" h="45">
                <a:moveTo>
                  <a:pt x="25" y="0"/>
                </a:moveTo>
                <a:cubicBezTo>
                  <a:pt x="22" y="0"/>
                  <a:pt x="18" y="1"/>
                  <a:pt x="15" y="3"/>
                </a:cubicBezTo>
                <a:cubicBezTo>
                  <a:pt x="4" y="8"/>
                  <a:pt x="0" y="21"/>
                  <a:pt x="5" y="32"/>
                </a:cubicBezTo>
                <a:cubicBezTo>
                  <a:pt x="9" y="40"/>
                  <a:pt x="17" y="45"/>
                  <a:pt x="25" y="45"/>
                </a:cubicBezTo>
                <a:cubicBezTo>
                  <a:pt x="28" y="45"/>
                  <a:pt x="32" y="44"/>
                  <a:pt x="35" y="42"/>
                </a:cubicBezTo>
                <a:cubicBezTo>
                  <a:pt x="46" y="37"/>
                  <a:pt x="50" y="23"/>
                  <a:pt x="45" y="13"/>
                </a:cubicBezTo>
                <a:cubicBezTo>
                  <a:pt x="41" y="5"/>
                  <a:pt x="33" y="0"/>
                  <a:pt x="2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13"/>
          <p:cNvSpPr>
            <a:spLocks/>
          </p:cNvSpPr>
          <p:nvPr/>
        </p:nvSpPr>
        <p:spPr bwMode="auto">
          <a:xfrm>
            <a:off x="2747333" y="3576638"/>
            <a:ext cx="82550" cy="71437"/>
          </a:xfrm>
          <a:custGeom>
            <a:avLst/>
            <a:gdLst>
              <a:gd name="T0" fmla="*/ 17 w 34"/>
              <a:gd name="T1" fmla="*/ 0 h 29"/>
              <a:gd name="T2" fmla="*/ 10 w 34"/>
              <a:gd name="T3" fmla="*/ 1 h 29"/>
              <a:gd name="T4" fmla="*/ 4 w 34"/>
              <a:gd name="T5" fmla="*/ 21 h 29"/>
              <a:gd name="T6" fmla="*/ 17 w 34"/>
              <a:gd name="T7" fmla="*/ 29 h 29"/>
              <a:gd name="T8" fmla="*/ 24 w 34"/>
              <a:gd name="T9" fmla="*/ 28 h 29"/>
              <a:gd name="T10" fmla="*/ 30 w 34"/>
              <a:gd name="T11" fmla="*/ 8 h 29"/>
              <a:gd name="T12" fmla="*/ 17 w 34"/>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4" h="29">
                <a:moveTo>
                  <a:pt x="17" y="0"/>
                </a:moveTo>
                <a:cubicBezTo>
                  <a:pt x="15" y="0"/>
                  <a:pt x="12" y="0"/>
                  <a:pt x="10" y="1"/>
                </a:cubicBezTo>
                <a:cubicBezTo>
                  <a:pt x="3" y="5"/>
                  <a:pt x="0" y="14"/>
                  <a:pt x="4" y="21"/>
                </a:cubicBezTo>
                <a:cubicBezTo>
                  <a:pt x="6" y="26"/>
                  <a:pt x="11" y="29"/>
                  <a:pt x="17" y="29"/>
                </a:cubicBezTo>
                <a:cubicBezTo>
                  <a:pt x="19" y="29"/>
                  <a:pt x="21" y="29"/>
                  <a:pt x="24" y="28"/>
                </a:cubicBezTo>
                <a:cubicBezTo>
                  <a:pt x="31" y="24"/>
                  <a:pt x="34" y="15"/>
                  <a:pt x="30" y="8"/>
                </a:cubicBezTo>
                <a:cubicBezTo>
                  <a:pt x="28" y="3"/>
                  <a:pt x="22" y="0"/>
                  <a:pt x="17"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14"/>
          <p:cNvSpPr>
            <a:spLocks/>
          </p:cNvSpPr>
          <p:nvPr/>
        </p:nvSpPr>
        <p:spPr bwMode="auto">
          <a:xfrm>
            <a:off x="5939796" y="6151563"/>
            <a:ext cx="120650" cy="109537"/>
          </a:xfrm>
          <a:custGeom>
            <a:avLst/>
            <a:gdLst>
              <a:gd name="T0" fmla="*/ 24 w 49"/>
              <a:gd name="T1" fmla="*/ 0 h 44"/>
              <a:gd name="T2" fmla="*/ 8 w 49"/>
              <a:gd name="T3" fmla="*/ 7 h 44"/>
              <a:gd name="T4" fmla="*/ 9 w 49"/>
              <a:gd name="T5" fmla="*/ 38 h 44"/>
              <a:gd name="T6" fmla="*/ 24 w 49"/>
              <a:gd name="T7" fmla="*/ 44 h 44"/>
              <a:gd name="T8" fmla="*/ 40 w 49"/>
              <a:gd name="T9" fmla="*/ 37 h 44"/>
              <a:gd name="T10" fmla="*/ 39 w 49"/>
              <a:gd name="T11" fmla="*/ 6 h 44"/>
              <a:gd name="T12" fmla="*/ 24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24" y="0"/>
                </a:moveTo>
                <a:cubicBezTo>
                  <a:pt x="18" y="0"/>
                  <a:pt x="12" y="2"/>
                  <a:pt x="8" y="7"/>
                </a:cubicBezTo>
                <a:cubicBezTo>
                  <a:pt x="0" y="16"/>
                  <a:pt x="0" y="30"/>
                  <a:pt x="9" y="38"/>
                </a:cubicBezTo>
                <a:cubicBezTo>
                  <a:pt x="13" y="42"/>
                  <a:pt x="19" y="44"/>
                  <a:pt x="24" y="44"/>
                </a:cubicBezTo>
                <a:cubicBezTo>
                  <a:pt x="30" y="44"/>
                  <a:pt x="36" y="42"/>
                  <a:pt x="40" y="37"/>
                </a:cubicBezTo>
                <a:cubicBezTo>
                  <a:pt x="49" y="28"/>
                  <a:pt x="48" y="14"/>
                  <a:pt x="39" y="6"/>
                </a:cubicBezTo>
                <a:cubicBezTo>
                  <a:pt x="35" y="2"/>
                  <a:pt x="30" y="0"/>
                  <a:pt x="24"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15"/>
          <p:cNvSpPr>
            <a:spLocks/>
          </p:cNvSpPr>
          <p:nvPr/>
        </p:nvSpPr>
        <p:spPr bwMode="auto">
          <a:xfrm>
            <a:off x="5914396" y="5938838"/>
            <a:ext cx="80963" cy="74612"/>
          </a:xfrm>
          <a:custGeom>
            <a:avLst/>
            <a:gdLst>
              <a:gd name="T0" fmla="*/ 16 w 33"/>
              <a:gd name="T1" fmla="*/ 0 h 30"/>
              <a:gd name="T2" fmla="*/ 5 w 33"/>
              <a:gd name="T3" fmla="*/ 5 h 30"/>
              <a:gd name="T4" fmla="*/ 6 w 33"/>
              <a:gd name="T5" fmla="*/ 26 h 30"/>
              <a:gd name="T6" fmla="*/ 16 w 33"/>
              <a:gd name="T7" fmla="*/ 30 h 30"/>
              <a:gd name="T8" fmla="*/ 27 w 33"/>
              <a:gd name="T9" fmla="*/ 26 h 30"/>
              <a:gd name="T10" fmla="*/ 27 w 33"/>
              <a:gd name="T11" fmla="*/ 4 h 30"/>
              <a:gd name="T12" fmla="*/ 16 w 3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3" h="30">
                <a:moveTo>
                  <a:pt x="16" y="0"/>
                </a:moveTo>
                <a:cubicBezTo>
                  <a:pt x="12" y="0"/>
                  <a:pt x="8" y="2"/>
                  <a:pt x="5" y="5"/>
                </a:cubicBezTo>
                <a:cubicBezTo>
                  <a:pt x="0" y="11"/>
                  <a:pt x="0" y="21"/>
                  <a:pt x="6" y="26"/>
                </a:cubicBezTo>
                <a:cubicBezTo>
                  <a:pt x="9" y="29"/>
                  <a:pt x="13" y="30"/>
                  <a:pt x="16" y="30"/>
                </a:cubicBezTo>
                <a:cubicBezTo>
                  <a:pt x="20" y="30"/>
                  <a:pt x="24" y="29"/>
                  <a:pt x="27" y="26"/>
                </a:cubicBezTo>
                <a:cubicBezTo>
                  <a:pt x="33" y="19"/>
                  <a:pt x="33" y="10"/>
                  <a:pt x="27" y="4"/>
                </a:cubicBezTo>
                <a:cubicBezTo>
                  <a:pt x="24" y="2"/>
                  <a:pt x="20" y="0"/>
                  <a:pt x="1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16"/>
          <p:cNvSpPr>
            <a:spLocks/>
          </p:cNvSpPr>
          <p:nvPr/>
        </p:nvSpPr>
        <p:spPr bwMode="auto">
          <a:xfrm>
            <a:off x="6128708" y="5959475"/>
            <a:ext cx="188913" cy="168275"/>
          </a:xfrm>
          <a:custGeom>
            <a:avLst/>
            <a:gdLst>
              <a:gd name="T0" fmla="*/ 38 w 76"/>
              <a:gd name="T1" fmla="*/ 0 h 68"/>
              <a:gd name="T2" fmla="*/ 13 w 76"/>
              <a:gd name="T3" fmla="*/ 11 h 68"/>
              <a:gd name="T4" fmla="*/ 15 w 76"/>
              <a:gd name="T5" fmla="*/ 59 h 68"/>
              <a:gd name="T6" fmla="*/ 38 w 76"/>
              <a:gd name="T7" fmla="*/ 68 h 68"/>
              <a:gd name="T8" fmla="*/ 63 w 76"/>
              <a:gd name="T9" fmla="*/ 57 h 68"/>
              <a:gd name="T10" fmla="*/ 61 w 76"/>
              <a:gd name="T11" fmla="*/ 9 h 68"/>
              <a:gd name="T12" fmla="*/ 38 w 7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76" h="68">
                <a:moveTo>
                  <a:pt x="38" y="0"/>
                </a:moveTo>
                <a:cubicBezTo>
                  <a:pt x="29" y="0"/>
                  <a:pt x="19" y="3"/>
                  <a:pt x="13" y="11"/>
                </a:cubicBezTo>
                <a:cubicBezTo>
                  <a:pt x="0" y="25"/>
                  <a:pt x="1" y="46"/>
                  <a:pt x="15" y="59"/>
                </a:cubicBezTo>
                <a:cubicBezTo>
                  <a:pt x="21" y="65"/>
                  <a:pt x="30" y="68"/>
                  <a:pt x="38" y="68"/>
                </a:cubicBezTo>
                <a:cubicBezTo>
                  <a:pt x="47" y="68"/>
                  <a:pt x="56" y="65"/>
                  <a:pt x="63" y="57"/>
                </a:cubicBezTo>
                <a:cubicBezTo>
                  <a:pt x="76" y="43"/>
                  <a:pt x="75" y="22"/>
                  <a:pt x="61" y="9"/>
                </a:cubicBezTo>
                <a:cubicBezTo>
                  <a:pt x="55" y="3"/>
                  <a:pt x="46" y="0"/>
                  <a:pt x="38"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17"/>
          <p:cNvSpPr>
            <a:spLocks/>
          </p:cNvSpPr>
          <p:nvPr/>
        </p:nvSpPr>
        <p:spPr bwMode="auto">
          <a:xfrm>
            <a:off x="9076696" y="4497388"/>
            <a:ext cx="115888" cy="107950"/>
          </a:xfrm>
          <a:custGeom>
            <a:avLst/>
            <a:gdLst>
              <a:gd name="T0" fmla="*/ 23 w 47"/>
              <a:gd name="T1" fmla="*/ 0 h 44"/>
              <a:gd name="T2" fmla="*/ 1 w 47"/>
              <a:gd name="T3" fmla="*/ 19 h 44"/>
              <a:gd name="T4" fmla="*/ 21 w 47"/>
              <a:gd name="T5" fmla="*/ 44 h 44"/>
              <a:gd name="T6" fmla="*/ 23 w 47"/>
              <a:gd name="T7" fmla="*/ 44 h 44"/>
              <a:gd name="T8" fmla="*/ 45 w 47"/>
              <a:gd name="T9" fmla="*/ 25 h 44"/>
              <a:gd name="T10" fmla="*/ 26 w 47"/>
              <a:gd name="T11" fmla="*/ 0 h 44"/>
              <a:gd name="T12" fmla="*/ 23 w 47"/>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7" h="44">
                <a:moveTo>
                  <a:pt x="23" y="0"/>
                </a:moveTo>
                <a:cubicBezTo>
                  <a:pt x="12" y="0"/>
                  <a:pt x="3" y="8"/>
                  <a:pt x="1" y="19"/>
                </a:cubicBezTo>
                <a:cubicBezTo>
                  <a:pt x="0" y="32"/>
                  <a:pt x="8" y="43"/>
                  <a:pt x="21" y="44"/>
                </a:cubicBezTo>
                <a:cubicBezTo>
                  <a:pt x="21" y="44"/>
                  <a:pt x="22" y="44"/>
                  <a:pt x="23" y="44"/>
                </a:cubicBezTo>
                <a:cubicBezTo>
                  <a:pt x="34" y="44"/>
                  <a:pt x="44" y="36"/>
                  <a:pt x="45" y="25"/>
                </a:cubicBezTo>
                <a:cubicBezTo>
                  <a:pt x="47" y="13"/>
                  <a:pt x="38" y="2"/>
                  <a:pt x="26" y="0"/>
                </a:cubicBezTo>
                <a:cubicBezTo>
                  <a:pt x="25" y="0"/>
                  <a:pt x="24" y="0"/>
                  <a:pt x="2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18"/>
          <p:cNvSpPr>
            <a:spLocks/>
          </p:cNvSpPr>
          <p:nvPr/>
        </p:nvSpPr>
        <p:spPr bwMode="auto">
          <a:xfrm>
            <a:off x="8927471" y="4354513"/>
            <a:ext cx="77788" cy="73025"/>
          </a:xfrm>
          <a:custGeom>
            <a:avLst/>
            <a:gdLst>
              <a:gd name="T0" fmla="*/ 16 w 32"/>
              <a:gd name="T1" fmla="*/ 0 h 30"/>
              <a:gd name="T2" fmla="*/ 1 w 32"/>
              <a:gd name="T3" fmla="*/ 13 h 30"/>
              <a:gd name="T4" fmla="*/ 14 w 32"/>
              <a:gd name="T5" fmla="*/ 30 h 30"/>
              <a:gd name="T6" fmla="*/ 16 w 32"/>
              <a:gd name="T7" fmla="*/ 30 h 30"/>
              <a:gd name="T8" fmla="*/ 31 w 32"/>
              <a:gd name="T9" fmla="*/ 17 h 30"/>
              <a:gd name="T10" fmla="*/ 18 w 32"/>
              <a:gd name="T11" fmla="*/ 0 h 30"/>
              <a:gd name="T12" fmla="*/ 16 w 3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2" h="30">
                <a:moveTo>
                  <a:pt x="16" y="0"/>
                </a:moveTo>
                <a:cubicBezTo>
                  <a:pt x="9" y="0"/>
                  <a:pt x="2" y="6"/>
                  <a:pt x="1" y="13"/>
                </a:cubicBezTo>
                <a:cubicBezTo>
                  <a:pt x="0" y="21"/>
                  <a:pt x="6" y="29"/>
                  <a:pt x="14" y="30"/>
                </a:cubicBezTo>
                <a:cubicBezTo>
                  <a:pt x="15" y="30"/>
                  <a:pt x="16" y="30"/>
                  <a:pt x="16" y="30"/>
                </a:cubicBezTo>
                <a:cubicBezTo>
                  <a:pt x="24" y="30"/>
                  <a:pt x="30" y="24"/>
                  <a:pt x="31" y="17"/>
                </a:cubicBezTo>
                <a:cubicBezTo>
                  <a:pt x="32" y="9"/>
                  <a:pt x="26" y="1"/>
                  <a:pt x="18" y="0"/>
                </a:cubicBezTo>
                <a:cubicBezTo>
                  <a:pt x="17" y="0"/>
                  <a:pt x="17" y="0"/>
                  <a:pt x="1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19"/>
          <p:cNvSpPr>
            <a:spLocks/>
          </p:cNvSpPr>
          <p:nvPr/>
        </p:nvSpPr>
        <p:spPr bwMode="auto">
          <a:xfrm>
            <a:off x="9133846" y="4203700"/>
            <a:ext cx="180975" cy="169862"/>
          </a:xfrm>
          <a:custGeom>
            <a:avLst/>
            <a:gdLst>
              <a:gd name="T0" fmla="*/ 36 w 73"/>
              <a:gd name="T1" fmla="*/ 0 h 69"/>
              <a:gd name="T2" fmla="*/ 2 w 73"/>
              <a:gd name="T3" fmla="*/ 30 h 69"/>
              <a:gd name="T4" fmla="*/ 32 w 73"/>
              <a:gd name="T5" fmla="*/ 69 h 69"/>
              <a:gd name="T6" fmla="*/ 36 w 73"/>
              <a:gd name="T7" fmla="*/ 69 h 69"/>
              <a:gd name="T8" fmla="*/ 70 w 73"/>
              <a:gd name="T9" fmla="*/ 39 h 69"/>
              <a:gd name="T10" fmla="*/ 41 w 73"/>
              <a:gd name="T11" fmla="*/ 1 h 69"/>
              <a:gd name="T12" fmla="*/ 36 w 73"/>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73" h="69">
                <a:moveTo>
                  <a:pt x="36" y="0"/>
                </a:moveTo>
                <a:cubicBezTo>
                  <a:pt x="19" y="0"/>
                  <a:pt x="4" y="13"/>
                  <a:pt x="2" y="30"/>
                </a:cubicBezTo>
                <a:cubicBezTo>
                  <a:pt x="0" y="49"/>
                  <a:pt x="13" y="67"/>
                  <a:pt x="32" y="69"/>
                </a:cubicBezTo>
                <a:cubicBezTo>
                  <a:pt x="33" y="69"/>
                  <a:pt x="35" y="69"/>
                  <a:pt x="36" y="69"/>
                </a:cubicBezTo>
                <a:cubicBezTo>
                  <a:pt x="53" y="69"/>
                  <a:pt x="68" y="57"/>
                  <a:pt x="70" y="39"/>
                </a:cubicBezTo>
                <a:cubicBezTo>
                  <a:pt x="73" y="20"/>
                  <a:pt x="59" y="3"/>
                  <a:pt x="41" y="1"/>
                </a:cubicBezTo>
                <a:cubicBezTo>
                  <a:pt x="39" y="1"/>
                  <a:pt x="38" y="0"/>
                  <a:pt x="3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20"/>
          <p:cNvSpPr>
            <a:spLocks/>
          </p:cNvSpPr>
          <p:nvPr/>
        </p:nvSpPr>
        <p:spPr bwMode="auto">
          <a:xfrm>
            <a:off x="5838196" y="736600"/>
            <a:ext cx="112713" cy="107950"/>
          </a:xfrm>
          <a:custGeom>
            <a:avLst/>
            <a:gdLst>
              <a:gd name="T0" fmla="*/ 23 w 46"/>
              <a:gd name="T1" fmla="*/ 0 h 44"/>
              <a:gd name="T2" fmla="*/ 21 w 46"/>
              <a:gd name="T3" fmla="*/ 0 h 44"/>
              <a:gd name="T4" fmla="*/ 1 w 46"/>
              <a:gd name="T5" fmla="*/ 25 h 44"/>
              <a:gd name="T6" fmla="*/ 23 w 46"/>
              <a:gd name="T7" fmla="*/ 44 h 44"/>
              <a:gd name="T8" fmla="*/ 25 w 46"/>
              <a:gd name="T9" fmla="*/ 44 h 44"/>
              <a:gd name="T10" fmla="*/ 45 w 46"/>
              <a:gd name="T11" fmla="*/ 20 h 44"/>
              <a:gd name="T12" fmla="*/ 23 w 46"/>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6" h="44">
                <a:moveTo>
                  <a:pt x="23" y="0"/>
                </a:moveTo>
                <a:cubicBezTo>
                  <a:pt x="22" y="0"/>
                  <a:pt x="21" y="0"/>
                  <a:pt x="21" y="0"/>
                </a:cubicBezTo>
                <a:cubicBezTo>
                  <a:pt x="8" y="2"/>
                  <a:pt x="0" y="13"/>
                  <a:pt x="1" y="25"/>
                </a:cubicBezTo>
                <a:cubicBezTo>
                  <a:pt x="2" y="36"/>
                  <a:pt x="12" y="44"/>
                  <a:pt x="23" y="44"/>
                </a:cubicBezTo>
                <a:cubicBezTo>
                  <a:pt x="24" y="44"/>
                  <a:pt x="25" y="44"/>
                  <a:pt x="25" y="44"/>
                </a:cubicBezTo>
                <a:cubicBezTo>
                  <a:pt x="38" y="43"/>
                  <a:pt x="46" y="32"/>
                  <a:pt x="45" y="20"/>
                </a:cubicBezTo>
                <a:cubicBezTo>
                  <a:pt x="44" y="9"/>
                  <a:pt x="34" y="0"/>
                  <a:pt x="2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21"/>
          <p:cNvSpPr>
            <a:spLocks/>
          </p:cNvSpPr>
          <p:nvPr/>
        </p:nvSpPr>
        <p:spPr bwMode="auto">
          <a:xfrm>
            <a:off x="5973133" y="554038"/>
            <a:ext cx="77788" cy="74612"/>
          </a:xfrm>
          <a:custGeom>
            <a:avLst/>
            <a:gdLst>
              <a:gd name="T0" fmla="*/ 15 w 31"/>
              <a:gd name="T1" fmla="*/ 0 h 30"/>
              <a:gd name="T2" fmla="*/ 14 w 31"/>
              <a:gd name="T3" fmla="*/ 0 h 30"/>
              <a:gd name="T4" fmla="*/ 1 w 31"/>
              <a:gd name="T5" fmla="*/ 16 h 30"/>
              <a:gd name="T6" fmla="*/ 15 w 31"/>
              <a:gd name="T7" fmla="*/ 30 h 30"/>
              <a:gd name="T8" fmla="*/ 17 w 31"/>
              <a:gd name="T9" fmla="*/ 29 h 30"/>
              <a:gd name="T10" fmla="*/ 30 w 31"/>
              <a:gd name="T11" fmla="*/ 13 h 30"/>
              <a:gd name="T12" fmla="*/ 15 w 3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15" y="0"/>
                </a:moveTo>
                <a:cubicBezTo>
                  <a:pt x="15" y="0"/>
                  <a:pt x="14" y="0"/>
                  <a:pt x="14" y="0"/>
                </a:cubicBezTo>
                <a:cubicBezTo>
                  <a:pt x="6" y="1"/>
                  <a:pt x="0" y="8"/>
                  <a:pt x="1" y="16"/>
                </a:cubicBezTo>
                <a:cubicBezTo>
                  <a:pt x="1" y="24"/>
                  <a:pt x="8" y="30"/>
                  <a:pt x="15" y="30"/>
                </a:cubicBezTo>
                <a:cubicBezTo>
                  <a:pt x="16" y="30"/>
                  <a:pt x="16" y="30"/>
                  <a:pt x="17" y="29"/>
                </a:cubicBezTo>
                <a:cubicBezTo>
                  <a:pt x="25" y="29"/>
                  <a:pt x="31" y="21"/>
                  <a:pt x="30" y="13"/>
                </a:cubicBezTo>
                <a:cubicBezTo>
                  <a:pt x="29" y="5"/>
                  <a:pt x="23" y="0"/>
                  <a:pt x="1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22"/>
          <p:cNvSpPr>
            <a:spLocks/>
          </p:cNvSpPr>
          <p:nvPr/>
        </p:nvSpPr>
        <p:spPr bwMode="auto">
          <a:xfrm>
            <a:off x="6082671" y="728663"/>
            <a:ext cx="177800" cy="171450"/>
          </a:xfrm>
          <a:custGeom>
            <a:avLst/>
            <a:gdLst>
              <a:gd name="T0" fmla="*/ 36 w 72"/>
              <a:gd name="T1" fmla="*/ 1 h 69"/>
              <a:gd name="T2" fmla="*/ 32 w 72"/>
              <a:gd name="T3" fmla="*/ 1 h 69"/>
              <a:gd name="T4" fmla="*/ 2 w 72"/>
              <a:gd name="T5" fmla="*/ 39 h 69"/>
              <a:gd name="T6" fmla="*/ 36 w 72"/>
              <a:gd name="T7" fmla="*/ 69 h 69"/>
              <a:gd name="T8" fmla="*/ 40 w 72"/>
              <a:gd name="T9" fmla="*/ 69 h 69"/>
              <a:gd name="T10" fmla="*/ 70 w 72"/>
              <a:gd name="T11" fmla="*/ 31 h 69"/>
              <a:gd name="T12" fmla="*/ 36 w 72"/>
              <a:gd name="T13" fmla="*/ 1 h 69"/>
            </a:gdLst>
            <a:ahLst/>
            <a:cxnLst>
              <a:cxn ang="0">
                <a:pos x="T0" y="T1"/>
              </a:cxn>
              <a:cxn ang="0">
                <a:pos x="T2" y="T3"/>
              </a:cxn>
              <a:cxn ang="0">
                <a:pos x="T4" y="T5"/>
              </a:cxn>
              <a:cxn ang="0">
                <a:pos x="T6" y="T7"/>
              </a:cxn>
              <a:cxn ang="0">
                <a:pos x="T8" y="T9"/>
              </a:cxn>
              <a:cxn ang="0">
                <a:pos x="T10" y="T11"/>
              </a:cxn>
              <a:cxn ang="0">
                <a:pos x="T12" y="T13"/>
              </a:cxn>
            </a:cxnLst>
            <a:rect l="0" t="0" r="r" b="b"/>
            <a:pathLst>
              <a:path w="72" h="69">
                <a:moveTo>
                  <a:pt x="36" y="1"/>
                </a:moveTo>
                <a:cubicBezTo>
                  <a:pt x="35" y="1"/>
                  <a:pt x="33" y="1"/>
                  <a:pt x="32" y="1"/>
                </a:cubicBezTo>
                <a:cubicBezTo>
                  <a:pt x="13" y="3"/>
                  <a:pt x="0" y="20"/>
                  <a:pt x="2" y="39"/>
                </a:cubicBezTo>
                <a:cubicBezTo>
                  <a:pt x="4" y="56"/>
                  <a:pt x="19" y="69"/>
                  <a:pt x="36" y="69"/>
                </a:cubicBezTo>
                <a:cubicBezTo>
                  <a:pt x="37" y="69"/>
                  <a:pt x="38" y="69"/>
                  <a:pt x="40" y="69"/>
                </a:cubicBezTo>
                <a:cubicBezTo>
                  <a:pt x="59" y="67"/>
                  <a:pt x="72" y="50"/>
                  <a:pt x="70" y="31"/>
                </a:cubicBezTo>
                <a:cubicBezTo>
                  <a:pt x="68" y="14"/>
                  <a:pt x="53" y="0"/>
                  <a:pt x="36" y="1"/>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23"/>
          <p:cNvSpPr>
            <a:spLocks/>
          </p:cNvSpPr>
          <p:nvPr/>
        </p:nvSpPr>
        <p:spPr bwMode="auto">
          <a:xfrm>
            <a:off x="7078033" y="2033588"/>
            <a:ext cx="2700338" cy="2454275"/>
          </a:xfrm>
          <a:custGeom>
            <a:avLst/>
            <a:gdLst>
              <a:gd name="T0" fmla="*/ 1048 w 1094"/>
              <a:gd name="T1" fmla="*/ 460 h 994"/>
              <a:gd name="T2" fmla="*/ 837 w 1094"/>
              <a:gd name="T3" fmla="*/ 368 h 994"/>
              <a:gd name="T4" fmla="*/ 806 w 1094"/>
              <a:gd name="T5" fmla="*/ 369 h 994"/>
              <a:gd name="T6" fmla="*/ 718 w 1094"/>
              <a:gd name="T7" fmla="*/ 169 h 994"/>
              <a:gd name="T8" fmla="*/ 567 w 1094"/>
              <a:gd name="T9" fmla="*/ 113 h 994"/>
              <a:gd name="T10" fmla="*/ 445 w 1094"/>
              <a:gd name="T11" fmla="*/ 138 h 994"/>
              <a:gd name="T12" fmla="*/ 183 w 1094"/>
              <a:gd name="T13" fmla="*/ 0 h 994"/>
              <a:gd name="T14" fmla="*/ 167 w 1094"/>
              <a:gd name="T15" fmla="*/ 1 h 994"/>
              <a:gd name="T16" fmla="*/ 0 w 1094"/>
              <a:gd name="T17" fmla="*/ 54 h 994"/>
              <a:gd name="T18" fmla="*/ 35 w 1094"/>
              <a:gd name="T19" fmla="*/ 154 h 994"/>
              <a:gd name="T20" fmla="*/ 93 w 1094"/>
              <a:gd name="T21" fmla="*/ 149 h 994"/>
              <a:gd name="T22" fmla="*/ 317 w 1094"/>
              <a:gd name="T23" fmla="*/ 308 h 994"/>
              <a:gd name="T24" fmla="*/ 335 w 1094"/>
              <a:gd name="T25" fmla="*/ 308 h 994"/>
              <a:gd name="T26" fmla="*/ 573 w 1094"/>
              <a:gd name="T27" fmla="*/ 460 h 994"/>
              <a:gd name="T28" fmla="*/ 581 w 1094"/>
              <a:gd name="T29" fmla="*/ 809 h 994"/>
              <a:gd name="T30" fmla="*/ 350 w 1094"/>
              <a:gd name="T31" fmla="*/ 979 h 994"/>
              <a:gd name="T32" fmla="*/ 406 w 1094"/>
              <a:gd name="T33" fmla="*/ 990 h 994"/>
              <a:gd name="T34" fmla="*/ 458 w 1094"/>
              <a:gd name="T35" fmla="*/ 994 h 994"/>
              <a:gd name="T36" fmla="*/ 696 w 1094"/>
              <a:gd name="T37" fmla="*/ 848 h 994"/>
              <a:gd name="T38" fmla="*/ 767 w 1094"/>
              <a:gd name="T39" fmla="*/ 860 h 994"/>
              <a:gd name="T40" fmla="*/ 904 w 1094"/>
              <a:gd name="T41" fmla="*/ 786 h 994"/>
              <a:gd name="T42" fmla="*/ 1056 w 1094"/>
              <a:gd name="T43" fmla="*/ 675 h 994"/>
              <a:gd name="T44" fmla="*/ 1048 w 1094"/>
              <a:gd name="T45" fmla="*/ 46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4" h="994">
                <a:moveTo>
                  <a:pt x="1048" y="460"/>
                </a:moveTo>
                <a:cubicBezTo>
                  <a:pt x="987" y="380"/>
                  <a:pt x="890" y="368"/>
                  <a:pt x="837" y="368"/>
                </a:cubicBezTo>
                <a:cubicBezTo>
                  <a:pt x="824" y="368"/>
                  <a:pt x="814" y="368"/>
                  <a:pt x="806" y="369"/>
                </a:cubicBezTo>
                <a:cubicBezTo>
                  <a:pt x="811" y="334"/>
                  <a:pt x="809" y="252"/>
                  <a:pt x="718" y="169"/>
                </a:cubicBezTo>
                <a:cubicBezTo>
                  <a:pt x="677" y="132"/>
                  <a:pt x="626" y="113"/>
                  <a:pt x="567" y="113"/>
                </a:cubicBezTo>
                <a:cubicBezTo>
                  <a:pt x="512" y="113"/>
                  <a:pt x="465" y="130"/>
                  <a:pt x="445" y="138"/>
                </a:cubicBezTo>
                <a:cubicBezTo>
                  <a:pt x="427" y="103"/>
                  <a:pt x="359" y="0"/>
                  <a:pt x="183" y="0"/>
                </a:cubicBezTo>
                <a:cubicBezTo>
                  <a:pt x="178" y="0"/>
                  <a:pt x="172" y="0"/>
                  <a:pt x="167" y="1"/>
                </a:cubicBezTo>
                <a:cubicBezTo>
                  <a:pt x="94" y="3"/>
                  <a:pt x="40" y="25"/>
                  <a:pt x="0" y="54"/>
                </a:cubicBezTo>
                <a:cubicBezTo>
                  <a:pt x="20" y="93"/>
                  <a:pt x="30" y="130"/>
                  <a:pt x="35" y="154"/>
                </a:cubicBezTo>
                <a:cubicBezTo>
                  <a:pt x="55" y="151"/>
                  <a:pt x="75" y="149"/>
                  <a:pt x="93" y="149"/>
                </a:cubicBezTo>
                <a:cubicBezTo>
                  <a:pt x="244" y="149"/>
                  <a:pt x="300" y="261"/>
                  <a:pt x="317" y="308"/>
                </a:cubicBezTo>
                <a:cubicBezTo>
                  <a:pt x="323" y="308"/>
                  <a:pt x="329" y="308"/>
                  <a:pt x="335" y="308"/>
                </a:cubicBezTo>
                <a:cubicBezTo>
                  <a:pt x="426" y="308"/>
                  <a:pt x="517" y="366"/>
                  <a:pt x="573" y="460"/>
                </a:cubicBezTo>
                <a:cubicBezTo>
                  <a:pt x="638" y="570"/>
                  <a:pt x="641" y="701"/>
                  <a:pt x="581" y="809"/>
                </a:cubicBezTo>
                <a:cubicBezTo>
                  <a:pt x="523" y="915"/>
                  <a:pt x="434" y="961"/>
                  <a:pt x="350" y="979"/>
                </a:cubicBezTo>
                <a:cubicBezTo>
                  <a:pt x="367" y="983"/>
                  <a:pt x="385" y="987"/>
                  <a:pt x="406" y="990"/>
                </a:cubicBezTo>
                <a:cubicBezTo>
                  <a:pt x="423" y="992"/>
                  <a:pt x="441" y="994"/>
                  <a:pt x="458" y="994"/>
                </a:cubicBezTo>
                <a:cubicBezTo>
                  <a:pt x="611" y="994"/>
                  <a:pt x="678" y="883"/>
                  <a:pt x="696" y="848"/>
                </a:cubicBezTo>
                <a:cubicBezTo>
                  <a:pt x="721" y="856"/>
                  <a:pt x="745" y="860"/>
                  <a:pt x="767" y="860"/>
                </a:cubicBezTo>
                <a:cubicBezTo>
                  <a:pt x="852" y="860"/>
                  <a:pt x="893" y="805"/>
                  <a:pt x="904" y="786"/>
                </a:cubicBezTo>
                <a:cubicBezTo>
                  <a:pt x="965" y="784"/>
                  <a:pt x="1023" y="742"/>
                  <a:pt x="1056" y="675"/>
                </a:cubicBezTo>
                <a:cubicBezTo>
                  <a:pt x="1094" y="599"/>
                  <a:pt x="1091" y="517"/>
                  <a:pt x="1048" y="4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24"/>
          <p:cNvSpPr>
            <a:spLocks/>
          </p:cNvSpPr>
          <p:nvPr/>
        </p:nvSpPr>
        <p:spPr bwMode="auto">
          <a:xfrm>
            <a:off x="4012571" y="833438"/>
            <a:ext cx="2476500" cy="1300162"/>
          </a:xfrm>
          <a:custGeom>
            <a:avLst/>
            <a:gdLst>
              <a:gd name="T0" fmla="*/ 118 w 1003"/>
              <a:gd name="T1" fmla="*/ 487 h 527"/>
              <a:gd name="T2" fmla="*/ 168 w 1003"/>
              <a:gd name="T3" fmla="*/ 527 h 527"/>
              <a:gd name="T4" fmla="*/ 335 w 1003"/>
              <a:gd name="T5" fmla="*/ 484 h 527"/>
              <a:gd name="T6" fmla="*/ 500 w 1003"/>
              <a:gd name="T7" fmla="*/ 515 h 527"/>
              <a:gd name="T8" fmla="*/ 870 w 1003"/>
              <a:gd name="T9" fmla="*/ 327 h 527"/>
              <a:gd name="T10" fmla="*/ 892 w 1003"/>
              <a:gd name="T11" fmla="*/ 327 h 527"/>
              <a:gd name="T12" fmla="*/ 1003 w 1003"/>
              <a:gd name="T13" fmla="*/ 343 h 527"/>
              <a:gd name="T14" fmla="*/ 981 w 1003"/>
              <a:gd name="T15" fmla="*/ 273 h 527"/>
              <a:gd name="T16" fmla="*/ 880 w 1003"/>
              <a:gd name="T17" fmla="*/ 208 h 527"/>
              <a:gd name="T18" fmla="*/ 868 w 1003"/>
              <a:gd name="T19" fmla="*/ 209 h 527"/>
              <a:gd name="T20" fmla="*/ 772 w 1003"/>
              <a:gd name="T21" fmla="*/ 138 h 527"/>
              <a:gd name="T22" fmla="*/ 742 w 1003"/>
              <a:gd name="T23" fmla="*/ 141 h 527"/>
              <a:gd name="T24" fmla="*/ 574 w 1003"/>
              <a:gd name="T25" fmla="*/ 0 h 527"/>
              <a:gd name="T26" fmla="*/ 565 w 1003"/>
              <a:gd name="T27" fmla="*/ 0 h 527"/>
              <a:gd name="T28" fmla="*/ 402 w 1003"/>
              <a:gd name="T29" fmla="*/ 85 h 527"/>
              <a:gd name="T30" fmla="*/ 327 w 1003"/>
              <a:gd name="T31" fmla="*/ 70 h 527"/>
              <a:gd name="T32" fmla="*/ 233 w 1003"/>
              <a:gd name="T33" fmla="*/ 105 h 527"/>
              <a:gd name="T34" fmla="*/ 178 w 1003"/>
              <a:gd name="T35" fmla="*/ 228 h 527"/>
              <a:gd name="T36" fmla="*/ 160 w 1003"/>
              <a:gd name="T37" fmla="*/ 228 h 527"/>
              <a:gd name="T38" fmla="*/ 29 w 1003"/>
              <a:gd name="T39" fmla="*/ 285 h 527"/>
              <a:gd name="T40" fmla="*/ 23 w 1003"/>
              <a:gd name="T41" fmla="*/ 418 h 527"/>
              <a:gd name="T42" fmla="*/ 118 w 1003"/>
              <a:gd name="T43" fmla="*/ 48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03" h="527">
                <a:moveTo>
                  <a:pt x="118" y="487"/>
                </a:moveTo>
                <a:cubicBezTo>
                  <a:pt x="123" y="496"/>
                  <a:pt x="138" y="517"/>
                  <a:pt x="168" y="527"/>
                </a:cubicBezTo>
                <a:cubicBezTo>
                  <a:pt x="217" y="498"/>
                  <a:pt x="273" y="484"/>
                  <a:pt x="335" y="484"/>
                </a:cubicBezTo>
                <a:cubicBezTo>
                  <a:pt x="405" y="484"/>
                  <a:pt x="465" y="502"/>
                  <a:pt x="500" y="515"/>
                </a:cubicBezTo>
                <a:cubicBezTo>
                  <a:pt x="531" y="460"/>
                  <a:pt x="631" y="327"/>
                  <a:pt x="870" y="327"/>
                </a:cubicBezTo>
                <a:cubicBezTo>
                  <a:pt x="877" y="327"/>
                  <a:pt x="884" y="327"/>
                  <a:pt x="892" y="327"/>
                </a:cubicBezTo>
                <a:cubicBezTo>
                  <a:pt x="933" y="328"/>
                  <a:pt x="970" y="334"/>
                  <a:pt x="1003" y="343"/>
                </a:cubicBezTo>
                <a:cubicBezTo>
                  <a:pt x="1001" y="319"/>
                  <a:pt x="994" y="295"/>
                  <a:pt x="981" y="273"/>
                </a:cubicBezTo>
                <a:cubicBezTo>
                  <a:pt x="957" y="233"/>
                  <a:pt x="919" y="208"/>
                  <a:pt x="880" y="208"/>
                </a:cubicBezTo>
                <a:cubicBezTo>
                  <a:pt x="876" y="208"/>
                  <a:pt x="872" y="208"/>
                  <a:pt x="868" y="209"/>
                </a:cubicBezTo>
                <a:cubicBezTo>
                  <a:pt x="862" y="190"/>
                  <a:pt x="840" y="138"/>
                  <a:pt x="772" y="138"/>
                </a:cubicBezTo>
                <a:cubicBezTo>
                  <a:pt x="763" y="138"/>
                  <a:pt x="753" y="139"/>
                  <a:pt x="742" y="141"/>
                </a:cubicBezTo>
                <a:cubicBezTo>
                  <a:pt x="736" y="110"/>
                  <a:pt x="707" y="4"/>
                  <a:pt x="574" y="0"/>
                </a:cubicBezTo>
                <a:cubicBezTo>
                  <a:pt x="571" y="0"/>
                  <a:pt x="568" y="0"/>
                  <a:pt x="565" y="0"/>
                </a:cubicBezTo>
                <a:cubicBezTo>
                  <a:pt x="455" y="0"/>
                  <a:pt x="413" y="64"/>
                  <a:pt x="402" y="85"/>
                </a:cubicBezTo>
                <a:cubicBezTo>
                  <a:pt x="390" y="80"/>
                  <a:pt x="361" y="70"/>
                  <a:pt x="327" y="70"/>
                </a:cubicBezTo>
                <a:cubicBezTo>
                  <a:pt x="290" y="70"/>
                  <a:pt x="258" y="82"/>
                  <a:pt x="233" y="105"/>
                </a:cubicBezTo>
                <a:cubicBezTo>
                  <a:pt x="177" y="156"/>
                  <a:pt x="176" y="207"/>
                  <a:pt x="178" y="228"/>
                </a:cubicBezTo>
                <a:cubicBezTo>
                  <a:pt x="173" y="228"/>
                  <a:pt x="167" y="228"/>
                  <a:pt x="160" y="228"/>
                </a:cubicBezTo>
                <a:cubicBezTo>
                  <a:pt x="127" y="228"/>
                  <a:pt x="66" y="235"/>
                  <a:pt x="29" y="285"/>
                </a:cubicBezTo>
                <a:cubicBezTo>
                  <a:pt x="2" y="320"/>
                  <a:pt x="0" y="371"/>
                  <a:pt x="23" y="418"/>
                </a:cubicBezTo>
                <a:cubicBezTo>
                  <a:pt x="44" y="460"/>
                  <a:pt x="80" y="486"/>
                  <a:pt x="118" y="4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25"/>
          <p:cNvSpPr>
            <a:spLocks/>
          </p:cNvSpPr>
          <p:nvPr/>
        </p:nvSpPr>
        <p:spPr bwMode="auto">
          <a:xfrm>
            <a:off x="2480633" y="1860550"/>
            <a:ext cx="1949450" cy="1423987"/>
          </a:xfrm>
          <a:custGeom>
            <a:avLst/>
            <a:gdLst>
              <a:gd name="T0" fmla="*/ 268 w 790"/>
              <a:gd name="T1" fmla="*/ 571 h 577"/>
              <a:gd name="T2" fmla="*/ 279 w 790"/>
              <a:gd name="T3" fmla="*/ 555 h 577"/>
              <a:gd name="T4" fmla="*/ 582 w 790"/>
              <a:gd name="T5" fmla="*/ 421 h 577"/>
              <a:gd name="T6" fmla="*/ 611 w 790"/>
              <a:gd name="T7" fmla="*/ 422 h 577"/>
              <a:gd name="T8" fmla="*/ 738 w 790"/>
              <a:gd name="T9" fmla="*/ 149 h 577"/>
              <a:gd name="T10" fmla="*/ 790 w 790"/>
              <a:gd name="T11" fmla="*/ 110 h 577"/>
              <a:gd name="T12" fmla="*/ 622 w 790"/>
              <a:gd name="T13" fmla="*/ 0 h 577"/>
              <a:gd name="T14" fmla="*/ 612 w 790"/>
              <a:gd name="T15" fmla="*/ 0 h 577"/>
              <a:gd name="T16" fmla="*/ 435 w 790"/>
              <a:gd name="T17" fmla="*/ 93 h 577"/>
              <a:gd name="T18" fmla="*/ 353 w 790"/>
              <a:gd name="T19" fmla="*/ 76 h 577"/>
              <a:gd name="T20" fmla="*/ 252 w 790"/>
              <a:gd name="T21" fmla="*/ 114 h 577"/>
              <a:gd name="T22" fmla="*/ 193 w 790"/>
              <a:gd name="T23" fmla="*/ 248 h 577"/>
              <a:gd name="T24" fmla="*/ 172 w 790"/>
              <a:gd name="T25" fmla="*/ 247 h 577"/>
              <a:gd name="T26" fmla="*/ 31 w 790"/>
              <a:gd name="T27" fmla="*/ 309 h 577"/>
              <a:gd name="T28" fmla="*/ 25 w 790"/>
              <a:gd name="T29" fmla="*/ 453 h 577"/>
              <a:gd name="T30" fmla="*/ 127 w 790"/>
              <a:gd name="T31" fmla="*/ 528 h 577"/>
              <a:gd name="T32" fmla="*/ 219 w 790"/>
              <a:gd name="T33" fmla="*/ 577 h 577"/>
              <a:gd name="T34" fmla="*/ 267 w 790"/>
              <a:gd name="T35" fmla="*/ 570 h 577"/>
              <a:gd name="T36" fmla="*/ 268 w 790"/>
              <a:gd name="T37" fmla="*/ 57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0" h="577">
                <a:moveTo>
                  <a:pt x="268" y="571"/>
                </a:moveTo>
                <a:cubicBezTo>
                  <a:pt x="271" y="565"/>
                  <a:pt x="275" y="560"/>
                  <a:pt x="279" y="555"/>
                </a:cubicBezTo>
                <a:cubicBezTo>
                  <a:pt x="366" y="439"/>
                  <a:pt x="506" y="421"/>
                  <a:pt x="582" y="421"/>
                </a:cubicBezTo>
                <a:cubicBezTo>
                  <a:pt x="591" y="421"/>
                  <a:pt x="601" y="421"/>
                  <a:pt x="611" y="422"/>
                </a:cubicBezTo>
                <a:cubicBezTo>
                  <a:pt x="607" y="368"/>
                  <a:pt x="618" y="257"/>
                  <a:pt x="738" y="149"/>
                </a:cubicBezTo>
                <a:cubicBezTo>
                  <a:pt x="754" y="134"/>
                  <a:pt x="772" y="121"/>
                  <a:pt x="790" y="110"/>
                </a:cubicBezTo>
                <a:cubicBezTo>
                  <a:pt x="771" y="65"/>
                  <a:pt x="725" y="4"/>
                  <a:pt x="622" y="0"/>
                </a:cubicBezTo>
                <a:cubicBezTo>
                  <a:pt x="618" y="0"/>
                  <a:pt x="615" y="0"/>
                  <a:pt x="612" y="0"/>
                </a:cubicBezTo>
                <a:cubicBezTo>
                  <a:pt x="493" y="0"/>
                  <a:pt x="447" y="69"/>
                  <a:pt x="435" y="93"/>
                </a:cubicBezTo>
                <a:cubicBezTo>
                  <a:pt x="422" y="87"/>
                  <a:pt x="390" y="76"/>
                  <a:pt x="353" y="76"/>
                </a:cubicBezTo>
                <a:cubicBezTo>
                  <a:pt x="313" y="76"/>
                  <a:pt x="279" y="89"/>
                  <a:pt x="252" y="114"/>
                </a:cubicBezTo>
                <a:cubicBezTo>
                  <a:pt x="191" y="169"/>
                  <a:pt x="190" y="224"/>
                  <a:pt x="193" y="248"/>
                </a:cubicBezTo>
                <a:cubicBezTo>
                  <a:pt x="188" y="247"/>
                  <a:pt x="181" y="247"/>
                  <a:pt x="172" y="247"/>
                </a:cubicBezTo>
                <a:cubicBezTo>
                  <a:pt x="137" y="247"/>
                  <a:pt x="71" y="255"/>
                  <a:pt x="31" y="309"/>
                </a:cubicBezTo>
                <a:cubicBezTo>
                  <a:pt x="2" y="347"/>
                  <a:pt x="0" y="403"/>
                  <a:pt x="25" y="453"/>
                </a:cubicBezTo>
                <a:cubicBezTo>
                  <a:pt x="47" y="498"/>
                  <a:pt x="86" y="526"/>
                  <a:pt x="127" y="528"/>
                </a:cubicBezTo>
                <a:cubicBezTo>
                  <a:pt x="135" y="541"/>
                  <a:pt x="162" y="577"/>
                  <a:pt x="219" y="577"/>
                </a:cubicBezTo>
                <a:cubicBezTo>
                  <a:pt x="234" y="577"/>
                  <a:pt x="250" y="575"/>
                  <a:pt x="267" y="570"/>
                </a:cubicBezTo>
                <a:lnTo>
                  <a:pt x="268" y="571"/>
                </a:ln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26"/>
          <p:cNvSpPr>
            <a:spLocks/>
          </p:cNvSpPr>
          <p:nvPr/>
        </p:nvSpPr>
        <p:spPr bwMode="auto">
          <a:xfrm>
            <a:off x="6922458" y="4411663"/>
            <a:ext cx="1228725" cy="606425"/>
          </a:xfrm>
          <a:custGeom>
            <a:avLst/>
            <a:gdLst>
              <a:gd name="T0" fmla="*/ 468 w 498"/>
              <a:gd name="T1" fmla="*/ 0 h 246"/>
              <a:gd name="T2" fmla="*/ 317 w 498"/>
              <a:gd name="T3" fmla="*/ 26 h 246"/>
              <a:gd name="T4" fmla="*/ 206 w 498"/>
              <a:gd name="T5" fmla="*/ 14 h 246"/>
              <a:gd name="T6" fmla="*/ 0 w 498"/>
              <a:gd name="T7" fmla="*/ 211 h 246"/>
              <a:gd name="T8" fmla="*/ 82 w 498"/>
              <a:gd name="T9" fmla="*/ 246 h 246"/>
              <a:gd name="T10" fmla="*/ 103 w 498"/>
              <a:gd name="T11" fmla="*/ 244 h 246"/>
              <a:gd name="T12" fmla="*/ 195 w 498"/>
              <a:gd name="T13" fmla="*/ 191 h 246"/>
              <a:gd name="T14" fmla="*/ 268 w 498"/>
              <a:gd name="T15" fmla="*/ 226 h 246"/>
              <a:gd name="T16" fmla="*/ 285 w 498"/>
              <a:gd name="T17" fmla="*/ 225 h 246"/>
              <a:gd name="T18" fmla="*/ 349 w 498"/>
              <a:gd name="T19" fmla="*/ 164 h 246"/>
              <a:gd name="T20" fmla="*/ 385 w 498"/>
              <a:gd name="T21" fmla="*/ 168 h 246"/>
              <a:gd name="T22" fmla="*/ 481 w 498"/>
              <a:gd name="T23" fmla="*/ 116 h 246"/>
              <a:gd name="T24" fmla="*/ 478 w 498"/>
              <a:gd name="T25" fmla="*/ 14 h 246"/>
              <a:gd name="T26" fmla="*/ 468 w 498"/>
              <a:gd name="T2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46">
                <a:moveTo>
                  <a:pt x="468" y="0"/>
                </a:moveTo>
                <a:cubicBezTo>
                  <a:pt x="416" y="20"/>
                  <a:pt x="363" y="26"/>
                  <a:pt x="317" y="26"/>
                </a:cubicBezTo>
                <a:cubicBezTo>
                  <a:pt x="271" y="26"/>
                  <a:pt x="231" y="20"/>
                  <a:pt x="206" y="14"/>
                </a:cubicBezTo>
                <a:cubicBezTo>
                  <a:pt x="194" y="71"/>
                  <a:pt x="150" y="179"/>
                  <a:pt x="0" y="211"/>
                </a:cubicBezTo>
                <a:cubicBezTo>
                  <a:pt x="16" y="228"/>
                  <a:pt x="42" y="246"/>
                  <a:pt x="82" y="246"/>
                </a:cubicBezTo>
                <a:cubicBezTo>
                  <a:pt x="89" y="246"/>
                  <a:pt x="96" y="245"/>
                  <a:pt x="103" y="244"/>
                </a:cubicBezTo>
                <a:cubicBezTo>
                  <a:pt x="170" y="234"/>
                  <a:pt x="189" y="207"/>
                  <a:pt x="195" y="191"/>
                </a:cubicBezTo>
                <a:cubicBezTo>
                  <a:pt x="206" y="204"/>
                  <a:pt x="231" y="226"/>
                  <a:pt x="268" y="226"/>
                </a:cubicBezTo>
                <a:cubicBezTo>
                  <a:pt x="274" y="226"/>
                  <a:pt x="280" y="226"/>
                  <a:pt x="285" y="225"/>
                </a:cubicBezTo>
                <a:cubicBezTo>
                  <a:pt x="335" y="216"/>
                  <a:pt x="346" y="179"/>
                  <a:pt x="349" y="164"/>
                </a:cubicBezTo>
                <a:cubicBezTo>
                  <a:pt x="356" y="166"/>
                  <a:pt x="369" y="168"/>
                  <a:pt x="385" y="168"/>
                </a:cubicBezTo>
                <a:cubicBezTo>
                  <a:pt x="416" y="168"/>
                  <a:pt x="457" y="159"/>
                  <a:pt x="481" y="116"/>
                </a:cubicBezTo>
                <a:cubicBezTo>
                  <a:pt x="498" y="85"/>
                  <a:pt x="497" y="46"/>
                  <a:pt x="478" y="14"/>
                </a:cubicBezTo>
                <a:cubicBezTo>
                  <a:pt x="475" y="9"/>
                  <a:pt x="472" y="5"/>
                  <a:pt x="468" y="0"/>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27"/>
          <p:cNvSpPr>
            <a:spLocks/>
          </p:cNvSpPr>
          <p:nvPr/>
        </p:nvSpPr>
        <p:spPr bwMode="auto">
          <a:xfrm>
            <a:off x="5584196" y="4675188"/>
            <a:ext cx="2305050" cy="1096962"/>
          </a:xfrm>
          <a:custGeom>
            <a:avLst/>
            <a:gdLst>
              <a:gd name="T0" fmla="*/ 813 w 934"/>
              <a:gd name="T1" fmla="*/ 66 h 444"/>
              <a:gd name="T2" fmla="*/ 802 w 934"/>
              <a:gd name="T3" fmla="*/ 67 h 444"/>
              <a:gd name="T4" fmla="*/ 713 w 934"/>
              <a:gd name="T5" fmla="*/ 0 h 444"/>
              <a:gd name="T6" fmla="*/ 708 w 934"/>
              <a:gd name="T7" fmla="*/ 1 h 444"/>
              <a:gd name="T8" fmla="*/ 529 w 934"/>
              <a:gd name="T9" fmla="*/ 106 h 444"/>
              <a:gd name="T10" fmla="*/ 472 w 934"/>
              <a:gd name="T11" fmla="*/ 111 h 444"/>
              <a:gd name="T12" fmla="*/ 232 w 934"/>
              <a:gd name="T13" fmla="*/ 5 h 444"/>
              <a:gd name="T14" fmla="*/ 163 w 934"/>
              <a:gd name="T15" fmla="*/ 85 h 444"/>
              <a:gd name="T16" fmla="*/ 163 w 934"/>
              <a:gd name="T17" fmla="*/ 85 h 444"/>
              <a:gd name="T18" fmla="*/ 163 w 934"/>
              <a:gd name="T19" fmla="*/ 85 h 444"/>
              <a:gd name="T20" fmla="*/ 15 w 934"/>
              <a:gd name="T21" fmla="*/ 152 h 444"/>
              <a:gd name="T22" fmla="*/ 19 w 934"/>
              <a:gd name="T23" fmla="*/ 260 h 444"/>
              <a:gd name="T24" fmla="*/ 107 w 934"/>
              <a:gd name="T25" fmla="*/ 324 h 444"/>
              <a:gd name="T26" fmla="*/ 186 w 934"/>
              <a:gd name="T27" fmla="*/ 367 h 444"/>
              <a:gd name="T28" fmla="*/ 227 w 934"/>
              <a:gd name="T29" fmla="*/ 360 h 444"/>
              <a:gd name="T30" fmla="*/ 363 w 934"/>
              <a:gd name="T31" fmla="*/ 444 h 444"/>
              <a:gd name="T32" fmla="*/ 393 w 934"/>
              <a:gd name="T33" fmla="*/ 441 h 444"/>
              <a:gd name="T34" fmla="*/ 519 w 934"/>
              <a:gd name="T35" fmla="*/ 369 h 444"/>
              <a:gd name="T36" fmla="*/ 619 w 934"/>
              <a:gd name="T37" fmla="*/ 417 h 444"/>
              <a:gd name="T38" fmla="*/ 642 w 934"/>
              <a:gd name="T39" fmla="*/ 415 h 444"/>
              <a:gd name="T40" fmla="*/ 730 w 934"/>
              <a:gd name="T41" fmla="*/ 332 h 444"/>
              <a:gd name="T42" fmla="*/ 780 w 934"/>
              <a:gd name="T43" fmla="*/ 337 h 444"/>
              <a:gd name="T44" fmla="*/ 910 w 934"/>
              <a:gd name="T45" fmla="*/ 266 h 444"/>
              <a:gd name="T46" fmla="*/ 907 w 934"/>
              <a:gd name="T47" fmla="*/ 126 h 444"/>
              <a:gd name="T48" fmla="*/ 813 w 934"/>
              <a:gd name="T49" fmla="*/ 6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34" h="444">
                <a:moveTo>
                  <a:pt x="813" y="66"/>
                </a:moveTo>
                <a:cubicBezTo>
                  <a:pt x="809" y="66"/>
                  <a:pt x="806" y="66"/>
                  <a:pt x="802" y="67"/>
                </a:cubicBezTo>
                <a:cubicBezTo>
                  <a:pt x="797" y="49"/>
                  <a:pt x="776" y="0"/>
                  <a:pt x="713" y="0"/>
                </a:cubicBezTo>
                <a:cubicBezTo>
                  <a:pt x="711" y="0"/>
                  <a:pt x="709" y="1"/>
                  <a:pt x="708" y="1"/>
                </a:cubicBezTo>
                <a:cubicBezTo>
                  <a:pt x="676" y="46"/>
                  <a:pt x="621" y="90"/>
                  <a:pt x="529" y="106"/>
                </a:cubicBezTo>
                <a:cubicBezTo>
                  <a:pt x="510" y="110"/>
                  <a:pt x="490" y="111"/>
                  <a:pt x="472" y="111"/>
                </a:cubicBezTo>
                <a:cubicBezTo>
                  <a:pt x="356" y="111"/>
                  <a:pt x="276" y="50"/>
                  <a:pt x="232" y="5"/>
                </a:cubicBezTo>
                <a:cubicBezTo>
                  <a:pt x="220" y="29"/>
                  <a:pt x="200" y="57"/>
                  <a:pt x="163" y="85"/>
                </a:cubicBezTo>
                <a:cubicBezTo>
                  <a:pt x="163" y="85"/>
                  <a:pt x="163" y="85"/>
                  <a:pt x="163" y="85"/>
                </a:cubicBezTo>
                <a:cubicBezTo>
                  <a:pt x="163" y="85"/>
                  <a:pt x="163" y="85"/>
                  <a:pt x="163" y="85"/>
                </a:cubicBezTo>
                <a:cubicBezTo>
                  <a:pt x="129" y="110"/>
                  <a:pt x="82" y="134"/>
                  <a:pt x="15" y="152"/>
                </a:cubicBezTo>
                <a:cubicBezTo>
                  <a:pt x="0" y="183"/>
                  <a:pt x="1" y="223"/>
                  <a:pt x="19" y="260"/>
                </a:cubicBezTo>
                <a:cubicBezTo>
                  <a:pt x="39" y="299"/>
                  <a:pt x="72" y="323"/>
                  <a:pt x="107" y="324"/>
                </a:cubicBezTo>
                <a:cubicBezTo>
                  <a:pt x="113" y="335"/>
                  <a:pt x="137" y="367"/>
                  <a:pt x="186" y="367"/>
                </a:cubicBezTo>
                <a:cubicBezTo>
                  <a:pt x="198" y="367"/>
                  <a:pt x="212" y="364"/>
                  <a:pt x="227" y="360"/>
                </a:cubicBezTo>
                <a:cubicBezTo>
                  <a:pt x="236" y="380"/>
                  <a:pt x="275" y="444"/>
                  <a:pt x="363" y="444"/>
                </a:cubicBezTo>
                <a:cubicBezTo>
                  <a:pt x="373" y="444"/>
                  <a:pt x="383" y="443"/>
                  <a:pt x="393" y="441"/>
                </a:cubicBezTo>
                <a:cubicBezTo>
                  <a:pt x="484" y="428"/>
                  <a:pt x="511" y="391"/>
                  <a:pt x="519" y="369"/>
                </a:cubicBezTo>
                <a:cubicBezTo>
                  <a:pt x="534" y="387"/>
                  <a:pt x="568" y="417"/>
                  <a:pt x="619" y="417"/>
                </a:cubicBezTo>
                <a:cubicBezTo>
                  <a:pt x="627" y="417"/>
                  <a:pt x="635" y="416"/>
                  <a:pt x="642" y="415"/>
                </a:cubicBezTo>
                <a:cubicBezTo>
                  <a:pt x="711" y="403"/>
                  <a:pt x="726" y="352"/>
                  <a:pt x="730" y="332"/>
                </a:cubicBezTo>
                <a:cubicBezTo>
                  <a:pt x="740" y="334"/>
                  <a:pt x="758" y="337"/>
                  <a:pt x="780" y="337"/>
                </a:cubicBezTo>
                <a:cubicBezTo>
                  <a:pt x="821" y="337"/>
                  <a:pt x="878" y="325"/>
                  <a:pt x="910" y="266"/>
                </a:cubicBezTo>
                <a:cubicBezTo>
                  <a:pt x="934" y="223"/>
                  <a:pt x="933" y="170"/>
                  <a:pt x="907" y="126"/>
                </a:cubicBezTo>
                <a:cubicBezTo>
                  <a:pt x="885" y="89"/>
                  <a:pt x="849" y="66"/>
                  <a:pt x="813" y="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28"/>
          <p:cNvSpPr>
            <a:spLocks/>
          </p:cNvSpPr>
          <p:nvPr/>
        </p:nvSpPr>
        <p:spPr bwMode="auto">
          <a:xfrm>
            <a:off x="3018796" y="4538663"/>
            <a:ext cx="3370263" cy="1595437"/>
          </a:xfrm>
          <a:custGeom>
            <a:avLst/>
            <a:gdLst>
              <a:gd name="T0" fmla="*/ 1215 w 1365"/>
              <a:gd name="T1" fmla="*/ 129 h 646"/>
              <a:gd name="T2" fmla="*/ 965 w 1365"/>
              <a:gd name="T3" fmla="*/ 225 h 646"/>
              <a:gd name="T4" fmla="*/ 891 w 1365"/>
              <a:gd name="T5" fmla="*/ 231 h 646"/>
              <a:gd name="T6" fmla="*/ 554 w 1365"/>
              <a:gd name="T7" fmla="*/ 31 h 646"/>
              <a:gd name="T8" fmla="*/ 461 w 1365"/>
              <a:gd name="T9" fmla="*/ 44 h 646"/>
              <a:gd name="T10" fmla="*/ 319 w 1365"/>
              <a:gd name="T11" fmla="*/ 0 h 646"/>
              <a:gd name="T12" fmla="*/ 192 w 1365"/>
              <a:gd name="T13" fmla="*/ 97 h 646"/>
              <a:gd name="T14" fmla="*/ 177 w 1365"/>
              <a:gd name="T15" fmla="*/ 96 h 646"/>
              <a:gd name="T16" fmla="*/ 39 w 1365"/>
              <a:gd name="T17" fmla="*/ 184 h 646"/>
              <a:gd name="T18" fmla="*/ 34 w 1365"/>
              <a:gd name="T19" fmla="*/ 387 h 646"/>
              <a:gd name="T20" fmla="*/ 225 w 1365"/>
              <a:gd name="T21" fmla="*/ 492 h 646"/>
              <a:gd name="T22" fmla="*/ 297 w 1365"/>
              <a:gd name="T23" fmla="*/ 483 h 646"/>
              <a:gd name="T24" fmla="*/ 425 w 1365"/>
              <a:gd name="T25" fmla="*/ 605 h 646"/>
              <a:gd name="T26" fmla="*/ 459 w 1365"/>
              <a:gd name="T27" fmla="*/ 608 h 646"/>
              <a:gd name="T28" fmla="*/ 605 w 1365"/>
              <a:gd name="T29" fmla="*/ 538 h 646"/>
              <a:gd name="T30" fmla="*/ 789 w 1365"/>
              <a:gd name="T31" fmla="*/ 643 h 646"/>
              <a:gd name="T32" fmla="*/ 832 w 1365"/>
              <a:gd name="T33" fmla="*/ 646 h 646"/>
              <a:gd name="T34" fmla="*/ 1032 w 1365"/>
              <a:gd name="T35" fmla="*/ 524 h 646"/>
              <a:gd name="T36" fmla="*/ 1091 w 1365"/>
              <a:gd name="T37" fmla="*/ 534 h 646"/>
              <a:gd name="T38" fmla="*/ 1206 w 1365"/>
              <a:gd name="T39" fmla="*/ 472 h 646"/>
              <a:gd name="T40" fmla="*/ 1334 w 1365"/>
              <a:gd name="T41" fmla="*/ 379 h 646"/>
              <a:gd name="T42" fmla="*/ 1327 w 1365"/>
              <a:gd name="T43" fmla="*/ 199 h 646"/>
              <a:gd name="T44" fmla="*/ 1215 w 1365"/>
              <a:gd name="T45" fmla="*/ 12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5" h="646">
                <a:moveTo>
                  <a:pt x="1215" y="129"/>
                </a:moveTo>
                <a:cubicBezTo>
                  <a:pt x="1168" y="169"/>
                  <a:pt x="1091" y="206"/>
                  <a:pt x="965" y="225"/>
                </a:cubicBezTo>
                <a:cubicBezTo>
                  <a:pt x="939" y="229"/>
                  <a:pt x="914" y="231"/>
                  <a:pt x="891" y="231"/>
                </a:cubicBezTo>
                <a:cubicBezTo>
                  <a:pt x="682" y="231"/>
                  <a:pt x="584" y="88"/>
                  <a:pt x="554" y="31"/>
                </a:cubicBezTo>
                <a:cubicBezTo>
                  <a:pt x="521" y="40"/>
                  <a:pt x="490" y="44"/>
                  <a:pt x="461" y="44"/>
                </a:cubicBezTo>
                <a:cubicBezTo>
                  <a:pt x="398" y="44"/>
                  <a:pt x="352" y="24"/>
                  <a:pt x="319" y="0"/>
                </a:cubicBezTo>
                <a:cubicBezTo>
                  <a:pt x="230" y="2"/>
                  <a:pt x="200" y="71"/>
                  <a:pt x="192" y="97"/>
                </a:cubicBezTo>
                <a:cubicBezTo>
                  <a:pt x="187" y="96"/>
                  <a:pt x="182" y="96"/>
                  <a:pt x="177" y="96"/>
                </a:cubicBezTo>
                <a:cubicBezTo>
                  <a:pt x="124" y="96"/>
                  <a:pt x="71" y="129"/>
                  <a:pt x="39" y="184"/>
                </a:cubicBezTo>
                <a:cubicBezTo>
                  <a:pt x="1" y="248"/>
                  <a:pt x="0" y="324"/>
                  <a:pt x="34" y="387"/>
                </a:cubicBezTo>
                <a:cubicBezTo>
                  <a:pt x="82" y="473"/>
                  <a:pt x="164" y="492"/>
                  <a:pt x="225" y="492"/>
                </a:cubicBezTo>
                <a:cubicBezTo>
                  <a:pt x="257" y="492"/>
                  <a:pt x="283" y="487"/>
                  <a:pt x="297" y="483"/>
                </a:cubicBezTo>
                <a:cubicBezTo>
                  <a:pt x="303" y="513"/>
                  <a:pt x="325" y="587"/>
                  <a:pt x="425" y="605"/>
                </a:cubicBezTo>
                <a:cubicBezTo>
                  <a:pt x="436" y="607"/>
                  <a:pt x="448" y="608"/>
                  <a:pt x="459" y="608"/>
                </a:cubicBezTo>
                <a:cubicBezTo>
                  <a:pt x="533" y="608"/>
                  <a:pt x="583" y="563"/>
                  <a:pt x="605" y="538"/>
                </a:cubicBezTo>
                <a:cubicBezTo>
                  <a:pt x="617" y="569"/>
                  <a:pt x="656" y="624"/>
                  <a:pt x="789" y="643"/>
                </a:cubicBezTo>
                <a:cubicBezTo>
                  <a:pt x="804" y="645"/>
                  <a:pt x="818" y="646"/>
                  <a:pt x="832" y="646"/>
                </a:cubicBezTo>
                <a:cubicBezTo>
                  <a:pt x="961" y="646"/>
                  <a:pt x="1017" y="554"/>
                  <a:pt x="1032" y="524"/>
                </a:cubicBezTo>
                <a:cubicBezTo>
                  <a:pt x="1053" y="531"/>
                  <a:pt x="1073" y="534"/>
                  <a:pt x="1091" y="534"/>
                </a:cubicBezTo>
                <a:cubicBezTo>
                  <a:pt x="1163" y="534"/>
                  <a:pt x="1197" y="488"/>
                  <a:pt x="1206" y="472"/>
                </a:cubicBezTo>
                <a:cubicBezTo>
                  <a:pt x="1257" y="471"/>
                  <a:pt x="1306" y="435"/>
                  <a:pt x="1334" y="379"/>
                </a:cubicBezTo>
                <a:cubicBezTo>
                  <a:pt x="1365" y="316"/>
                  <a:pt x="1363" y="247"/>
                  <a:pt x="1327" y="199"/>
                </a:cubicBezTo>
                <a:cubicBezTo>
                  <a:pt x="1296" y="158"/>
                  <a:pt x="1254" y="139"/>
                  <a:pt x="1215" y="129"/>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Subtitle 4"/>
          <p:cNvSpPr txBox="1">
            <a:spLocks/>
          </p:cNvSpPr>
          <p:nvPr/>
        </p:nvSpPr>
        <p:spPr>
          <a:xfrm>
            <a:off x="3747853" y="2666831"/>
            <a:ext cx="4739483" cy="487837"/>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dirty="0" err="1" smtClean="0">
                <a:solidFill>
                  <a:schemeClr val="bg1"/>
                </a:solidFill>
                <a:latin typeface="Bebas" pitchFamily="2" charset="0"/>
              </a:rPr>
              <a:t>Artificial</a:t>
            </a:r>
            <a:r>
              <a:rPr lang="fr-FR" smtClean="0">
                <a:solidFill>
                  <a:schemeClr val="bg1"/>
                </a:solidFill>
                <a:latin typeface="Bebas" pitchFamily="2" charset="0"/>
              </a:rPr>
              <a:t> Intelligence</a:t>
            </a:r>
            <a:endParaRPr lang="id-ID" dirty="0">
              <a:solidFill>
                <a:schemeClr val="bg1"/>
              </a:solidFill>
              <a:latin typeface="Bebas" pitchFamily="2" charset="0"/>
            </a:endParaRPr>
          </a:p>
        </p:txBody>
      </p:sp>
      <p:cxnSp>
        <p:nvCxnSpPr>
          <p:cNvPr id="89" name="Straight Connector 88"/>
          <p:cNvCxnSpPr/>
          <p:nvPr/>
        </p:nvCxnSpPr>
        <p:spPr>
          <a:xfrm>
            <a:off x="5096230" y="3203819"/>
            <a:ext cx="2042729" cy="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9706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53" presetClass="entr" presetSubtype="16"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 calcmode="lin" valueType="num">
                                      <p:cBhvr>
                                        <p:cTn id="10" dur="500" fill="hold"/>
                                        <p:tgtEl>
                                          <p:spTgt spid="30"/>
                                        </p:tgtEl>
                                        <p:attrNameLst>
                                          <p:attrName>ppt_w</p:attrName>
                                        </p:attrNameLst>
                                      </p:cBhvr>
                                      <p:tavLst>
                                        <p:tav tm="0">
                                          <p:val>
                                            <p:fltVal val="0"/>
                                          </p:val>
                                        </p:tav>
                                        <p:tav tm="100000">
                                          <p:val>
                                            <p:strVal val="#ppt_w"/>
                                          </p:val>
                                        </p:tav>
                                      </p:tavLst>
                                    </p:anim>
                                    <p:anim calcmode="lin" valueType="num">
                                      <p:cBhvr>
                                        <p:cTn id="11" dur="500" fill="hold"/>
                                        <p:tgtEl>
                                          <p:spTgt spid="30"/>
                                        </p:tgtEl>
                                        <p:attrNameLst>
                                          <p:attrName>ppt_h</p:attrName>
                                        </p:attrNameLst>
                                      </p:cBhvr>
                                      <p:tavLst>
                                        <p:tav tm="0">
                                          <p:val>
                                            <p:fltVal val="0"/>
                                          </p:val>
                                        </p:tav>
                                        <p:tav tm="100000">
                                          <p:val>
                                            <p:strVal val="#ppt_h"/>
                                          </p:val>
                                        </p:tav>
                                      </p:tavLst>
                                    </p:anim>
                                    <p:animEffect transition="in" filter="fade">
                                      <p:cBhvr>
                                        <p:cTn id="12" dur="500"/>
                                        <p:tgtEl>
                                          <p:spTgt spid="30"/>
                                        </p:tgtEl>
                                      </p:cBhvr>
                                    </p:animEffect>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50"/>
                                        </p:tgtEl>
                                        <p:attrNameLst>
                                          <p:attrName>style.visibility</p:attrName>
                                        </p:attrNameLst>
                                      </p:cBhvr>
                                      <p:to>
                                        <p:strVal val="visible"/>
                                      </p:to>
                                    </p:set>
                                    <p:anim calcmode="lin" valueType="num">
                                      <p:cBhvr>
                                        <p:cTn id="16" dur="500" fill="hold"/>
                                        <p:tgtEl>
                                          <p:spTgt spid="50"/>
                                        </p:tgtEl>
                                        <p:attrNameLst>
                                          <p:attrName>ppt_w</p:attrName>
                                        </p:attrNameLst>
                                      </p:cBhvr>
                                      <p:tavLst>
                                        <p:tav tm="0">
                                          <p:val>
                                            <p:fltVal val="0"/>
                                          </p:val>
                                        </p:tav>
                                        <p:tav tm="100000">
                                          <p:val>
                                            <p:strVal val="#ppt_w"/>
                                          </p:val>
                                        </p:tav>
                                      </p:tavLst>
                                    </p:anim>
                                    <p:anim calcmode="lin" valueType="num">
                                      <p:cBhvr>
                                        <p:cTn id="17" dur="500" fill="hold"/>
                                        <p:tgtEl>
                                          <p:spTgt spid="50"/>
                                        </p:tgtEl>
                                        <p:attrNameLst>
                                          <p:attrName>ppt_h</p:attrName>
                                        </p:attrNameLst>
                                      </p:cBhvr>
                                      <p:tavLst>
                                        <p:tav tm="0">
                                          <p:val>
                                            <p:fltVal val="0"/>
                                          </p:val>
                                        </p:tav>
                                        <p:tav tm="100000">
                                          <p:val>
                                            <p:strVal val="#ppt_h"/>
                                          </p:val>
                                        </p:tav>
                                      </p:tavLst>
                                    </p:anim>
                                    <p:animEffect transition="in" filter="fade">
                                      <p:cBhvr>
                                        <p:cTn id="18" dur="500"/>
                                        <p:tgtEl>
                                          <p:spTgt spid="50"/>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anim calcmode="lin" valueType="num">
                                      <p:cBhvr>
                                        <p:cTn id="21" dur="500" fill="hold"/>
                                        <p:tgtEl>
                                          <p:spTgt spid="51"/>
                                        </p:tgtEl>
                                        <p:attrNameLst>
                                          <p:attrName>ppt_w</p:attrName>
                                        </p:attrNameLst>
                                      </p:cBhvr>
                                      <p:tavLst>
                                        <p:tav tm="0">
                                          <p:val>
                                            <p:fltVal val="0"/>
                                          </p:val>
                                        </p:tav>
                                        <p:tav tm="100000">
                                          <p:val>
                                            <p:strVal val="#ppt_w"/>
                                          </p:val>
                                        </p:tav>
                                      </p:tavLst>
                                    </p:anim>
                                    <p:anim calcmode="lin" valueType="num">
                                      <p:cBhvr>
                                        <p:cTn id="22" dur="500" fill="hold"/>
                                        <p:tgtEl>
                                          <p:spTgt spid="51"/>
                                        </p:tgtEl>
                                        <p:attrNameLst>
                                          <p:attrName>ppt_h</p:attrName>
                                        </p:attrNameLst>
                                      </p:cBhvr>
                                      <p:tavLst>
                                        <p:tav tm="0">
                                          <p:val>
                                            <p:fltVal val="0"/>
                                          </p:val>
                                        </p:tav>
                                        <p:tav tm="100000">
                                          <p:val>
                                            <p:strVal val="#ppt_h"/>
                                          </p:val>
                                        </p:tav>
                                      </p:tavLst>
                                    </p:anim>
                                    <p:animEffect transition="in" filter="fade">
                                      <p:cBhvr>
                                        <p:cTn id="23" dur="500"/>
                                        <p:tgtEl>
                                          <p:spTgt spid="51"/>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64"/>
                                        </p:tgtEl>
                                        <p:attrNameLst>
                                          <p:attrName>style.visibility</p:attrName>
                                        </p:attrNameLst>
                                      </p:cBhvr>
                                      <p:to>
                                        <p:strVal val="visible"/>
                                      </p:to>
                                    </p:set>
                                    <p:anim calcmode="lin" valueType="num">
                                      <p:cBhvr>
                                        <p:cTn id="26" dur="500" fill="hold"/>
                                        <p:tgtEl>
                                          <p:spTgt spid="64"/>
                                        </p:tgtEl>
                                        <p:attrNameLst>
                                          <p:attrName>ppt_w</p:attrName>
                                        </p:attrNameLst>
                                      </p:cBhvr>
                                      <p:tavLst>
                                        <p:tav tm="0">
                                          <p:val>
                                            <p:fltVal val="0"/>
                                          </p:val>
                                        </p:tav>
                                        <p:tav tm="100000">
                                          <p:val>
                                            <p:strVal val="#ppt_w"/>
                                          </p:val>
                                        </p:tav>
                                      </p:tavLst>
                                    </p:anim>
                                    <p:anim calcmode="lin" valueType="num">
                                      <p:cBhvr>
                                        <p:cTn id="27" dur="500" fill="hold"/>
                                        <p:tgtEl>
                                          <p:spTgt spid="64"/>
                                        </p:tgtEl>
                                        <p:attrNameLst>
                                          <p:attrName>ppt_h</p:attrName>
                                        </p:attrNameLst>
                                      </p:cBhvr>
                                      <p:tavLst>
                                        <p:tav tm="0">
                                          <p:val>
                                            <p:fltVal val="0"/>
                                          </p:val>
                                        </p:tav>
                                        <p:tav tm="100000">
                                          <p:val>
                                            <p:strVal val="#ppt_h"/>
                                          </p:val>
                                        </p:tav>
                                      </p:tavLst>
                                    </p:anim>
                                    <p:animEffect transition="in" filter="fade">
                                      <p:cBhvr>
                                        <p:cTn id="28" dur="500"/>
                                        <p:tgtEl>
                                          <p:spTgt spid="64"/>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65"/>
                                        </p:tgtEl>
                                        <p:attrNameLst>
                                          <p:attrName>style.visibility</p:attrName>
                                        </p:attrNameLst>
                                      </p:cBhvr>
                                      <p:to>
                                        <p:strVal val="visible"/>
                                      </p:to>
                                    </p:set>
                                    <p:anim calcmode="lin" valueType="num">
                                      <p:cBhvr>
                                        <p:cTn id="31" dur="500" fill="hold"/>
                                        <p:tgtEl>
                                          <p:spTgt spid="65"/>
                                        </p:tgtEl>
                                        <p:attrNameLst>
                                          <p:attrName>ppt_w</p:attrName>
                                        </p:attrNameLst>
                                      </p:cBhvr>
                                      <p:tavLst>
                                        <p:tav tm="0">
                                          <p:val>
                                            <p:fltVal val="0"/>
                                          </p:val>
                                        </p:tav>
                                        <p:tav tm="100000">
                                          <p:val>
                                            <p:strVal val="#ppt_w"/>
                                          </p:val>
                                        </p:tav>
                                      </p:tavLst>
                                    </p:anim>
                                    <p:anim calcmode="lin" valueType="num">
                                      <p:cBhvr>
                                        <p:cTn id="32" dur="500" fill="hold"/>
                                        <p:tgtEl>
                                          <p:spTgt spid="65"/>
                                        </p:tgtEl>
                                        <p:attrNameLst>
                                          <p:attrName>ppt_h</p:attrName>
                                        </p:attrNameLst>
                                      </p:cBhvr>
                                      <p:tavLst>
                                        <p:tav tm="0">
                                          <p:val>
                                            <p:fltVal val="0"/>
                                          </p:val>
                                        </p:tav>
                                        <p:tav tm="100000">
                                          <p:val>
                                            <p:strVal val="#ppt_h"/>
                                          </p:val>
                                        </p:tav>
                                      </p:tavLst>
                                    </p:anim>
                                    <p:animEffect transition="in" filter="fade">
                                      <p:cBhvr>
                                        <p:cTn id="33" dur="500"/>
                                        <p:tgtEl>
                                          <p:spTgt spid="65"/>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66"/>
                                        </p:tgtEl>
                                        <p:attrNameLst>
                                          <p:attrName>style.visibility</p:attrName>
                                        </p:attrNameLst>
                                      </p:cBhvr>
                                      <p:to>
                                        <p:strVal val="visible"/>
                                      </p:to>
                                    </p:set>
                                    <p:anim calcmode="lin" valueType="num">
                                      <p:cBhvr>
                                        <p:cTn id="36" dur="500" fill="hold"/>
                                        <p:tgtEl>
                                          <p:spTgt spid="66"/>
                                        </p:tgtEl>
                                        <p:attrNameLst>
                                          <p:attrName>ppt_w</p:attrName>
                                        </p:attrNameLst>
                                      </p:cBhvr>
                                      <p:tavLst>
                                        <p:tav tm="0">
                                          <p:val>
                                            <p:fltVal val="0"/>
                                          </p:val>
                                        </p:tav>
                                        <p:tav tm="100000">
                                          <p:val>
                                            <p:strVal val="#ppt_w"/>
                                          </p:val>
                                        </p:tav>
                                      </p:tavLst>
                                    </p:anim>
                                    <p:anim calcmode="lin" valueType="num">
                                      <p:cBhvr>
                                        <p:cTn id="37" dur="500" fill="hold"/>
                                        <p:tgtEl>
                                          <p:spTgt spid="66"/>
                                        </p:tgtEl>
                                        <p:attrNameLst>
                                          <p:attrName>ppt_h</p:attrName>
                                        </p:attrNameLst>
                                      </p:cBhvr>
                                      <p:tavLst>
                                        <p:tav tm="0">
                                          <p:val>
                                            <p:fltVal val="0"/>
                                          </p:val>
                                        </p:tav>
                                        <p:tav tm="100000">
                                          <p:val>
                                            <p:strVal val="#ppt_h"/>
                                          </p:val>
                                        </p:tav>
                                      </p:tavLst>
                                    </p:anim>
                                    <p:animEffect transition="in" filter="fade">
                                      <p:cBhvr>
                                        <p:cTn id="38" dur="500"/>
                                        <p:tgtEl>
                                          <p:spTgt spid="66"/>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67"/>
                                        </p:tgtEl>
                                        <p:attrNameLst>
                                          <p:attrName>style.visibility</p:attrName>
                                        </p:attrNameLst>
                                      </p:cBhvr>
                                      <p:to>
                                        <p:strVal val="visible"/>
                                      </p:to>
                                    </p:set>
                                    <p:anim calcmode="lin" valueType="num">
                                      <p:cBhvr>
                                        <p:cTn id="41" dur="500" fill="hold"/>
                                        <p:tgtEl>
                                          <p:spTgt spid="67"/>
                                        </p:tgtEl>
                                        <p:attrNameLst>
                                          <p:attrName>ppt_w</p:attrName>
                                        </p:attrNameLst>
                                      </p:cBhvr>
                                      <p:tavLst>
                                        <p:tav tm="0">
                                          <p:val>
                                            <p:fltVal val="0"/>
                                          </p:val>
                                        </p:tav>
                                        <p:tav tm="100000">
                                          <p:val>
                                            <p:strVal val="#ppt_w"/>
                                          </p:val>
                                        </p:tav>
                                      </p:tavLst>
                                    </p:anim>
                                    <p:anim calcmode="lin" valueType="num">
                                      <p:cBhvr>
                                        <p:cTn id="42" dur="500" fill="hold"/>
                                        <p:tgtEl>
                                          <p:spTgt spid="67"/>
                                        </p:tgtEl>
                                        <p:attrNameLst>
                                          <p:attrName>ppt_h</p:attrName>
                                        </p:attrNameLst>
                                      </p:cBhvr>
                                      <p:tavLst>
                                        <p:tav tm="0">
                                          <p:val>
                                            <p:fltVal val="0"/>
                                          </p:val>
                                        </p:tav>
                                        <p:tav tm="100000">
                                          <p:val>
                                            <p:strVal val="#ppt_h"/>
                                          </p:val>
                                        </p:tav>
                                      </p:tavLst>
                                    </p:anim>
                                    <p:animEffect transition="in" filter="fade">
                                      <p:cBhvr>
                                        <p:cTn id="43" dur="500"/>
                                        <p:tgtEl>
                                          <p:spTgt spid="67"/>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68"/>
                                        </p:tgtEl>
                                        <p:attrNameLst>
                                          <p:attrName>style.visibility</p:attrName>
                                        </p:attrNameLst>
                                      </p:cBhvr>
                                      <p:to>
                                        <p:strVal val="visible"/>
                                      </p:to>
                                    </p:set>
                                    <p:anim calcmode="lin" valueType="num">
                                      <p:cBhvr>
                                        <p:cTn id="46" dur="500" fill="hold"/>
                                        <p:tgtEl>
                                          <p:spTgt spid="68"/>
                                        </p:tgtEl>
                                        <p:attrNameLst>
                                          <p:attrName>ppt_w</p:attrName>
                                        </p:attrNameLst>
                                      </p:cBhvr>
                                      <p:tavLst>
                                        <p:tav tm="0">
                                          <p:val>
                                            <p:fltVal val="0"/>
                                          </p:val>
                                        </p:tav>
                                        <p:tav tm="100000">
                                          <p:val>
                                            <p:strVal val="#ppt_w"/>
                                          </p:val>
                                        </p:tav>
                                      </p:tavLst>
                                    </p:anim>
                                    <p:anim calcmode="lin" valueType="num">
                                      <p:cBhvr>
                                        <p:cTn id="47" dur="500" fill="hold"/>
                                        <p:tgtEl>
                                          <p:spTgt spid="68"/>
                                        </p:tgtEl>
                                        <p:attrNameLst>
                                          <p:attrName>ppt_h</p:attrName>
                                        </p:attrNameLst>
                                      </p:cBhvr>
                                      <p:tavLst>
                                        <p:tav tm="0">
                                          <p:val>
                                            <p:fltVal val="0"/>
                                          </p:val>
                                        </p:tav>
                                        <p:tav tm="100000">
                                          <p:val>
                                            <p:strVal val="#ppt_h"/>
                                          </p:val>
                                        </p:tav>
                                      </p:tavLst>
                                    </p:anim>
                                    <p:animEffect transition="in" filter="fade">
                                      <p:cBhvr>
                                        <p:cTn id="48" dur="500"/>
                                        <p:tgtEl>
                                          <p:spTgt spid="68"/>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69"/>
                                        </p:tgtEl>
                                        <p:attrNameLst>
                                          <p:attrName>style.visibility</p:attrName>
                                        </p:attrNameLst>
                                      </p:cBhvr>
                                      <p:to>
                                        <p:strVal val="visible"/>
                                      </p:to>
                                    </p:set>
                                    <p:anim calcmode="lin" valueType="num">
                                      <p:cBhvr>
                                        <p:cTn id="51" dur="500" fill="hold"/>
                                        <p:tgtEl>
                                          <p:spTgt spid="69"/>
                                        </p:tgtEl>
                                        <p:attrNameLst>
                                          <p:attrName>ppt_w</p:attrName>
                                        </p:attrNameLst>
                                      </p:cBhvr>
                                      <p:tavLst>
                                        <p:tav tm="0">
                                          <p:val>
                                            <p:fltVal val="0"/>
                                          </p:val>
                                        </p:tav>
                                        <p:tav tm="100000">
                                          <p:val>
                                            <p:strVal val="#ppt_w"/>
                                          </p:val>
                                        </p:tav>
                                      </p:tavLst>
                                    </p:anim>
                                    <p:anim calcmode="lin" valueType="num">
                                      <p:cBhvr>
                                        <p:cTn id="52" dur="500" fill="hold"/>
                                        <p:tgtEl>
                                          <p:spTgt spid="69"/>
                                        </p:tgtEl>
                                        <p:attrNameLst>
                                          <p:attrName>ppt_h</p:attrName>
                                        </p:attrNameLst>
                                      </p:cBhvr>
                                      <p:tavLst>
                                        <p:tav tm="0">
                                          <p:val>
                                            <p:fltVal val="0"/>
                                          </p:val>
                                        </p:tav>
                                        <p:tav tm="100000">
                                          <p:val>
                                            <p:strVal val="#ppt_h"/>
                                          </p:val>
                                        </p:tav>
                                      </p:tavLst>
                                    </p:anim>
                                    <p:animEffect transition="in" filter="fade">
                                      <p:cBhvr>
                                        <p:cTn id="53" dur="500"/>
                                        <p:tgtEl>
                                          <p:spTgt spid="69"/>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 calcmode="lin" valueType="num">
                                      <p:cBhvr>
                                        <p:cTn id="56" dur="500" fill="hold"/>
                                        <p:tgtEl>
                                          <p:spTgt spid="70"/>
                                        </p:tgtEl>
                                        <p:attrNameLst>
                                          <p:attrName>ppt_w</p:attrName>
                                        </p:attrNameLst>
                                      </p:cBhvr>
                                      <p:tavLst>
                                        <p:tav tm="0">
                                          <p:val>
                                            <p:fltVal val="0"/>
                                          </p:val>
                                        </p:tav>
                                        <p:tav tm="100000">
                                          <p:val>
                                            <p:strVal val="#ppt_w"/>
                                          </p:val>
                                        </p:tav>
                                      </p:tavLst>
                                    </p:anim>
                                    <p:anim calcmode="lin" valueType="num">
                                      <p:cBhvr>
                                        <p:cTn id="57" dur="500" fill="hold"/>
                                        <p:tgtEl>
                                          <p:spTgt spid="70"/>
                                        </p:tgtEl>
                                        <p:attrNameLst>
                                          <p:attrName>ppt_h</p:attrName>
                                        </p:attrNameLst>
                                      </p:cBhvr>
                                      <p:tavLst>
                                        <p:tav tm="0">
                                          <p:val>
                                            <p:fltVal val="0"/>
                                          </p:val>
                                        </p:tav>
                                        <p:tav tm="100000">
                                          <p:val>
                                            <p:strVal val="#ppt_h"/>
                                          </p:val>
                                        </p:tav>
                                      </p:tavLst>
                                    </p:anim>
                                    <p:animEffect transition="in" filter="fade">
                                      <p:cBhvr>
                                        <p:cTn id="58" dur="500"/>
                                        <p:tgtEl>
                                          <p:spTgt spid="70"/>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71"/>
                                        </p:tgtEl>
                                        <p:attrNameLst>
                                          <p:attrName>style.visibility</p:attrName>
                                        </p:attrNameLst>
                                      </p:cBhvr>
                                      <p:to>
                                        <p:strVal val="visible"/>
                                      </p:to>
                                    </p:set>
                                    <p:anim calcmode="lin" valueType="num">
                                      <p:cBhvr>
                                        <p:cTn id="61" dur="500" fill="hold"/>
                                        <p:tgtEl>
                                          <p:spTgt spid="71"/>
                                        </p:tgtEl>
                                        <p:attrNameLst>
                                          <p:attrName>ppt_w</p:attrName>
                                        </p:attrNameLst>
                                      </p:cBhvr>
                                      <p:tavLst>
                                        <p:tav tm="0">
                                          <p:val>
                                            <p:fltVal val="0"/>
                                          </p:val>
                                        </p:tav>
                                        <p:tav tm="100000">
                                          <p:val>
                                            <p:strVal val="#ppt_w"/>
                                          </p:val>
                                        </p:tav>
                                      </p:tavLst>
                                    </p:anim>
                                    <p:anim calcmode="lin" valueType="num">
                                      <p:cBhvr>
                                        <p:cTn id="62" dur="500" fill="hold"/>
                                        <p:tgtEl>
                                          <p:spTgt spid="71"/>
                                        </p:tgtEl>
                                        <p:attrNameLst>
                                          <p:attrName>ppt_h</p:attrName>
                                        </p:attrNameLst>
                                      </p:cBhvr>
                                      <p:tavLst>
                                        <p:tav tm="0">
                                          <p:val>
                                            <p:fltVal val="0"/>
                                          </p:val>
                                        </p:tav>
                                        <p:tav tm="100000">
                                          <p:val>
                                            <p:strVal val="#ppt_h"/>
                                          </p:val>
                                        </p:tav>
                                      </p:tavLst>
                                    </p:anim>
                                    <p:animEffect transition="in" filter="fade">
                                      <p:cBhvr>
                                        <p:cTn id="63" dur="500"/>
                                        <p:tgtEl>
                                          <p:spTgt spid="71"/>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w</p:attrName>
                                        </p:attrNameLst>
                                      </p:cBhvr>
                                      <p:tavLst>
                                        <p:tav tm="0">
                                          <p:val>
                                            <p:fltVal val="0"/>
                                          </p:val>
                                        </p:tav>
                                        <p:tav tm="100000">
                                          <p:val>
                                            <p:strVal val="#ppt_w"/>
                                          </p:val>
                                        </p:tav>
                                      </p:tavLst>
                                    </p:anim>
                                    <p:anim calcmode="lin" valueType="num">
                                      <p:cBhvr>
                                        <p:cTn id="67" dur="500" fill="hold"/>
                                        <p:tgtEl>
                                          <p:spTgt spid="72"/>
                                        </p:tgtEl>
                                        <p:attrNameLst>
                                          <p:attrName>ppt_h</p:attrName>
                                        </p:attrNameLst>
                                      </p:cBhvr>
                                      <p:tavLst>
                                        <p:tav tm="0">
                                          <p:val>
                                            <p:fltVal val="0"/>
                                          </p:val>
                                        </p:tav>
                                        <p:tav tm="100000">
                                          <p:val>
                                            <p:strVal val="#ppt_h"/>
                                          </p:val>
                                        </p:tav>
                                      </p:tavLst>
                                    </p:anim>
                                    <p:animEffect transition="in" filter="fade">
                                      <p:cBhvr>
                                        <p:cTn id="68" dur="500"/>
                                        <p:tgtEl>
                                          <p:spTgt spid="72"/>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73"/>
                                        </p:tgtEl>
                                        <p:attrNameLst>
                                          <p:attrName>style.visibility</p:attrName>
                                        </p:attrNameLst>
                                      </p:cBhvr>
                                      <p:to>
                                        <p:strVal val="visible"/>
                                      </p:to>
                                    </p:set>
                                    <p:anim calcmode="lin" valueType="num">
                                      <p:cBhvr>
                                        <p:cTn id="71" dur="500" fill="hold"/>
                                        <p:tgtEl>
                                          <p:spTgt spid="73"/>
                                        </p:tgtEl>
                                        <p:attrNameLst>
                                          <p:attrName>ppt_w</p:attrName>
                                        </p:attrNameLst>
                                      </p:cBhvr>
                                      <p:tavLst>
                                        <p:tav tm="0">
                                          <p:val>
                                            <p:fltVal val="0"/>
                                          </p:val>
                                        </p:tav>
                                        <p:tav tm="100000">
                                          <p:val>
                                            <p:strVal val="#ppt_w"/>
                                          </p:val>
                                        </p:tav>
                                      </p:tavLst>
                                    </p:anim>
                                    <p:anim calcmode="lin" valueType="num">
                                      <p:cBhvr>
                                        <p:cTn id="72" dur="500" fill="hold"/>
                                        <p:tgtEl>
                                          <p:spTgt spid="73"/>
                                        </p:tgtEl>
                                        <p:attrNameLst>
                                          <p:attrName>ppt_h</p:attrName>
                                        </p:attrNameLst>
                                      </p:cBhvr>
                                      <p:tavLst>
                                        <p:tav tm="0">
                                          <p:val>
                                            <p:fltVal val="0"/>
                                          </p:val>
                                        </p:tav>
                                        <p:tav tm="100000">
                                          <p:val>
                                            <p:strVal val="#ppt_h"/>
                                          </p:val>
                                        </p:tav>
                                      </p:tavLst>
                                    </p:anim>
                                    <p:animEffect transition="in" filter="fade">
                                      <p:cBhvr>
                                        <p:cTn id="73" dur="500"/>
                                        <p:tgtEl>
                                          <p:spTgt spid="73"/>
                                        </p:tgtEl>
                                      </p:cBhvr>
                                    </p:animEffect>
                                  </p:childTnLst>
                                </p:cTn>
                              </p:par>
                              <p:par>
                                <p:cTn id="74" presetID="53" presetClass="entr" presetSubtype="16" fill="hold" grpId="0" nodeType="withEffect">
                                  <p:stCondLst>
                                    <p:cond delay="0"/>
                                  </p:stCondLst>
                                  <p:childTnLst>
                                    <p:set>
                                      <p:cBhvr>
                                        <p:cTn id="75" dur="1" fill="hold">
                                          <p:stCondLst>
                                            <p:cond delay="0"/>
                                          </p:stCondLst>
                                        </p:cTn>
                                        <p:tgtEl>
                                          <p:spTgt spid="74"/>
                                        </p:tgtEl>
                                        <p:attrNameLst>
                                          <p:attrName>style.visibility</p:attrName>
                                        </p:attrNameLst>
                                      </p:cBhvr>
                                      <p:to>
                                        <p:strVal val="visible"/>
                                      </p:to>
                                    </p:set>
                                    <p:anim calcmode="lin" valueType="num">
                                      <p:cBhvr>
                                        <p:cTn id="76" dur="500" fill="hold"/>
                                        <p:tgtEl>
                                          <p:spTgt spid="74"/>
                                        </p:tgtEl>
                                        <p:attrNameLst>
                                          <p:attrName>ppt_w</p:attrName>
                                        </p:attrNameLst>
                                      </p:cBhvr>
                                      <p:tavLst>
                                        <p:tav tm="0">
                                          <p:val>
                                            <p:fltVal val="0"/>
                                          </p:val>
                                        </p:tav>
                                        <p:tav tm="100000">
                                          <p:val>
                                            <p:strVal val="#ppt_w"/>
                                          </p:val>
                                        </p:tav>
                                      </p:tavLst>
                                    </p:anim>
                                    <p:anim calcmode="lin" valueType="num">
                                      <p:cBhvr>
                                        <p:cTn id="77" dur="500" fill="hold"/>
                                        <p:tgtEl>
                                          <p:spTgt spid="74"/>
                                        </p:tgtEl>
                                        <p:attrNameLst>
                                          <p:attrName>ppt_h</p:attrName>
                                        </p:attrNameLst>
                                      </p:cBhvr>
                                      <p:tavLst>
                                        <p:tav tm="0">
                                          <p:val>
                                            <p:fltVal val="0"/>
                                          </p:val>
                                        </p:tav>
                                        <p:tav tm="100000">
                                          <p:val>
                                            <p:strVal val="#ppt_h"/>
                                          </p:val>
                                        </p:tav>
                                      </p:tavLst>
                                    </p:anim>
                                    <p:animEffect transition="in" filter="fade">
                                      <p:cBhvr>
                                        <p:cTn id="78" dur="500"/>
                                        <p:tgtEl>
                                          <p:spTgt spid="74"/>
                                        </p:tgtEl>
                                      </p:cBhvr>
                                    </p:animEffect>
                                  </p:childTnLst>
                                </p:cTn>
                              </p:par>
                              <p:par>
                                <p:cTn id="79" presetID="53" presetClass="entr" presetSubtype="16" fill="hold" grpId="0" nodeType="withEffect">
                                  <p:stCondLst>
                                    <p:cond delay="0"/>
                                  </p:stCondLst>
                                  <p:childTnLst>
                                    <p:set>
                                      <p:cBhvr>
                                        <p:cTn id="80" dur="1" fill="hold">
                                          <p:stCondLst>
                                            <p:cond delay="0"/>
                                          </p:stCondLst>
                                        </p:cTn>
                                        <p:tgtEl>
                                          <p:spTgt spid="75"/>
                                        </p:tgtEl>
                                        <p:attrNameLst>
                                          <p:attrName>style.visibility</p:attrName>
                                        </p:attrNameLst>
                                      </p:cBhvr>
                                      <p:to>
                                        <p:strVal val="visible"/>
                                      </p:to>
                                    </p:set>
                                    <p:anim calcmode="lin" valueType="num">
                                      <p:cBhvr>
                                        <p:cTn id="81" dur="500" fill="hold"/>
                                        <p:tgtEl>
                                          <p:spTgt spid="75"/>
                                        </p:tgtEl>
                                        <p:attrNameLst>
                                          <p:attrName>ppt_w</p:attrName>
                                        </p:attrNameLst>
                                      </p:cBhvr>
                                      <p:tavLst>
                                        <p:tav tm="0">
                                          <p:val>
                                            <p:fltVal val="0"/>
                                          </p:val>
                                        </p:tav>
                                        <p:tav tm="100000">
                                          <p:val>
                                            <p:strVal val="#ppt_w"/>
                                          </p:val>
                                        </p:tav>
                                      </p:tavLst>
                                    </p:anim>
                                    <p:anim calcmode="lin" valueType="num">
                                      <p:cBhvr>
                                        <p:cTn id="82" dur="500" fill="hold"/>
                                        <p:tgtEl>
                                          <p:spTgt spid="75"/>
                                        </p:tgtEl>
                                        <p:attrNameLst>
                                          <p:attrName>ppt_h</p:attrName>
                                        </p:attrNameLst>
                                      </p:cBhvr>
                                      <p:tavLst>
                                        <p:tav tm="0">
                                          <p:val>
                                            <p:fltVal val="0"/>
                                          </p:val>
                                        </p:tav>
                                        <p:tav tm="100000">
                                          <p:val>
                                            <p:strVal val="#ppt_h"/>
                                          </p:val>
                                        </p:tav>
                                      </p:tavLst>
                                    </p:anim>
                                    <p:animEffect transition="in" filter="fade">
                                      <p:cBhvr>
                                        <p:cTn id="83" dur="500"/>
                                        <p:tgtEl>
                                          <p:spTgt spid="75"/>
                                        </p:tgtEl>
                                      </p:cBhvr>
                                    </p:animEffect>
                                  </p:childTnLst>
                                </p:cTn>
                              </p:par>
                              <p:par>
                                <p:cTn id="84" presetID="53" presetClass="entr" presetSubtype="16" fill="hold" grpId="0" nodeType="withEffect">
                                  <p:stCondLst>
                                    <p:cond delay="0"/>
                                  </p:stCondLst>
                                  <p:childTnLst>
                                    <p:set>
                                      <p:cBhvr>
                                        <p:cTn id="85" dur="1" fill="hold">
                                          <p:stCondLst>
                                            <p:cond delay="0"/>
                                          </p:stCondLst>
                                        </p:cTn>
                                        <p:tgtEl>
                                          <p:spTgt spid="76"/>
                                        </p:tgtEl>
                                        <p:attrNameLst>
                                          <p:attrName>style.visibility</p:attrName>
                                        </p:attrNameLst>
                                      </p:cBhvr>
                                      <p:to>
                                        <p:strVal val="visible"/>
                                      </p:to>
                                    </p:set>
                                    <p:anim calcmode="lin" valueType="num">
                                      <p:cBhvr>
                                        <p:cTn id="86" dur="500" fill="hold"/>
                                        <p:tgtEl>
                                          <p:spTgt spid="76"/>
                                        </p:tgtEl>
                                        <p:attrNameLst>
                                          <p:attrName>ppt_w</p:attrName>
                                        </p:attrNameLst>
                                      </p:cBhvr>
                                      <p:tavLst>
                                        <p:tav tm="0">
                                          <p:val>
                                            <p:fltVal val="0"/>
                                          </p:val>
                                        </p:tav>
                                        <p:tav tm="100000">
                                          <p:val>
                                            <p:strVal val="#ppt_w"/>
                                          </p:val>
                                        </p:tav>
                                      </p:tavLst>
                                    </p:anim>
                                    <p:anim calcmode="lin" valueType="num">
                                      <p:cBhvr>
                                        <p:cTn id="87" dur="500" fill="hold"/>
                                        <p:tgtEl>
                                          <p:spTgt spid="76"/>
                                        </p:tgtEl>
                                        <p:attrNameLst>
                                          <p:attrName>ppt_h</p:attrName>
                                        </p:attrNameLst>
                                      </p:cBhvr>
                                      <p:tavLst>
                                        <p:tav tm="0">
                                          <p:val>
                                            <p:fltVal val="0"/>
                                          </p:val>
                                        </p:tav>
                                        <p:tav tm="100000">
                                          <p:val>
                                            <p:strVal val="#ppt_h"/>
                                          </p:val>
                                        </p:tav>
                                      </p:tavLst>
                                    </p:anim>
                                    <p:animEffect transition="in" filter="fade">
                                      <p:cBhvr>
                                        <p:cTn id="88" dur="500"/>
                                        <p:tgtEl>
                                          <p:spTgt spid="76"/>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77"/>
                                        </p:tgtEl>
                                        <p:attrNameLst>
                                          <p:attrName>style.visibility</p:attrName>
                                        </p:attrNameLst>
                                      </p:cBhvr>
                                      <p:to>
                                        <p:strVal val="visible"/>
                                      </p:to>
                                    </p:set>
                                    <p:anim calcmode="lin" valueType="num">
                                      <p:cBhvr>
                                        <p:cTn id="91" dur="500" fill="hold"/>
                                        <p:tgtEl>
                                          <p:spTgt spid="77"/>
                                        </p:tgtEl>
                                        <p:attrNameLst>
                                          <p:attrName>ppt_w</p:attrName>
                                        </p:attrNameLst>
                                      </p:cBhvr>
                                      <p:tavLst>
                                        <p:tav tm="0">
                                          <p:val>
                                            <p:fltVal val="0"/>
                                          </p:val>
                                        </p:tav>
                                        <p:tav tm="100000">
                                          <p:val>
                                            <p:strVal val="#ppt_w"/>
                                          </p:val>
                                        </p:tav>
                                      </p:tavLst>
                                    </p:anim>
                                    <p:anim calcmode="lin" valueType="num">
                                      <p:cBhvr>
                                        <p:cTn id="92" dur="500" fill="hold"/>
                                        <p:tgtEl>
                                          <p:spTgt spid="77"/>
                                        </p:tgtEl>
                                        <p:attrNameLst>
                                          <p:attrName>ppt_h</p:attrName>
                                        </p:attrNameLst>
                                      </p:cBhvr>
                                      <p:tavLst>
                                        <p:tav tm="0">
                                          <p:val>
                                            <p:fltVal val="0"/>
                                          </p:val>
                                        </p:tav>
                                        <p:tav tm="100000">
                                          <p:val>
                                            <p:strVal val="#ppt_h"/>
                                          </p:val>
                                        </p:tav>
                                      </p:tavLst>
                                    </p:anim>
                                    <p:animEffect transition="in" filter="fade">
                                      <p:cBhvr>
                                        <p:cTn id="93" dur="500"/>
                                        <p:tgtEl>
                                          <p:spTgt spid="77"/>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78"/>
                                        </p:tgtEl>
                                        <p:attrNameLst>
                                          <p:attrName>style.visibility</p:attrName>
                                        </p:attrNameLst>
                                      </p:cBhvr>
                                      <p:to>
                                        <p:strVal val="visible"/>
                                      </p:to>
                                    </p:set>
                                    <p:anim calcmode="lin" valueType="num">
                                      <p:cBhvr>
                                        <p:cTn id="96" dur="500" fill="hold"/>
                                        <p:tgtEl>
                                          <p:spTgt spid="78"/>
                                        </p:tgtEl>
                                        <p:attrNameLst>
                                          <p:attrName>ppt_w</p:attrName>
                                        </p:attrNameLst>
                                      </p:cBhvr>
                                      <p:tavLst>
                                        <p:tav tm="0">
                                          <p:val>
                                            <p:fltVal val="0"/>
                                          </p:val>
                                        </p:tav>
                                        <p:tav tm="100000">
                                          <p:val>
                                            <p:strVal val="#ppt_w"/>
                                          </p:val>
                                        </p:tav>
                                      </p:tavLst>
                                    </p:anim>
                                    <p:anim calcmode="lin" valueType="num">
                                      <p:cBhvr>
                                        <p:cTn id="97" dur="500" fill="hold"/>
                                        <p:tgtEl>
                                          <p:spTgt spid="78"/>
                                        </p:tgtEl>
                                        <p:attrNameLst>
                                          <p:attrName>ppt_h</p:attrName>
                                        </p:attrNameLst>
                                      </p:cBhvr>
                                      <p:tavLst>
                                        <p:tav tm="0">
                                          <p:val>
                                            <p:fltVal val="0"/>
                                          </p:val>
                                        </p:tav>
                                        <p:tav tm="100000">
                                          <p:val>
                                            <p:strVal val="#ppt_h"/>
                                          </p:val>
                                        </p:tav>
                                      </p:tavLst>
                                    </p:anim>
                                    <p:animEffect transition="in" filter="fade">
                                      <p:cBhvr>
                                        <p:cTn id="98" dur="500"/>
                                        <p:tgtEl>
                                          <p:spTgt spid="78"/>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79"/>
                                        </p:tgtEl>
                                        <p:attrNameLst>
                                          <p:attrName>style.visibility</p:attrName>
                                        </p:attrNameLst>
                                      </p:cBhvr>
                                      <p:to>
                                        <p:strVal val="visible"/>
                                      </p:to>
                                    </p:set>
                                    <p:anim calcmode="lin" valueType="num">
                                      <p:cBhvr>
                                        <p:cTn id="101" dur="500" fill="hold"/>
                                        <p:tgtEl>
                                          <p:spTgt spid="79"/>
                                        </p:tgtEl>
                                        <p:attrNameLst>
                                          <p:attrName>ppt_w</p:attrName>
                                        </p:attrNameLst>
                                      </p:cBhvr>
                                      <p:tavLst>
                                        <p:tav tm="0">
                                          <p:val>
                                            <p:fltVal val="0"/>
                                          </p:val>
                                        </p:tav>
                                        <p:tav tm="100000">
                                          <p:val>
                                            <p:strVal val="#ppt_w"/>
                                          </p:val>
                                        </p:tav>
                                      </p:tavLst>
                                    </p:anim>
                                    <p:anim calcmode="lin" valueType="num">
                                      <p:cBhvr>
                                        <p:cTn id="102" dur="500" fill="hold"/>
                                        <p:tgtEl>
                                          <p:spTgt spid="79"/>
                                        </p:tgtEl>
                                        <p:attrNameLst>
                                          <p:attrName>ppt_h</p:attrName>
                                        </p:attrNameLst>
                                      </p:cBhvr>
                                      <p:tavLst>
                                        <p:tav tm="0">
                                          <p:val>
                                            <p:fltVal val="0"/>
                                          </p:val>
                                        </p:tav>
                                        <p:tav tm="100000">
                                          <p:val>
                                            <p:strVal val="#ppt_h"/>
                                          </p:val>
                                        </p:tav>
                                      </p:tavLst>
                                    </p:anim>
                                    <p:animEffect transition="in" filter="fade">
                                      <p:cBhvr>
                                        <p:cTn id="103" dur="500"/>
                                        <p:tgtEl>
                                          <p:spTgt spid="79"/>
                                        </p:tgtEl>
                                      </p:cBhvr>
                                    </p:animEffect>
                                  </p:childTnLst>
                                </p:cTn>
                              </p:par>
                              <p:par>
                                <p:cTn id="104" presetID="53" presetClass="entr" presetSubtype="16" fill="hold" grpId="0" nodeType="withEffect">
                                  <p:stCondLst>
                                    <p:cond delay="0"/>
                                  </p:stCondLst>
                                  <p:childTnLst>
                                    <p:set>
                                      <p:cBhvr>
                                        <p:cTn id="105" dur="1" fill="hold">
                                          <p:stCondLst>
                                            <p:cond delay="0"/>
                                          </p:stCondLst>
                                        </p:cTn>
                                        <p:tgtEl>
                                          <p:spTgt spid="80"/>
                                        </p:tgtEl>
                                        <p:attrNameLst>
                                          <p:attrName>style.visibility</p:attrName>
                                        </p:attrNameLst>
                                      </p:cBhvr>
                                      <p:to>
                                        <p:strVal val="visible"/>
                                      </p:to>
                                    </p:set>
                                    <p:anim calcmode="lin" valueType="num">
                                      <p:cBhvr>
                                        <p:cTn id="106" dur="500" fill="hold"/>
                                        <p:tgtEl>
                                          <p:spTgt spid="80"/>
                                        </p:tgtEl>
                                        <p:attrNameLst>
                                          <p:attrName>ppt_w</p:attrName>
                                        </p:attrNameLst>
                                      </p:cBhvr>
                                      <p:tavLst>
                                        <p:tav tm="0">
                                          <p:val>
                                            <p:fltVal val="0"/>
                                          </p:val>
                                        </p:tav>
                                        <p:tav tm="100000">
                                          <p:val>
                                            <p:strVal val="#ppt_w"/>
                                          </p:val>
                                        </p:tav>
                                      </p:tavLst>
                                    </p:anim>
                                    <p:anim calcmode="lin" valueType="num">
                                      <p:cBhvr>
                                        <p:cTn id="107" dur="500" fill="hold"/>
                                        <p:tgtEl>
                                          <p:spTgt spid="80"/>
                                        </p:tgtEl>
                                        <p:attrNameLst>
                                          <p:attrName>ppt_h</p:attrName>
                                        </p:attrNameLst>
                                      </p:cBhvr>
                                      <p:tavLst>
                                        <p:tav tm="0">
                                          <p:val>
                                            <p:fltVal val="0"/>
                                          </p:val>
                                        </p:tav>
                                        <p:tav tm="100000">
                                          <p:val>
                                            <p:strVal val="#ppt_h"/>
                                          </p:val>
                                        </p:tav>
                                      </p:tavLst>
                                    </p:anim>
                                    <p:animEffect transition="in" filter="fade">
                                      <p:cBhvr>
                                        <p:cTn id="108" dur="500"/>
                                        <p:tgtEl>
                                          <p:spTgt spid="80"/>
                                        </p:tgtEl>
                                      </p:cBhvr>
                                    </p:animEffect>
                                  </p:childTnLst>
                                </p:cTn>
                              </p:par>
                              <p:par>
                                <p:cTn id="109" presetID="53" presetClass="entr" presetSubtype="16" fill="hold" grpId="0" nodeType="withEffect">
                                  <p:stCondLst>
                                    <p:cond delay="0"/>
                                  </p:stCondLst>
                                  <p:childTnLst>
                                    <p:set>
                                      <p:cBhvr>
                                        <p:cTn id="110" dur="1" fill="hold">
                                          <p:stCondLst>
                                            <p:cond delay="0"/>
                                          </p:stCondLst>
                                        </p:cTn>
                                        <p:tgtEl>
                                          <p:spTgt spid="81"/>
                                        </p:tgtEl>
                                        <p:attrNameLst>
                                          <p:attrName>style.visibility</p:attrName>
                                        </p:attrNameLst>
                                      </p:cBhvr>
                                      <p:to>
                                        <p:strVal val="visible"/>
                                      </p:to>
                                    </p:set>
                                    <p:anim calcmode="lin" valueType="num">
                                      <p:cBhvr>
                                        <p:cTn id="111" dur="500" fill="hold"/>
                                        <p:tgtEl>
                                          <p:spTgt spid="81"/>
                                        </p:tgtEl>
                                        <p:attrNameLst>
                                          <p:attrName>ppt_w</p:attrName>
                                        </p:attrNameLst>
                                      </p:cBhvr>
                                      <p:tavLst>
                                        <p:tav tm="0">
                                          <p:val>
                                            <p:fltVal val="0"/>
                                          </p:val>
                                        </p:tav>
                                        <p:tav tm="100000">
                                          <p:val>
                                            <p:strVal val="#ppt_w"/>
                                          </p:val>
                                        </p:tav>
                                      </p:tavLst>
                                    </p:anim>
                                    <p:anim calcmode="lin" valueType="num">
                                      <p:cBhvr>
                                        <p:cTn id="112" dur="500" fill="hold"/>
                                        <p:tgtEl>
                                          <p:spTgt spid="81"/>
                                        </p:tgtEl>
                                        <p:attrNameLst>
                                          <p:attrName>ppt_h</p:attrName>
                                        </p:attrNameLst>
                                      </p:cBhvr>
                                      <p:tavLst>
                                        <p:tav tm="0">
                                          <p:val>
                                            <p:fltVal val="0"/>
                                          </p:val>
                                        </p:tav>
                                        <p:tav tm="100000">
                                          <p:val>
                                            <p:strVal val="#ppt_h"/>
                                          </p:val>
                                        </p:tav>
                                      </p:tavLst>
                                    </p:anim>
                                    <p:animEffect transition="in" filter="fade">
                                      <p:cBhvr>
                                        <p:cTn id="113" dur="500"/>
                                        <p:tgtEl>
                                          <p:spTgt spid="81"/>
                                        </p:tgtEl>
                                      </p:cBhvr>
                                    </p:animEffect>
                                  </p:childTnLst>
                                </p:cTn>
                              </p:par>
                              <p:par>
                                <p:cTn id="114" presetID="53" presetClass="entr" presetSubtype="16" fill="hold" grpId="0" nodeType="withEffect">
                                  <p:stCondLst>
                                    <p:cond delay="0"/>
                                  </p:stCondLst>
                                  <p:childTnLst>
                                    <p:set>
                                      <p:cBhvr>
                                        <p:cTn id="115" dur="1" fill="hold">
                                          <p:stCondLst>
                                            <p:cond delay="0"/>
                                          </p:stCondLst>
                                        </p:cTn>
                                        <p:tgtEl>
                                          <p:spTgt spid="82"/>
                                        </p:tgtEl>
                                        <p:attrNameLst>
                                          <p:attrName>style.visibility</p:attrName>
                                        </p:attrNameLst>
                                      </p:cBhvr>
                                      <p:to>
                                        <p:strVal val="visible"/>
                                      </p:to>
                                    </p:set>
                                    <p:anim calcmode="lin" valueType="num">
                                      <p:cBhvr>
                                        <p:cTn id="116" dur="500" fill="hold"/>
                                        <p:tgtEl>
                                          <p:spTgt spid="82"/>
                                        </p:tgtEl>
                                        <p:attrNameLst>
                                          <p:attrName>ppt_w</p:attrName>
                                        </p:attrNameLst>
                                      </p:cBhvr>
                                      <p:tavLst>
                                        <p:tav tm="0">
                                          <p:val>
                                            <p:fltVal val="0"/>
                                          </p:val>
                                        </p:tav>
                                        <p:tav tm="100000">
                                          <p:val>
                                            <p:strVal val="#ppt_w"/>
                                          </p:val>
                                        </p:tav>
                                      </p:tavLst>
                                    </p:anim>
                                    <p:anim calcmode="lin" valueType="num">
                                      <p:cBhvr>
                                        <p:cTn id="117" dur="500" fill="hold"/>
                                        <p:tgtEl>
                                          <p:spTgt spid="82"/>
                                        </p:tgtEl>
                                        <p:attrNameLst>
                                          <p:attrName>ppt_h</p:attrName>
                                        </p:attrNameLst>
                                      </p:cBhvr>
                                      <p:tavLst>
                                        <p:tav tm="0">
                                          <p:val>
                                            <p:fltVal val="0"/>
                                          </p:val>
                                        </p:tav>
                                        <p:tav tm="100000">
                                          <p:val>
                                            <p:strVal val="#ppt_h"/>
                                          </p:val>
                                        </p:tav>
                                      </p:tavLst>
                                    </p:anim>
                                    <p:animEffect transition="in" filter="fade">
                                      <p:cBhvr>
                                        <p:cTn id="118" dur="500"/>
                                        <p:tgtEl>
                                          <p:spTgt spid="82"/>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83"/>
                                        </p:tgtEl>
                                        <p:attrNameLst>
                                          <p:attrName>style.visibility</p:attrName>
                                        </p:attrNameLst>
                                      </p:cBhvr>
                                      <p:to>
                                        <p:strVal val="visible"/>
                                      </p:to>
                                    </p:set>
                                    <p:anim calcmode="lin" valueType="num">
                                      <p:cBhvr>
                                        <p:cTn id="121" dur="500" fill="hold"/>
                                        <p:tgtEl>
                                          <p:spTgt spid="83"/>
                                        </p:tgtEl>
                                        <p:attrNameLst>
                                          <p:attrName>ppt_w</p:attrName>
                                        </p:attrNameLst>
                                      </p:cBhvr>
                                      <p:tavLst>
                                        <p:tav tm="0">
                                          <p:val>
                                            <p:fltVal val="0"/>
                                          </p:val>
                                        </p:tav>
                                        <p:tav tm="100000">
                                          <p:val>
                                            <p:strVal val="#ppt_w"/>
                                          </p:val>
                                        </p:tav>
                                      </p:tavLst>
                                    </p:anim>
                                    <p:anim calcmode="lin" valueType="num">
                                      <p:cBhvr>
                                        <p:cTn id="122" dur="500" fill="hold"/>
                                        <p:tgtEl>
                                          <p:spTgt spid="83"/>
                                        </p:tgtEl>
                                        <p:attrNameLst>
                                          <p:attrName>ppt_h</p:attrName>
                                        </p:attrNameLst>
                                      </p:cBhvr>
                                      <p:tavLst>
                                        <p:tav tm="0">
                                          <p:val>
                                            <p:fltVal val="0"/>
                                          </p:val>
                                        </p:tav>
                                        <p:tav tm="100000">
                                          <p:val>
                                            <p:strVal val="#ppt_h"/>
                                          </p:val>
                                        </p:tav>
                                      </p:tavLst>
                                    </p:anim>
                                    <p:animEffect transition="in" filter="fade">
                                      <p:cBhvr>
                                        <p:cTn id="123" dur="500"/>
                                        <p:tgtEl>
                                          <p:spTgt spid="83"/>
                                        </p:tgtEl>
                                      </p:cBhvr>
                                    </p:animEffect>
                                  </p:childTnLst>
                                </p:cTn>
                              </p:par>
                              <p:par>
                                <p:cTn id="124" presetID="53" presetClass="entr" presetSubtype="16" fill="hold" grpId="0" nodeType="withEffect">
                                  <p:stCondLst>
                                    <p:cond delay="0"/>
                                  </p:stCondLst>
                                  <p:childTnLst>
                                    <p:set>
                                      <p:cBhvr>
                                        <p:cTn id="125" dur="1" fill="hold">
                                          <p:stCondLst>
                                            <p:cond delay="0"/>
                                          </p:stCondLst>
                                        </p:cTn>
                                        <p:tgtEl>
                                          <p:spTgt spid="84"/>
                                        </p:tgtEl>
                                        <p:attrNameLst>
                                          <p:attrName>style.visibility</p:attrName>
                                        </p:attrNameLst>
                                      </p:cBhvr>
                                      <p:to>
                                        <p:strVal val="visible"/>
                                      </p:to>
                                    </p:set>
                                    <p:anim calcmode="lin" valueType="num">
                                      <p:cBhvr>
                                        <p:cTn id="126" dur="500" fill="hold"/>
                                        <p:tgtEl>
                                          <p:spTgt spid="84"/>
                                        </p:tgtEl>
                                        <p:attrNameLst>
                                          <p:attrName>ppt_w</p:attrName>
                                        </p:attrNameLst>
                                      </p:cBhvr>
                                      <p:tavLst>
                                        <p:tav tm="0">
                                          <p:val>
                                            <p:fltVal val="0"/>
                                          </p:val>
                                        </p:tav>
                                        <p:tav tm="100000">
                                          <p:val>
                                            <p:strVal val="#ppt_w"/>
                                          </p:val>
                                        </p:tav>
                                      </p:tavLst>
                                    </p:anim>
                                    <p:anim calcmode="lin" valueType="num">
                                      <p:cBhvr>
                                        <p:cTn id="127" dur="500" fill="hold"/>
                                        <p:tgtEl>
                                          <p:spTgt spid="84"/>
                                        </p:tgtEl>
                                        <p:attrNameLst>
                                          <p:attrName>ppt_h</p:attrName>
                                        </p:attrNameLst>
                                      </p:cBhvr>
                                      <p:tavLst>
                                        <p:tav tm="0">
                                          <p:val>
                                            <p:fltVal val="0"/>
                                          </p:val>
                                        </p:tav>
                                        <p:tav tm="100000">
                                          <p:val>
                                            <p:strVal val="#ppt_h"/>
                                          </p:val>
                                        </p:tav>
                                      </p:tavLst>
                                    </p:anim>
                                    <p:animEffect transition="in" filter="fade">
                                      <p:cBhvr>
                                        <p:cTn id="128" dur="500"/>
                                        <p:tgtEl>
                                          <p:spTgt spid="84"/>
                                        </p:tgtEl>
                                      </p:cBhvr>
                                    </p:animEffect>
                                  </p:childTnLst>
                                </p:cTn>
                              </p:par>
                              <p:par>
                                <p:cTn id="129" presetID="53" presetClass="entr" presetSubtype="16" fill="hold" grpId="0" nodeType="withEffect">
                                  <p:stCondLst>
                                    <p:cond delay="0"/>
                                  </p:stCondLst>
                                  <p:childTnLst>
                                    <p:set>
                                      <p:cBhvr>
                                        <p:cTn id="130" dur="1" fill="hold">
                                          <p:stCondLst>
                                            <p:cond delay="0"/>
                                          </p:stCondLst>
                                        </p:cTn>
                                        <p:tgtEl>
                                          <p:spTgt spid="85"/>
                                        </p:tgtEl>
                                        <p:attrNameLst>
                                          <p:attrName>style.visibility</p:attrName>
                                        </p:attrNameLst>
                                      </p:cBhvr>
                                      <p:to>
                                        <p:strVal val="visible"/>
                                      </p:to>
                                    </p:set>
                                    <p:anim calcmode="lin" valueType="num">
                                      <p:cBhvr>
                                        <p:cTn id="131" dur="500" fill="hold"/>
                                        <p:tgtEl>
                                          <p:spTgt spid="85"/>
                                        </p:tgtEl>
                                        <p:attrNameLst>
                                          <p:attrName>ppt_w</p:attrName>
                                        </p:attrNameLst>
                                      </p:cBhvr>
                                      <p:tavLst>
                                        <p:tav tm="0">
                                          <p:val>
                                            <p:fltVal val="0"/>
                                          </p:val>
                                        </p:tav>
                                        <p:tav tm="100000">
                                          <p:val>
                                            <p:strVal val="#ppt_w"/>
                                          </p:val>
                                        </p:tav>
                                      </p:tavLst>
                                    </p:anim>
                                    <p:anim calcmode="lin" valueType="num">
                                      <p:cBhvr>
                                        <p:cTn id="132" dur="500" fill="hold"/>
                                        <p:tgtEl>
                                          <p:spTgt spid="85"/>
                                        </p:tgtEl>
                                        <p:attrNameLst>
                                          <p:attrName>ppt_h</p:attrName>
                                        </p:attrNameLst>
                                      </p:cBhvr>
                                      <p:tavLst>
                                        <p:tav tm="0">
                                          <p:val>
                                            <p:fltVal val="0"/>
                                          </p:val>
                                        </p:tav>
                                        <p:tav tm="100000">
                                          <p:val>
                                            <p:strVal val="#ppt_h"/>
                                          </p:val>
                                        </p:tav>
                                      </p:tavLst>
                                    </p:anim>
                                    <p:animEffect transition="in" filter="fade">
                                      <p:cBhvr>
                                        <p:cTn id="133" dur="500"/>
                                        <p:tgtEl>
                                          <p:spTgt spid="85"/>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87"/>
                                        </p:tgtEl>
                                        <p:attrNameLst>
                                          <p:attrName>style.visibility</p:attrName>
                                        </p:attrNameLst>
                                      </p:cBhvr>
                                      <p:to>
                                        <p:strVal val="visible"/>
                                      </p:to>
                                    </p:set>
                                    <p:animEffect transition="in" filter="fade">
                                      <p:cBhvr>
                                        <p:cTn id="137" dur="500"/>
                                        <p:tgtEl>
                                          <p:spTgt spid="87"/>
                                        </p:tgtEl>
                                      </p:cBhvr>
                                    </p:animEffect>
                                  </p:childTnLst>
                                </p:cTn>
                              </p:par>
                            </p:childTnLst>
                          </p:cTn>
                        </p:par>
                        <p:par>
                          <p:cTn id="138" fill="hold">
                            <p:stCondLst>
                              <p:cond delay="1500"/>
                            </p:stCondLst>
                            <p:childTnLst>
                              <p:par>
                                <p:cTn id="139" presetID="53" presetClass="entr" presetSubtype="16" fill="hold" nodeType="afterEffect">
                                  <p:stCondLst>
                                    <p:cond delay="0"/>
                                  </p:stCondLst>
                                  <p:childTnLst>
                                    <p:set>
                                      <p:cBhvr>
                                        <p:cTn id="140" dur="1" fill="hold">
                                          <p:stCondLst>
                                            <p:cond delay="0"/>
                                          </p:stCondLst>
                                        </p:cTn>
                                        <p:tgtEl>
                                          <p:spTgt spid="89"/>
                                        </p:tgtEl>
                                        <p:attrNameLst>
                                          <p:attrName>style.visibility</p:attrName>
                                        </p:attrNameLst>
                                      </p:cBhvr>
                                      <p:to>
                                        <p:strVal val="visible"/>
                                      </p:to>
                                    </p:set>
                                    <p:anim calcmode="lin" valueType="num">
                                      <p:cBhvr>
                                        <p:cTn id="141" dur="500" fill="hold"/>
                                        <p:tgtEl>
                                          <p:spTgt spid="89"/>
                                        </p:tgtEl>
                                        <p:attrNameLst>
                                          <p:attrName>ppt_w</p:attrName>
                                        </p:attrNameLst>
                                      </p:cBhvr>
                                      <p:tavLst>
                                        <p:tav tm="0">
                                          <p:val>
                                            <p:fltVal val="0"/>
                                          </p:val>
                                        </p:tav>
                                        <p:tav tm="100000">
                                          <p:val>
                                            <p:strVal val="#ppt_w"/>
                                          </p:val>
                                        </p:tav>
                                      </p:tavLst>
                                    </p:anim>
                                    <p:anim calcmode="lin" valueType="num">
                                      <p:cBhvr>
                                        <p:cTn id="142" dur="500" fill="hold"/>
                                        <p:tgtEl>
                                          <p:spTgt spid="89"/>
                                        </p:tgtEl>
                                        <p:attrNameLst>
                                          <p:attrName>ppt_h</p:attrName>
                                        </p:attrNameLst>
                                      </p:cBhvr>
                                      <p:tavLst>
                                        <p:tav tm="0">
                                          <p:val>
                                            <p:fltVal val="0"/>
                                          </p:val>
                                        </p:tav>
                                        <p:tav tm="100000">
                                          <p:val>
                                            <p:strVal val="#ppt_h"/>
                                          </p:val>
                                        </p:tav>
                                      </p:tavLst>
                                    </p:anim>
                                    <p:animEffect transition="in" filter="fade">
                                      <p:cBhvr>
                                        <p:cTn id="143"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0" grpId="0" animBg="1"/>
      <p:bldP spid="51"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7"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 </a:t>
            </a:r>
            <a:r>
              <a:rPr lang="en-US" dirty="0" err="1" smtClean="0"/>
              <a:t>programme</a:t>
            </a:r>
            <a:endParaRPr lang="id-ID" dirty="0"/>
          </a:p>
        </p:txBody>
      </p:sp>
      <p:sp>
        <p:nvSpPr>
          <p:cNvPr id="3" name="Text Placeholder 2"/>
          <p:cNvSpPr>
            <a:spLocks noGrp="1"/>
          </p:cNvSpPr>
          <p:nvPr>
            <p:ph type="body" sz="quarter" idx="13"/>
          </p:nvPr>
        </p:nvSpPr>
        <p:spPr>
          <a:xfrm>
            <a:off x="845761" y="1341975"/>
            <a:ext cx="10515600" cy="4651264"/>
          </a:xfrm>
        </p:spPr>
        <p:txBody>
          <a:bodyPr>
            <a:normAutofit/>
          </a:bodyPr>
          <a:lstStyle/>
          <a:p>
            <a:pPr marL="228600" lvl="0" indent="-228600" algn="l" eaLnBrk="0" fontAlgn="base" hangingPunct="0">
              <a:lnSpc>
                <a:spcPct val="100000"/>
              </a:lnSpc>
              <a:spcBef>
                <a:spcPct val="20000"/>
              </a:spcBef>
              <a:spcAft>
                <a:spcPct val="0"/>
              </a:spcAft>
              <a:buClr>
                <a:srgbClr val="00B0F0"/>
              </a:buClr>
              <a:buSzPct val="90000"/>
              <a:buFont typeface="Segoe UI Light" panose="020B0502040204020203" pitchFamily="34" charset="0"/>
              <a:buChar char="■"/>
            </a:pPr>
            <a:r>
              <a:rPr lang="en-US" sz="4267" dirty="0" err="1">
                <a:solidFill>
                  <a:srgbClr val="00B0F0"/>
                </a:solidFill>
                <a:latin typeface="Segoe UI Light" panose="020B0502040204020203" pitchFamily="34" charset="0"/>
                <a:cs typeface="Segoe UI Light" panose="020B0502040204020203" pitchFamily="34" charset="0"/>
              </a:rPr>
              <a:t>L’IoT</a:t>
            </a:r>
            <a:r>
              <a:rPr lang="en-US" sz="4267" dirty="0">
                <a:solidFill>
                  <a:srgbClr val="00B0F0"/>
                </a:solidFill>
                <a:latin typeface="Segoe UI Light" panose="020B0502040204020203" pitchFamily="34" charset="0"/>
                <a:cs typeface="Segoe UI Light" panose="020B0502040204020203" pitchFamily="34" charset="0"/>
              </a:rPr>
              <a:t> </a:t>
            </a:r>
            <a:r>
              <a:rPr lang="en-US" sz="4267" dirty="0" smtClean="0">
                <a:solidFill>
                  <a:srgbClr val="00B0F0"/>
                </a:solidFill>
                <a:latin typeface="Segoe UI Light" panose="020B0502040204020203" pitchFamily="34" charset="0"/>
                <a:cs typeface="Segoe UI Light" panose="020B0502040204020203" pitchFamily="34" charset="0"/>
              </a:rPr>
              <a:t>?</a:t>
            </a:r>
          </a:p>
          <a:p>
            <a:pPr marL="228600" lvl="0" indent="-228600" algn="l" eaLnBrk="0" fontAlgn="base" hangingPunct="0">
              <a:lnSpc>
                <a:spcPct val="100000"/>
              </a:lnSpc>
              <a:spcBef>
                <a:spcPct val="20000"/>
              </a:spcBef>
              <a:spcAft>
                <a:spcPct val="0"/>
              </a:spcAft>
              <a:buClr>
                <a:srgbClr val="00B0F0"/>
              </a:buClr>
              <a:buSzPct val="90000"/>
              <a:buFont typeface="Segoe UI Light" panose="020B0502040204020203" pitchFamily="34" charset="0"/>
              <a:buChar char="■"/>
            </a:pPr>
            <a:r>
              <a:rPr lang="en-US" sz="4267" dirty="0" smtClean="0">
                <a:solidFill>
                  <a:srgbClr val="00B0F0"/>
                </a:solidFill>
                <a:latin typeface="Segoe UI Light" panose="020B0502040204020203" pitchFamily="34" charset="0"/>
                <a:cs typeface="Segoe UI Light" panose="020B0502040204020203" pitchFamily="34" charset="0"/>
              </a:rPr>
              <a:t>Robots </a:t>
            </a:r>
            <a:endParaRPr lang="en-US" sz="4267" dirty="0">
              <a:solidFill>
                <a:srgbClr val="00B0F0"/>
              </a:solidFill>
              <a:latin typeface="Segoe UI Light" panose="020B0502040204020203" pitchFamily="34" charset="0"/>
              <a:cs typeface="Segoe UI Light" panose="020B0502040204020203" pitchFamily="34" charset="0"/>
            </a:endParaRPr>
          </a:p>
          <a:p>
            <a:pPr marL="228600" lvl="0" indent="-228600" algn="l" eaLnBrk="0" fontAlgn="base" hangingPunct="0">
              <a:lnSpc>
                <a:spcPct val="100000"/>
              </a:lnSpc>
              <a:spcBef>
                <a:spcPct val="20000"/>
              </a:spcBef>
              <a:spcAft>
                <a:spcPct val="0"/>
              </a:spcAft>
              <a:buClr>
                <a:srgbClr val="00B0F0"/>
              </a:buClr>
              <a:buSzPct val="90000"/>
              <a:buFont typeface="Segoe UI Light" panose="020B0502040204020203" pitchFamily="34" charset="0"/>
              <a:buChar char="■"/>
            </a:pPr>
            <a:r>
              <a:rPr lang="en-US" sz="4267" dirty="0" err="1" smtClean="0">
                <a:solidFill>
                  <a:srgbClr val="00B0F0"/>
                </a:solidFill>
                <a:latin typeface="Segoe UI Light" panose="020B0502040204020203" pitchFamily="34" charset="0"/>
                <a:cs typeface="Segoe UI Light" panose="020B0502040204020203" pitchFamily="34" charset="0"/>
              </a:rPr>
              <a:t>Prototypez</a:t>
            </a:r>
            <a:r>
              <a:rPr lang="en-US" sz="4267" dirty="0" smtClean="0">
                <a:solidFill>
                  <a:srgbClr val="00B0F0"/>
                </a:solidFill>
                <a:latin typeface="Segoe UI Light" panose="020B0502040204020203" pitchFamily="34" charset="0"/>
                <a:cs typeface="Segoe UI Light" panose="020B0502040204020203" pitchFamily="34" charset="0"/>
              </a:rPr>
              <a:t> </a:t>
            </a:r>
            <a:r>
              <a:rPr lang="en-US" sz="4267" dirty="0" err="1">
                <a:solidFill>
                  <a:srgbClr val="00B0F0"/>
                </a:solidFill>
                <a:latin typeface="Segoe UI Light" panose="020B0502040204020203" pitchFamily="34" charset="0"/>
                <a:cs typeface="Segoe UI Light" panose="020B0502040204020203" pitchFamily="34" charset="0"/>
              </a:rPr>
              <a:t>vos</a:t>
            </a:r>
            <a:r>
              <a:rPr lang="en-US" sz="4267" dirty="0">
                <a:solidFill>
                  <a:srgbClr val="00B0F0"/>
                </a:solidFill>
                <a:latin typeface="Segoe UI Light" panose="020B0502040204020203" pitchFamily="34" charset="0"/>
                <a:cs typeface="Segoe UI Light" panose="020B0502040204020203" pitchFamily="34" charset="0"/>
              </a:rPr>
              <a:t> </a:t>
            </a:r>
            <a:r>
              <a:rPr lang="en-US" sz="4267" dirty="0" err="1">
                <a:solidFill>
                  <a:srgbClr val="00B0F0"/>
                </a:solidFill>
                <a:latin typeface="Segoe UI Light" panose="020B0502040204020203" pitchFamily="34" charset="0"/>
                <a:cs typeface="Segoe UI Light" panose="020B0502040204020203" pitchFamily="34" charset="0"/>
              </a:rPr>
              <a:t>objets</a:t>
            </a:r>
            <a:r>
              <a:rPr lang="en-US" sz="4267" dirty="0">
                <a:solidFill>
                  <a:srgbClr val="00B0F0"/>
                </a:solidFill>
                <a:latin typeface="Segoe UI Light" panose="020B0502040204020203" pitchFamily="34" charset="0"/>
                <a:cs typeface="Segoe UI Light" panose="020B0502040204020203" pitchFamily="34" charset="0"/>
              </a:rPr>
              <a:t> </a:t>
            </a:r>
            <a:r>
              <a:rPr lang="en-US" sz="4267" dirty="0" err="1">
                <a:solidFill>
                  <a:srgbClr val="00B0F0"/>
                </a:solidFill>
                <a:latin typeface="Segoe UI Light" panose="020B0502040204020203" pitchFamily="34" charset="0"/>
                <a:cs typeface="Segoe UI Light" panose="020B0502040204020203" pitchFamily="34" charset="0"/>
              </a:rPr>
              <a:t>connectés</a:t>
            </a:r>
            <a:r>
              <a:rPr lang="en-US" sz="4267" dirty="0">
                <a:solidFill>
                  <a:srgbClr val="00B0F0"/>
                </a:solidFill>
                <a:latin typeface="Segoe UI Light" panose="020B0502040204020203" pitchFamily="34" charset="0"/>
                <a:cs typeface="Segoe UI Light" panose="020B0502040204020203" pitchFamily="34" charset="0"/>
              </a:rPr>
              <a:t> </a:t>
            </a:r>
          </a:p>
          <a:p>
            <a:pPr marL="228600" lvl="0" indent="-228600" algn="l" eaLnBrk="0" fontAlgn="base" hangingPunct="0">
              <a:lnSpc>
                <a:spcPct val="100000"/>
              </a:lnSpc>
              <a:spcBef>
                <a:spcPct val="20000"/>
              </a:spcBef>
              <a:spcAft>
                <a:spcPct val="0"/>
              </a:spcAft>
              <a:buClr>
                <a:srgbClr val="00B0F0"/>
              </a:buClr>
              <a:buSzPct val="90000"/>
              <a:buFont typeface="Segoe UI Light" panose="020B0502040204020203" pitchFamily="34" charset="0"/>
              <a:buChar char="■"/>
            </a:pPr>
            <a:r>
              <a:rPr lang="en-US" sz="4267" dirty="0">
                <a:solidFill>
                  <a:srgbClr val="00B0F0"/>
                </a:solidFill>
                <a:latin typeface="Segoe UI Light" panose="020B0502040204020203" pitchFamily="34" charset="0"/>
                <a:cs typeface="Segoe UI Light" panose="020B0502040204020203" pitchFamily="34" charset="0"/>
              </a:rPr>
              <a:t>Les services Azure </a:t>
            </a:r>
            <a:r>
              <a:rPr lang="en-US" sz="4267" dirty="0" err="1">
                <a:solidFill>
                  <a:srgbClr val="00B0F0"/>
                </a:solidFill>
                <a:latin typeface="Segoe UI Light" panose="020B0502040204020203" pitchFamily="34" charset="0"/>
                <a:cs typeface="Segoe UI Light" panose="020B0502040204020203" pitchFamily="34" charset="0"/>
              </a:rPr>
              <a:t>IoT</a:t>
            </a:r>
            <a:endParaRPr lang="en-US" sz="4267" dirty="0">
              <a:solidFill>
                <a:srgbClr val="00B0F0"/>
              </a:solidFill>
              <a:latin typeface="Segoe UI Light" panose="020B0502040204020203" pitchFamily="34" charset="0"/>
              <a:cs typeface="Segoe UI Light" panose="020B0502040204020203" pitchFamily="34" charset="0"/>
            </a:endParaRPr>
          </a:p>
          <a:p>
            <a:pPr marL="228600" lvl="0" indent="-228600" algn="l" eaLnBrk="0" fontAlgn="base" hangingPunct="0">
              <a:lnSpc>
                <a:spcPct val="100000"/>
              </a:lnSpc>
              <a:spcBef>
                <a:spcPct val="20000"/>
              </a:spcBef>
              <a:spcAft>
                <a:spcPct val="0"/>
              </a:spcAft>
              <a:buClr>
                <a:srgbClr val="00B0F0"/>
              </a:buClr>
              <a:buSzPct val="90000"/>
              <a:buFont typeface="Segoe UI Light" panose="020B0502040204020203" pitchFamily="34" charset="0"/>
              <a:buChar char="■"/>
            </a:pPr>
            <a:r>
              <a:rPr lang="en-US" sz="4267" dirty="0" smtClean="0">
                <a:solidFill>
                  <a:srgbClr val="00B0F0"/>
                </a:solidFill>
                <a:latin typeface="Segoe UI Light" panose="020B0502040204020203" pitchFamily="34" charset="0"/>
                <a:cs typeface="Segoe UI Light" panose="020B0502040204020203" pitchFamily="34" charset="0"/>
              </a:rPr>
              <a:t>AI</a:t>
            </a:r>
          </a:p>
        </p:txBody>
      </p:sp>
    </p:spTree>
    <p:extLst>
      <p:ext uri="{BB962C8B-B14F-4D97-AF65-F5344CB8AC3E}">
        <p14:creationId xmlns:p14="http://schemas.microsoft.com/office/powerpoint/2010/main" val="1195476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que 10"/>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6089588" y="1168400"/>
            <a:ext cx="5627622" cy="5689600"/>
          </a:xfrm>
          <a:prstGeom prst="rect">
            <a:avLst/>
          </a:prstGeom>
        </p:spPr>
      </p:pic>
      <p:sp>
        <p:nvSpPr>
          <p:cNvPr id="4" name="Title 3"/>
          <p:cNvSpPr>
            <a:spLocks noGrp="1"/>
          </p:cNvSpPr>
          <p:nvPr>
            <p:ph type="title"/>
          </p:nvPr>
        </p:nvSpPr>
        <p:spPr>
          <a:xfrm>
            <a:off x="390589" y="738503"/>
            <a:ext cx="5698999" cy="2677656"/>
          </a:xfrm>
        </p:spPr>
        <p:txBody>
          <a:bodyPr/>
          <a:lstStyle/>
          <a:p>
            <a:pPr>
              <a:lnSpc>
                <a:spcPct val="100000"/>
              </a:lnSpc>
            </a:pPr>
            <a:r>
              <a:rPr lang="en-US" sz="7200" dirty="0">
                <a:latin typeface="Segoe UI" panose="020B0502040204020203" pitchFamily="34" charset="0"/>
                <a:ea typeface="Segoe UI Black" panose="020B0A02040204020203" pitchFamily="34" charset="0"/>
              </a:rPr>
              <a:t>AI for All</a:t>
            </a:r>
            <a:r>
              <a:rPr lang="en-US" sz="4000" dirty="0"/>
              <a:t/>
            </a:r>
            <a:br>
              <a:rPr lang="en-US" sz="4000" dirty="0"/>
            </a:br>
            <a:r>
              <a:rPr lang="en-US" sz="3200" dirty="0"/>
              <a:t>Microsoft Cognitive Services </a:t>
            </a:r>
            <a:r>
              <a:rPr lang="fr-FR" sz="5400" dirty="0"/>
              <a:t/>
            </a:r>
            <a:br>
              <a:rPr lang="fr-FR" sz="5400" dirty="0"/>
            </a:br>
            <a:endParaRPr lang="fr-FR" sz="5400" dirty="0"/>
          </a:p>
        </p:txBody>
      </p:sp>
    </p:spTree>
    <p:extLst>
      <p:ext uri="{BB962C8B-B14F-4D97-AF65-F5344CB8AC3E}">
        <p14:creationId xmlns:p14="http://schemas.microsoft.com/office/powerpoint/2010/main" val="131854507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p:cNvSpPr>
            <a:spLocks noGrp="1"/>
          </p:cNvSpPr>
          <p:nvPr>
            <p:ph type="title"/>
          </p:nvPr>
        </p:nvSpPr>
        <p:spPr/>
        <p:txBody>
          <a:bodyPr/>
          <a:lstStyle/>
          <a:p>
            <a:r>
              <a:rPr lang="en-US" dirty="0"/>
              <a:t>Cortana Intelligence Suite</a:t>
            </a:r>
          </a:p>
        </p:txBody>
      </p:sp>
      <p:sp>
        <p:nvSpPr>
          <p:cNvPr id="3" name="Espace réservé du texte 2"/>
          <p:cNvSpPr>
            <a:spLocks noGrp="1"/>
          </p:cNvSpPr>
          <p:nvPr>
            <p:ph type="body" sz="quarter" idx="13"/>
          </p:nvPr>
        </p:nvSpPr>
        <p:spPr/>
        <p:txBody>
          <a:bodyPr/>
          <a:lstStyle/>
          <a:p>
            <a:endParaRPr lang="fr-FR"/>
          </a:p>
        </p:txBody>
      </p:sp>
      <p:grpSp>
        <p:nvGrpSpPr>
          <p:cNvPr id="364" name="Group 363"/>
          <p:cNvGrpSpPr/>
          <p:nvPr/>
        </p:nvGrpSpPr>
        <p:grpSpPr>
          <a:xfrm>
            <a:off x="9287486" y="1718213"/>
            <a:ext cx="2058845" cy="4240075"/>
            <a:chOff x="9588714" y="1666194"/>
            <a:chExt cx="2241039" cy="4615293"/>
          </a:xfrm>
        </p:grpSpPr>
        <p:sp>
          <p:nvSpPr>
            <p:cNvPr id="365" name="Rectangle 364"/>
            <p:cNvSpPr/>
            <p:nvPr/>
          </p:nvSpPr>
          <p:spPr>
            <a:xfrm>
              <a:off x="10329146" y="5953575"/>
              <a:ext cx="1500607" cy="327912"/>
            </a:xfrm>
            <a:prstGeom prst="rect">
              <a:avLst/>
            </a:prstGeom>
          </p:spPr>
          <p:txBody>
            <a:bodyPr wrap="none" lIns="0" tIns="0" rIns="0" bIns="0" anchor="ctr">
              <a:noAutofit/>
            </a:bodyPr>
            <a:lstStyle/>
            <a:p>
              <a:pPr defTabSz="839987">
                <a:lnSpc>
                  <a:spcPct val="90000"/>
                </a:lnSpc>
              </a:pPr>
              <a:r>
                <a:rPr lang="en-US" sz="2205" kern="0" dirty="0">
                  <a:solidFill>
                    <a:srgbClr val="002050"/>
                  </a:solidFill>
                  <a:latin typeface="Segoe UI Light"/>
                </a:rPr>
                <a:t>Action</a:t>
              </a:r>
            </a:p>
          </p:txBody>
        </p:sp>
        <p:sp>
          <p:nvSpPr>
            <p:cNvPr id="366" name="Freeform 365"/>
            <p:cNvSpPr/>
            <p:nvPr/>
          </p:nvSpPr>
          <p:spPr bwMode="auto">
            <a:xfrm flipH="1">
              <a:off x="9588714" y="1666194"/>
              <a:ext cx="123857" cy="4199169"/>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39987">
                <a:defRPr/>
              </a:pPr>
              <a:endParaRPr lang="en-US" sz="1654" kern="0" dirty="0">
                <a:solidFill>
                  <a:srgbClr val="FFFFFF"/>
                </a:solidFill>
                <a:latin typeface="Segoe UI"/>
              </a:endParaRPr>
            </a:p>
          </p:txBody>
        </p:sp>
        <p:sp>
          <p:nvSpPr>
            <p:cNvPr id="367" name="TextBox 366"/>
            <p:cNvSpPr txBox="1"/>
            <p:nvPr/>
          </p:nvSpPr>
          <p:spPr>
            <a:xfrm>
              <a:off x="10381650" y="1978779"/>
              <a:ext cx="1090058" cy="461622"/>
            </a:xfrm>
            <a:prstGeom prst="rect">
              <a:avLst/>
            </a:prstGeom>
            <a:noFill/>
          </p:spPr>
          <p:txBody>
            <a:bodyPr wrap="square" lIns="167988" tIns="134390" rIns="167988" bIns="134390" rtlCol="0">
              <a:spAutoFit/>
            </a:bodyPr>
            <a:lstStyle/>
            <a:p>
              <a:pPr defTabSz="856672">
                <a:lnSpc>
                  <a:spcPct val="90000"/>
                </a:lnSpc>
                <a:spcBef>
                  <a:spcPct val="0"/>
                </a:spcBef>
                <a:spcAft>
                  <a:spcPts val="551"/>
                </a:spcAft>
              </a:pPr>
              <a:r>
                <a:rPr lang="en-US" sz="1102" kern="0" spc="-27" dirty="0">
                  <a:solidFill>
                    <a:srgbClr val="002050"/>
                  </a:solidFill>
                  <a:latin typeface="Segoe UI Semilight" panose="020B0402040204020203" pitchFamily="34" charset="0"/>
                  <a:cs typeface="Segoe UI Semilight" panose="020B0402040204020203" pitchFamily="34" charset="0"/>
                </a:rPr>
                <a:t>People</a:t>
              </a:r>
            </a:p>
          </p:txBody>
        </p:sp>
        <p:sp>
          <p:nvSpPr>
            <p:cNvPr id="368" name="TextBox 367"/>
            <p:cNvSpPr txBox="1"/>
            <p:nvPr/>
          </p:nvSpPr>
          <p:spPr>
            <a:xfrm>
              <a:off x="10650440" y="5204331"/>
              <a:ext cx="868271" cy="332258"/>
            </a:xfrm>
            <a:prstGeom prst="rect">
              <a:avLst/>
            </a:prstGeom>
            <a:noFill/>
          </p:spPr>
          <p:txBody>
            <a:bodyPr wrap="square" lIns="0" tIns="0" rIns="0" bIns="0" rtlCol="0">
              <a:spAutoFit/>
            </a:bodyPr>
            <a:lstStyle/>
            <a:p>
              <a:pPr defTabSz="856672">
                <a:lnSpc>
                  <a:spcPct val="90000"/>
                </a:lnSpc>
                <a:spcBef>
                  <a:spcPct val="0"/>
                </a:spcBef>
                <a:spcAft>
                  <a:spcPts val="551"/>
                </a:spcAft>
              </a:pPr>
              <a:r>
                <a:rPr lang="en-US" sz="1102" kern="0" spc="-27" dirty="0">
                  <a:solidFill>
                    <a:srgbClr val="002050"/>
                  </a:solidFill>
                  <a:latin typeface="Segoe UI Semilight" panose="020B0402040204020203" pitchFamily="34" charset="0"/>
                  <a:cs typeface="Segoe UI Semilight" panose="020B0402040204020203" pitchFamily="34" charset="0"/>
                </a:rPr>
                <a:t>Automated </a:t>
              </a:r>
              <a:br>
                <a:rPr lang="en-US" sz="1102" kern="0" spc="-27" dirty="0">
                  <a:solidFill>
                    <a:srgbClr val="002050"/>
                  </a:solidFill>
                  <a:latin typeface="Segoe UI Semilight" panose="020B0402040204020203" pitchFamily="34" charset="0"/>
                  <a:cs typeface="Segoe UI Semilight" panose="020B0402040204020203" pitchFamily="34" charset="0"/>
                </a:rPr>
              </a:br>
              <a:r>
                <a:rPr lang="en-US" sz="1102" kern="0" spc="-27" dirty="0">
                  <a:solidFill>
                    <a:srgbClr val="002050"/>
                  </a:solidFill>
                  <a:latin typeface="Segoe UI Semilight" panose="020B0402040204020203" pitchFamily="34" charset="0"/>
                  <a:cs typeface="Segoe UI Semilight" panose="020B0402040204020203" pitchFamily="34" charset="0"/>
                </a:rPr>
                <a:t>Systems</a:t>
              </a:r>
            </a:p>
          </p:txBody>
        </p:sp>
        <p:grpSp>
          <p:nvGrpSpPr>
            <p:cNvPr id="369" name="Group 368"/>
            <p:cNvGrpSpPr/>
            <p:nvPr/>
          </p:nvGrpSpPr>
          <p:grpSpPr>
            <a:xfrm>
              <a:off x="9984119" y="2016920"/>
              <a:ext cx="377227" cy="385340"/>
              <a:chOff x="6112510" y="6954657"/>
              <a:chExt cx="1181100" cy="1206500"/>
            </a:xfrm>
            <a:solidFill>
              <a:srgbClr val="0078D7"/>
            </a:solidFill>
          </p:grpSpPr>
          <p:sp>
            <p:nvSpPr>
              <p:cNvPr id="387" name="Freeform 5"/>
              <p:cNvSpPr>
                <a:spLocks noEditPoints="1"/>
              </p:cNvSpPr>
              <p:nvPr/>
            </p:nvSpPr>
            <p:spPr bwMode="auto">
              <a:xfrm>
                <a:off x="6233160" y="6954657"/>
                <a:ext cx="485775" cy="482600"/>
              </a:xfrm>
              <a:custGeom>
                <a:avLst/>
                <a:gdLst>
                  <a:gd name="T0" fmla="*/ 154 w 306"/>
                  <a:gd name="T1" fmla="*/ 304 h 304"/>
                  <a:gd name="T2" fmla="*/ 122 w 306"/>
                  <a:gd name="T3" fmla="*/ 302 h 304"/>
                  <a:gd name="T4" fmla="*/ 94 w 306"/>
                  <a:gd name="T5" fmla="*/ 292 h 304"/>
                  <a:gd name="T6" fmla="*/ 68 w 306"/>
                  <a:gd name="T7" fmla="*/ 278 h 304"/>
                  <a:gd name="T8" fmla="*/ 46 w 306"/>
                  <a:gd name="T9" fmla="*/ 260 h 304"/>
                  <a:gd name="T10" fmla="*/ 26 w 306"/>
                  <a:gd name="T11" fmla="*/ 238 h 304"/>
                  <a:gd name="T12" fmla="*/ 12 w 306"/>
                  <a:gd name="T13" fmla="*/ 212 h 304"/>
                  <a:gd name="T14" fmla="*/ 4 w 306"/>
                  <a:gd name="T15" fmla="*/ 182 h 304"/>
                  <a:gd name="T16" fmla="*/ 0 w 306"/>
                  <a:gd name="T17" fmla="*/ 152 h 304"/>
                  <a:gd name="T18" fmla="*/ 2 w 306"/>
                  <a:gd name="T19" fmla="*/ 136 h 304"/>
                  <a:gd name="T20" fmla="*/ 8 w 306"/>
                  <a:gd name="T21" fmla="*/ 106 h 304"/>
                  <a:gd name="T22" fmla="*/ 20 w 306"/>
                  <a:gd name="T23" fmla="*/ 80 h 304"/>
                  <a:gd name="T24" fmla="*/ 36 w 306"/>
                  <a:gd name="T25" fmla="*/ 56 h 304"/>
                  <a:gd name="T26" fmla="*/ 56 w 306"/>
                  <a:gd name="T27" fmla="*/ 34 h 304"/>
                  <a:gd name="T28" fmla="*/ 80 w 306"/>
                  <a:gd name="T29" fmla="*/ 18 h 304"/>
                  <a:gd name="T30" fmla="*/ 108 w 306"/>
                  <a:gd name="T31" fmla="*/ 6 h 304"/>
                  <a:gd name="T32" fmla="*/ 138 w 306"/>
                  <a:gd name="T33" fmla="*/ 0 h 304"/>
                  <a:gd name="T34" fmla="*/ 154 w 306"/>
                  <a:gd name="T35" fmla="*/ 0 h 304"/>
                  <a:gd name="T36" fmla="*/ 184 w 306"/>
                  <a:gd name="T37" fmla="*/ 2 h 304"/>
                  <a:gd name="T38" fmla="*/ 212 w 306"/>
                  <a:gd name="T39" fmla="*/ 12 h 304"/>
                  <a:gd name="T40" fmla="*/ 238 w 306"/>
                  <a:gd name="T41" fmla="*/ 26 h 304"/>
                  <a:gd name="T42" fmla="*/ 260 w 306"/>
                  <a:gd name="T43" fmla="*/ 44 h 304"/>
                  <a:gd name="T44" fmla="*/ 280 w 306"/>
                  <a:gd name="T45" fmla="*/ 66 h 304"/>
                  <a:gd name="T46" fmla="*/ 294 w 306"/>
                  <a:gd name="T47" fmla="*/ 92 h 304"/>
                  <a:gd name="T48" fmla="*/ 302 w 306"/>
                  <a:gd name="T49" fmla="*/ 122 h 304"/>
                  <a:gd name="T50" fmla="*/ 306 w 306"/>
                  <a:gd name="T51" fmla="*/ 152 h 304"/>
                  <a:gd name="T52" fmla="*/ 304 w 306"/>
                  <a:gd name="T53" fmla="*/ 168 h 304"/>
                  <a:gd name="T54" fmla="*/ 298 w 306"/>
                  <a:gd name="T55" fmla="*/ 198 h 304"/>
                  <a:gd name="T56" fmla="*/ 288 w 306"/>
                  <a:gd name="T57" fmla="*/ 224 h 304"/>
                  <a:gd name="T58" fmla="*/ 270 w 306"/>
                  <a:gd name="T59" fmla="*/ 248 h 304"/>
                  <a:gd name="T60" fmla="*/ 250 w 306"/>
                  <a:gd name="T61" fmla="*/ 270 h 304"/>
                  <a:gd name="T62" fmla="*/ 226 w 306"/>
                  <a:gd name="T63" fmla="*/ 286 h 304"/>
                  <a:gd name="T64" fmla="*/ 198 w 306"/>
                  <a:gd name="T65" fmla="*/ 298 h 304"/>
                  <a:gd name="T66" fmla="*/ 168 w 306"/>
                  <a:gd name="T67" fmla="*/ 304 h 304"/>
                  <a:gd name="T68" fmla="*/ 154 w 306"/>
                  <a:gd name="T69" fmla="*/ 304 h 304"/>
                  <a:gd name="T70" fmla="*/ 154 w 306"/>
                  <a:gd name="T71" fmla="*/ 28 h 304"/>
                  <a:gd name="T72" fmla="*/ 128 w 306"/>
                  <a:gd name="T73" fmla="*/ 30 h 304"/>
                  <a:gd name="T74" fmla="*/ 104 w 306"/>
                  <a:gd name="T75" fmla="*/ 38 h 304"/>
                  <a:gd name="T76" fmla="*/ 66 w 306"/>
                  <a:gd name="T77" fmla="*/ 64 h 304"/>
                  <a:gd name="T78" fmla="*/ 38 w 306"/>
                  <a:gd name="T79" fmla="*/ 104 h 304"/>
                  <a:gd name="T80" fmla="*/ 32 w 306"/>
                  <a:gd name="T81" fmla="*/ 128 h 304"/>
                  <a:gd name="T82" fmla="*/ 28 w 306"/>
                  <a:gd name="T83" fmla="*/ 152 h 304"/>
                  <a:gd name="T84" fmla="*/ 30 w 306"/>
                  <a:gd name="T85" fmla="*/ 164 h 304"/>
                  <a:gd name="T86" fmla="*/ 34 w 306"/>
                  <a:gd name="T87" fmla="*/ 190 h 304"/>
                  <a:gd name="T88" fmla="*/ 50 w 306"/>
                  <a:gd name="T89" fmla="*/ 222 h 304"/>
                  <a:gd name="T90" fmla="*/ 84 w 306"/>
                  <a:gd name="T91" fmla="*/ 256 h 304"/>
                  <a:gd name="T92" fmla="*/ 116 w 306"/>
                  <a:gd name="T93" fmla="*/ 270 h 304"/>
                  <a:gd name="T94" fmla="*/ 140 w 306"/>
                  <a:gd name="T95" fmla="*/ 276 h 304"/>
                  <a:gd name="T96" fmla="*/ 154 w 306"/>
                  <a:gd name="T97" fmla="*/ 276 h 304"/>
                  <a:gd name="T98" fmla="*/ 178 w 306"/>
                  <a:gd name="T99" fmla="*/ 274 h 304"/>
                  <a:gd name="T100" fmla="*/ 202 w 306"/>
                  <a:gd name="T101" fmla="*/ 266 h 304"/>
                  <a:gd name="T102" fmla="*/ 242 w 306"/>
                  <a:gd name="T103" fmla="*/ 240 h 304"/>
                  <a:gd name="T104" fmla="*/ 268 w 306"/>
                  <a:gd name="T105" fmla="*/ 200 h 304"/>
                  <a:gd name="T106" fmla="*/ 274 w 306"/>
                  <a:gd name="T107" fmla="*/ 178 h 304"/>
                  <a:gd name="T108" fmla="*/ 278 w 306"/>
                  <a:gd name="T109" fmla="*/ 152 h 304"/>
                  <a:gd name="T110" fmla="*/ 276 w 306"/>
                  <a:gd name="T111" fmla="*/ 140 h 304"/>
                  <a:gd name="T112" fmla="*/ 272 w 306"/>
                  <a:gd name="T113" fmla="*/ 116 h 304"/>
                  <a:gd name="T114" fmla="*/ 256 w 306"/>
                  <a:gd name="T115" fmla="*/ 82 h 304"/>
                  <a:gd name="T116" fmla="*/ 222 w 306"/>
                  <a:gd name="T117" fmla="*/ 50 h 304"/>
                  <a:gd name="T118" fmla="*/ 190 w 306"/>
                  <a:gd name="T119" fmla="*/ 34 h 304"/>
                  <a:gd name="T120" fmla="*/ 166 w 306"/>
                  <a:gd name="T121" fmla="*/ 28 h 304"/>
                  <a:gd name="T122" fmla="*/ 154 w 306"/>
                  <a:gd name="T123" fmla="*/ 2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6" h="304">
                    <a:moveTo>
                      <a:pt x="154" y="304"/>
                    </a:moveTo>
                    <a:lnTo>
                      <a:pt x="154" y="304"/>
                    </a:lnTo>
                    <a:lnTo>
                      <a:pt x="138" y="304"/>
                    </a:lnTo>
                    <a:lnTo>
                      <a:pt x="122" y="302"/>
                    </a:lnTo>
                    <a:lnTo>
                      <a:pt x="108" y="298"/>
                    </a:lnTo>
                    <a:lnTo>
                      <a:pt x="94" y="292"/>
                    </a:lnTo>
                    <a:lnTo>
                      <a:pt x="80" y="286"/>
                    </a:lnTo>
                    <a:lnTo>
                      <a:pt x="68" y="278"/>
                    </a:lnTo>
                    <a:lnTo>
                      <a:pt x="56" y="270"/>
                    </a:lnTo>
                    <a:lnTo>
                      <a:pt x="46" y="260"/>
                    </a:lnTo>
                    <a:lnTo>
                      <a:pt x="36" y="248"/>
                    </a:lnTo>
                    <a:lnTo>
                      <a:pt x="26" y="238"/>
                    </a:lnTo>
                    <a:lnTo>
                      <a:pt x="20" y="224"/>
                    </a:lnTo>
                    <a:lnTo>
                      <a:pt x="12" y="212"/>
                    </a:lnTo>
                    <a:lnTo>
                      <a:pt x="8" y="198"/>
                    </a:lnTo>
                    <a:lnTo>
                      <a:pt x="4" y="182"/>
                    </a:lnTo>
                    <a:lnTo>
                      <a:pt x="2" y="168"/>
                    </a:lnTo>
                    <a:lnTo>
                      <a:pt x="0" y="152"/>
                    </a:lnTo>
                    <a:lnTo>
                      <a:pt x="0" y="152"/>
                    </a:lnTo>
                    <a:lnTo>
                      <a:pt x="2" y="136"/>
                    </a:lnTo>
                    <a:lnTo>
                      <a:pt x="4" y="122"/>
                    </a:lnTo>
                    <a:lnTo>
                      <a:pt x="8" y="106"/>
                    </a:lnTo>
                    <a:lnTo>
                      <a:pt x="12" y="92"/>
                    </a:lnTo>
                    <a:lnTo>
                      <a:pt x="20" y="80"/>
                    </a:lnTo>
                    <a:lnTo>
                      <a:pt x="26" y="66"/>
                    </a:lnTo>
                    <a:lnTo>
                      <a:pt x="36" y="56"/>
                    </a:lnTo>
                    <a:lnTo>
                      <a:pt x="46" y="44"/>
                    </a:lnTo>
                    <a:lnTo>
                      <a:pt x="56" y="34"/>
                    </a:lnTo>
                    <a:lnTo>
                      <a:pt x="68" y="26"/>
                    </a:lnTo>
                    <a:lnTo>
                      <a:pt x="80" y="18"/>
                    </a:lnTo>
                    <a:lnTo>
                      <a:pt x="94" y="12"/>
                    </a:lnTo>
                    <a:lnTo>
                      <a:pt x="108" y="6"/>
                    </a:lnTo>
                    <a:lnTo>
                      <a:pt x="122" y="2"/>
                    </a:lnTo>
                    <a:lnTo>
                      <a:pt x="138" y="0"/>
                    </a:lnTo>
                    <a:lnTo>
                      <a:pt x="154" y="0"/>
                    </a:lnTo>
                    <a:lnTo>
                      <a:pt x="154" y="0"/>
                    </a:lnTo>
                    <a:lnTo>
                      <a:pt x="168" y="0"/>
                    </a:lnTo>
                    <a:lnTo>
                      <a:pt x="184" y="2"/>
                    </a:lnTo>
                    <a:lnTo>
                      <a:pt x="198" y="6"/>
                    </a:lnTo>
                    <a:lnTo>
                      <a:pt x="212" y="12"/>
                    </a:lnTo>
                    <a:lnTo>
                      <a:pt x="226" y="18"/>
                    </a:lnTo>
                    <a:lnTo>
                      <a:pt x="238" y="26"/>
                    </a:lnTo>
                    <a:lnTo>
                      <a:pt x="250" y="34"/>
                    </a:lnTo>
                    <a:lnTo>
                      <a:pt x="260" y="44"/>
                    </a:lnTo>
                    <a:lnTo>
                      <a:pt x="270" y="56"/>
                    </a:lnTo>
                    <a:lnTo>
                      <a:pt x="280" y="66"/>
                    </a:lnTo>
                    <a:lnTo>
                      <a:pt x="288" y="80"/>
                    </a:lnTo>
                    <a:lnTo>
                      <a:pt x="294" y="92"/>
                    </a:lnTo>
                    <a:lnTo>
                      <a:pt x="298" y="106"/>
                    </a:lnTo>
                    <a:lnTo>
                      <a:pt x="302" y="122"/>
                    </a:lnTo>
                    <a:lnTo>
                      <a:pt x="304" y="136"/>
                    </a:lnTo>
                    <a:lnTo>
                      <a:pt x="306" y="152"/>
                    </a:lnTo>
                    <a:lnTo>
                      <a:pt x="306" y="152"/>
                    </a:lnTo>
                    <a:lnTo>
                      <a:pt x="304" y="168"/>
                    </a:lnTo>
                    <a:lnTo>
                      <a:pt x="302" y="182"/>
                    </a:lnTo>
                    <a:lnTo>
                      <a:pt x="298" y="198"/>
                    </a:lnTo>
                    <a:lnTo>
                      <a:pt x="294" y="212"/>
                    </a:lnTo>
                    <a:lnTo>
                      <a:pt x="288" y="224"/>
                    </a:lnTo>
                    <a:lnTo>
                      <a:pt x="280" y="238"/>
                    </a:lnTo>
                    <a:lnTo>
                      <a:pt x="270" y="248"/>
                    </a:lnTo>
                    <a:lnTo>
                      <a:pt x="260" y="260"/>
                    </a:lnTo>
                    <a:lnTo>
                      <a:pt x="250" y="270"/>
                    </a:lnTo>
                    <a:lnTo>
                      <a:pt x="238" y="278"/>
                    </a:lnTo>
                    <a:lnTo>
                      <a:pt x="226" y="286"/>
                    </a:lnTo>
                    <a:lnTo>
                      <a:pt x="212" y="292"/>
                    </a:lnTo>
                    <a:lnTo>
                      <a:pt x="198" y="298"/>
                    </a:lnTo>
                    <a:lnTo>
                      <a:pt x="184" y="302"/>
                    </a:lnTo>
                    <a:lnTo>
                      <a:pt x="168" y="304"/>
                    </a:lnTo>
                    <a:lnTo>
                      <a:pt x="154" y="304"/>
                    </a:lnTo>
                    <a:lnTo>
                      <a:pt x="154" y="304"/>
                    </a:lnTo>
                    <a:close/>
                    <a:moveTo>
                      <a:pt x="154" y="28"/>
                    </a:moveTo>
                    <a:lnTo>
                      <a:pt x="154" y="28"/>
                    </a:lnTo>
                    <a:lnTo>
                      <a:pt x="140" y="28"/>
                    </a:lnTo>
                    <a:lnTo>
                      <a:pt x="128" y="30"/>
                    </a:lnTo>
                    <a:lnTo>
                      <a:pt x="116" y="34"/>
                    </a:lnTo>
                    <a:lnTo>
                      <a:pt x="104" y="38"/>
                    </a:lnTo>
                    <a:lnTo>
                      <a:pt x="84" y="50"/>
                    </a:lnTo>
                    <a:lnTo>
                      <a:pt x="66" y="64"/>
                    </a:lnTo>
                    <a:lnTo>
                      <a:pt x="50" y="82"/>
                    </a:lnTo>
                    <a:lnTo>
                      <a:pt x="38" y="104"/>
                    </a:lnTo>
                    <a:lnTo>
                      <a:pt x="34" y="116"/>
                    </a:lnTo>
                    <a:lnTo>
                      <a:pt x="32" y="128"/>
                    </a:lnTo>
                    <a:lnTo>
                      <a:pt x="30" y="140"/>
                    </a:lnTo>
                    <a:lnTo>
                      <a:pt x="28" y="152"/>
                    </a:lnTo>
                    <a:lnTo>
                      <a:pt x="28" y="152"/>
                    </a:lnTo>
                    <a:lnTo>
                      <a:pt x="30" y="164"/>
                    </a:lnTo>
                    <a:lnTo>
                      <a:pt x="32" y="178"/>
                    </a:lnTo>
                    <a:lnTo>
                      <a:pt x="34" y="190"/>
                    </a:lnTo>
                    <a:lnTo>
                      <a:pt x="38" y="200"/>
                    </a:lnTo>
                    <a:lnTo>
                      <a:pt x="50" y="222"/>
                    </a:lnTo>
                    <a:lnTo>
                      <a:pt x="66" y="240"/>
                    </a:lnTo>
                    <a:lnTo>
                      <a:pt x="84" y="256"/>
                    </a:lnTo>
                    <a:lnTo>
                      <a:pt x="104" y="266"/>
                    </a:lnTo>
                    <a:lnTo>
                      <a:pt x="116" y="270"/>
                    </a:lnTo>
                    <a:lnTo>
                      <a:pt x="128" y="274"/>
                    </a:lnTo>
                    <a:lnTo>
                      <a:pt x="140" y="276"/>
                    </a:lnTo>
                    <a:lnTo>
                      <a:pt x="154" y="276"/>
                    </a:lnTo>
                    <a:lnTo>
                      <a:pt x="154" y="276"/>
                    </a:lnTo>
                    <a:lnTo>
                      <a:pt x="166" y="276"/>
                    </a:lnTo>
                    <a:lnTo>
                      <a:pt x="178" y="274"/>
                    </a:lnTo>
                    <a:lnTo>
                      <a:pt x="190" y="270"/>
                    </a:lnTo>
                    <a:lnTo>
                      <a:pt x="202" y="266"/>
                    </a:lnTo>
                    <a:lnTo>
                      <a:pt x="222" y="256"/>
                    </a:lnTo>
                    <a:lnTo>
                      <a:pt x="242" y="240"/>
                    </a:lnTo>
                    <a:lnTo>
                      <a:pt x="256" y="222"/>
                    </a:lnTo>
                    <a:lnTo>
                      <a:pt x="268" y="200"/>
                    </a:lnTo>
                    <a:lnTo>
                      <a:pt x="272" y="190"/>
                    </a:lnTo>
                    <a:lnTo>
                      <a:pt x="274" y="178"/>
                    </a:lnTo>
                    <a:lnTo>
                      <a:pt x="276" y="164"/>
                    </a:lnTo>
                    <a:lnTo>
                      <a:pt x="278" y="152"/>
                    </a:lnTo>
                    <a:lnTo>
                      <a:pt x="278" y="152"/>
                    </a:lnTo>
                    <a:lnTo>
                      <a:pt x="276" y="140"/>
                    </a:lnTo>
                    <a:lnTo>
                      <a:pt x="274" y="128"/>
                    </a:lnTo>
                    <a:lnTo>
                      <a:pt x="272" y="116"/>
                    </a:lnTo>
                    <a:lnTo>
                      <a:pt x="268" y="104"/>
                    </a:lnTo>
                    <a:lnTo>
                      <a:pt x="256" y="82"/>
                    </a:lnTo>
                    <a:lnTo>
                      <a:pt x="242" y="64"/>
                    </a:lnTo>
                    <a:lnTo>
                      <a:pt x="222" y="50"/>
                    </a:lnTo>
                    <a:lnTo>
                      <a:pt x="202" y="38"/>
                    </a:lnTo>
                    <a:lnTo>
                      <a:pt x="190" y="34"/>
                    </a:lnTo>
                    <a:lnTo>
                      <a:pt x="178" y="30"/>
                    </a:lnTo>
                    <a:lnTo>
                      <a:pt x="166" y="28"/>
                    </a:lnTo>
                    <a:lnTo>
                      <a:pt x="154" y="28"/>
                    </a:lnTo>
                    <a:lnTo>
                      <a:pt x="15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388" name="Freeform 6"/>
              <p:cNvSpPr>
                <a:spLocks noEditPoints="1"/>
              </p:cNvSpPr>
              <p:nvPr/>
            </p:nvSpPr>
            <p:spPr bwMode="auto">
              <a:xfrm>
                <a:off x="6112510" y="7481707"/>
                <a:ext cx="727075" cy="679450"/>
              </a:xfrm>
              <a:custGeom>
                <a:avLst/>
                <a:gdLst>
                  <a:gd name="T0" fmla="*/ 0 w 458"/>
                  <a:gd name="T1" fmla="*/ 428 h 428"/>
                  <a:gd name="T2" fmla="*/ 16 w 458"/>
                  <a:gd name="T3" fmla="*/ 210 h 428"/>
                  <a:gd name="T4" fmla="*/ 22 w 458"/>
                  <a:gd name="T5" fmla="*/ 166 h 428"/>
                  <a:gd name="T6" fmla="*/ 36 w 458"/>
                  <a:gd name="T7" fmla="*/ 126 h 428"/>
                  <a:gd name="T8" fmla="*/ 56 w 458"/>
                  <a:gd name="T9" fmla="*/ 90 h 428"/>
                  <a:gd name="T10" fmla="*/ 82 w 458"/>
                  <a:gd name="T11" fmla="*/ 60 h 428"/>
                  <a:gd name="T12" fmla="*/ 112 w 458"/>
                  <a:gd name="T13" fmla="*/ 34 h 428"/>
                  <a:gd name="T14" fmla="*/ 148 w 458"/>
                  <a:gd name="T15" fmla="*/ 16 h 428"/>
                  <a:gd name="T16" fmla="*/ 186 w 458"/>
                  <a:gd name="T17" fmla="*/ 4 h 428"/>
                  <a:gd name="T18" fmla="*/ 226 w 458"/>
                  <a:gd name="T19" fmla="*/ 0 h 428"/>
                  <a:gd name="T20" fmla="*/ 248 w 458"/>
                  <a:gd name="T21" fmla="*/ 0 h 428"/>
                  <a:gd name="T22" fmla="*/ 286 w 458"/>
                  <a:gd name="T23" fmla="*/ 8 h 428"/>
                  <a:gd name="T24" fmla="*/ 322 w 458"/>
                  <a:gd name="T25" fmla="*/ 24 h 428"/>
                  <a:gd name="T26" fmla="*/ 356 w 458"/>
                  <a:gd name="T27" fmla="*/ 48 h 428"/>
                  <a:gd name="T28" fmla="*/ 384 w 458"/>
                  <a:gd name="T29" fmla="*/ 76 h 428"/>
                  <a:gd name="T30" fmla="*/ 408 w 458"/>
                  <a:gd name="T31" fmla="*/ 108 h 428"/>
                  <a:gd name="T32" fmla="*/ 424 w 458"/>
                  <a:gd name="T33" fmla="*/ 146 h 428"/>
                  <a:gd name="T34" fmla="*/ 436 w 458"/>
                  <a:gd name="T35" fmla="*/ 188 h 428"/>
                  <a:gd name="T36" fmla="*/ 458 w 458"/>
                  <a:gd name="T37" fmla="*/ 428 h 428"/>
                  <a:gd name="T38" fmla="*/ 428 w 458"/>
                  <a:gd name="T39" fmla="*/ 400 h 428"/>
                  <a:gd name="T40" fmla="*/ 410 w 458"/>
                  <a:gd name="T41" fmla="*/ 212 h 428"/>
                  <a:gd name="T42" fmla="*/ 404 w 458"/>
                  <a:gd name="T43" fmla="*/ 174 h 428"/>
                  <a:gd name="T44" fmla="*/ 392 w 458"/>
                  <a:gd name="T45" fmla="*/ 140 h 428"/>
                  <a:gd name="T46" fmla="*/ 374 w 458"/>
                  <a:gd name="T47" fmla="*/ 108 h 428"/>
                  <a:gd name="T48" fmla="*/ 352 w 458"/>
                  <a:gd name="T49" fmla="*/ 82 h 428"/>
                  <a:gd name="T50" fmla="*/ 324 w 458"/>
                  <a:gd name="T51" fmla="*/ 58 h 428"/>
                  <a:gd name="T52" fmla="*/ 294 w 458"/>
                  <a:gd name="T53" fmla="*/ 42 h 428"/>
                  <a:gd name="T54" fmla="*/ 262 w 458"/>
                  <a:gd name="T55" fmla="*/ 32 h 428"/>
                  <a:gd name="T56" fmla="*/ 226 w 458"/>
                  <a:gd name="T57" fmla="*/ 28 h 428"/>
                  <a:gd name="T58" fmla="*/ 208 w 458"/>
                  <a:gd name="T59" fmla="*/ 28 h 428"/>
                  <a:gd name="T60" fmla="*/ 174 w 458"/>
                  <a:gd name="T61" fmla="*/ 36 h 428"/>
                  <a:gd name="T62" fmla="*/ 142 w 458"/>
                  <a:gd name="T63" fmla="*/ 50 h 428"/>
                  <a:gd name="T64" fmla="*/ 114 w 458"/>
                  <a:gd name="T65" fmla="*/ 68 h 428"/>
                  <a:gd name="T66" fmla="*/ 90 w 458"/>
                  <a:gd name="T67" fmla="*/ 94 h 428"/>
                  <a:gd name="T68" fmla="*/ 70 w 458"/>
                  <a:gd name="T69" fmla="*/ 122 h 428"/>
                  <a:gd name="T70" fmla="*/ 54 w 458"/>
                  <a:gd name="T71" fmla="*/ 156 h 428"/>
                  <a:gd name="T72" fmla="*/ 46 w 458"/>
                  <a:gd name="T73" fmla="*/ 192 h 428"/>
                  <a:gd name="T74" fmla="*/ 30 w 458"/>
                  <a:gd name="T75" fmla="*/ 40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8" h="428">
                    <a:moveTo>
                      <a:pt x="458" y="428"/>
                    </a:moveTo>
                    <a:lnTo>
                      <a:pt x="0" y="428"/>
                    </a:lnTo>
                    <a:lnTo>
                      <a:pt x="16" y="210"/>
                    </a:lnTo>
                    <a:lnTo>
                      <a:pt x="16" y="210"/>
                    </a:lnTo>
                    <a:lnTo>
                      <a:pt x="18" y="188"/>
                    </a:lnTo>
                    <a:lnTo>
                      <a:pt x="22" y="166"/>
                    </a:lnTo>
                    <a:lnTo>
                      <a:pt x="28" y="146"/>
                    </a:lnTo>
                    <a:lnTo>
                      <a:pt x="36" y="126"/>
                    </a:lnTo>
                    <a:lnTo>
                      <a:pt x="46" y="108"/>
                    </a:lnTo>
                    <a:lnTo>
                      <a:pt x="56" y="90"/>
                    </a:lnTo>
                    <a:lnTo>
                      <a:pt x="68" y="74"/>
                    </a:lnTo>
                    <a:lnTo>
                      <a:pt x="82" y="60"/>
                    </a:lnTo>
                    <a:lnTo>
                      <a:pt x="98" y="46"/>
                    </a:lnTo>
                    <a:lnTo>
                      <a:pt x="112" y="34"/>
                    </a:lnTo>
                    <a:lnTo>
                      <a:pt x="130" y="24"/>
                    </a:lnTo>
                    <a:lnTo>
                      <a:pt x="148" y="16"/>
                    </a:lnTo>
                    <a:lnTo>
                      <a:pt x="166" y="8"/>
                    </a:lnTo>
                    <a:lnTo>
                      <a:pt x="186" y="4"/>
                    </a:lnTo>
                    <a:lnTo>
                      <a:pt x="206" y="0"/>
                    </a:lnTo>
                    <a:lnTo>
                      <a:pt x="226" y="0"/>
                    </a:lnTo>
                    <a:lnTo>
                      <a:pt x="226" y="0"/>
                    </a:lnTo>
                    <a:lnTo>
                      <a:pt x="248" y="0"/>
                    </a:lnTo>
                    <a:lnTo>
                      <a:pt x="268" y="4"/>
                    </a:lnTo>
                    <a:lnTo>
                      <a:pt x="286" y="8"/>
                    </a:lnTo>
                    <a:lnTo>
                      <a:pt x="306" y="16"/>
                    </a:lnTo>
                    <a:lnTo>
                      <a:pt x="322" y="24"/>
                    </a:lnTo>
                    <a:lnTo>
                      <a:pt x="340" y="36"/>
                    </a:lnTo>
                    <a:lnTo>
                      <a:pt x="356" y="48"/>
                    </a:lnTo>
                    <a:lnTo>
                      <a:pt x="370" y="60"/>
                    </a:lnTo>
                    <a:lnTo>
                      <a:pt x="384" y="76"/>
                    </a:lnTo>
                    <a:lnTo>
                      <a:pt x="396" y="92"/>
                    </a:lnTo>
                    <a:lnTo>
                      <a:pt x="408" y="108"/>
                    </a:lnTo>
                    <a:lnTo>
                      <a:pt x="418" y="128"/>
                    </a:lnTo>
                    <a:lnTo>
                      <a:pt x="424" y="146"/>
                    </a:lnTo>
                    <a:lnTo>
                      <a:pt x="432" y="168"/>
                    </a:lnTo>
                    <a:lnTo>
                      <a:pt x="436" y="188"/>
                    </a:lnTo>
                    <a:lnTo>
                      <a:pt x="438" y="210"/>
                    </a:lnTo>
                    <a:lnTo>
                      <a:pt x="458" y="428"/>
                    </a:lnTo>
                    <a:close/>
                    <a:moveTo>
                      <a:pt x="30" y="400"/>
                    </a:moveTo>
                    <a:lnTo>
                      <a:pt x="428" y="400"/>
                    </a:lnTo>
                    <a:lnTo>
                      <a:pt x="410" y="212"/>
                    </a:lnTo>
                    <a:lnTo>
                      <a:pt x="410" y="212"/>
                    </a:lnTo>
                    <a:lnTo>
                      <a:pt x="408" y="194"/>
                    </a:lnTo>
                    <a:lnTo>
                      <a:pt x="404" y="174"/>
                    </a:lnTo>
                    <a:lnTo>
                      <a:pt x="398" y="156"/>
                    </a:lnTo>
                    <a:lnTo>
                      <a:pt x="392" y="140"/>
                    </a:lnTo>
                    <a:lnTo>
                      <a:pt x="384" y="124"/>
                    </a:lnTo>
                    <a:lnTo>
                      <a:pt x="374" y="108"/>
                    </a:lnTo>
                    <a:lnTo>
                      <a:pt x="364" y="94"/>
                    </a:lnTo>
                    <a:lnTo>
                      <a:pt x="352" y="82"/>
                    </a:lnTo>
                    <a:lnTo>
                      <a:pt x="338" y="70"/>
                    </a:lnTo>
                    <a:lnTo>
                      <a:pt x="324" y="58"/>
                    </a:lnTo>
                    <a:lnTo>
                      <a:pt x="310" y="50"/>
                    </a:lnTo>
                    <a:lnTo>
                      <a:pt x="294" y="42"/>
                    </a:lnTo>
                    <a:lnTo>
                      <a:pt x="278" y="36"/>
                    </a:lnTo>
                    <a:lnTo>
                      <a:pt x="262" y="32"/>
                    </a:lnTo>
                    <a:lnTo>
                      <a:pt x="244" y="28"/>
                    </a:lnTo>
                    <a:lnTo>
                      <a:pt x="226" y="28"/>
                    </a:lnTo>
                    <a:lnTo>
                      <a:pt x="226" y="28"/>
                    </a:lnTo>
                    <a:lnTo>
                      <a:pt x="208" y="28"/>
                    </a:lnTo>
                    <a:lnTo>
                      <a:pt x="192" y="32"/>
                    </a:lnTo>
                    <a:lnTo>
                      <a:pt x="174" y="36"/>
                    </a:lnTo>
                    <a:lnTo>
                      <a:pt x="158" y="42"/>
                    </a:lnTo>
                    <a:lnTo>
                      <a:pt x="142" y="50"/>
                    </a:lnTo>
                    <a:lnTo>
                      <a:pt x="128" y="58"/>
                    </a:lnTo>
                    <a:lnTo>
                      <a:pt x="114" y="68"/>
                    </a:lnTo>
                    <a:lnTo>
                      <a:pt x="102" y="80"/>
                    </a:lnTo>
                    <a:lnTo>
                      <a:pt x="90" y="94"/>
                    </a:lnTo>
                    <a:lnTo>
                      <a:pt x="80" y="108"/>
                    </a:lnTo>
                    <a:lnTo>
                      <a:pt x="70" y="122"/>
                    </a:lnTo>
                    <a:lnTo>
                      <a:pt x="62" y="138"/>
                    </a:lnTo>
                    <a:lnTo>
                      <a:pt x="54" y="156"/>
                    </a:lnTo>
                    <a:lnTo>
                      <a:pt x="50" y="174"/>
                    </a:lnTo>
                    <a:lnTo>
                      <a:pt x="46" y="192"/>
                    </a:lnTo>
                    <a:lnTo>
                      <a:pt x="44" y="212"/>
                    </a:lnTo>
                    <a:lnTo>
                      <a:pt x="30"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389" name="Freeform 7"/>
              <p:cNvSpPr>
                <a:spLocks noEditPoints="1"/>
              </p:cNvSpPr>
              <p:nvPr/>
            </p:nvSpPr>
            <p:spPr bwMode="auto">
              <a:xfrm>
                <a:off x="6826885" y="7173732"/>
                <a:ext cx="374650" cy="374650"/>
              </a:xfrm>
              <a:custGeom>
                <a:avLst/>
                <a:gdLst>
                  <a:gd name="T0" fmla="*/ 118 w 236"/>
                  <a:gd name="T1" fmla="*/ 236 h 236"/>
                  <a:gd name="T2" fmla="*/ 94 w 236"/>
                  <a:gd name="T3" fmla="*/ 234 h 236"/>
                  <a:gd name="T4" fmla="*/ 52 w 236"/>
                  <a:gd name="T5" fmla="*/ 216 h 236"/>
                  <a:gd name="T6" fmla="*/ 20 w 236"/>
                  <a:gd name="T7" fmla="*/ 184 h 236"/>
                  <a:gd name="T8" fmla="*/ 2 w 236"/>
                  <a:gd name="T9" fmla="*/ 142 h 236"/>
                  <a:gd name="T10" fmla="*/ 0 w 236"/>
                  <a:gd name="T11" fmla="*/ 118 h 236"/>
                  <a:gd name="T12" fmla="*/ 2 w 236"/>
                  <a:gd name="T13" fmla="*/ 106 h 236"/>
                  <a:gd name="T14" fmla="*/ 10 w 236"/>
                  <a:gd name="T15" fmla="*/ 72 h 236"/>
                  <a:gd name="T16" fmla="*/ 34 w 236"/>
                  <a:gd name="T17" fmla="*/ 34 h 236"/>
                  <a:gd name="T18" fmla="*/ 72 w 236"/>
                  <a:gd name="T19" fmla="*/ 10 h 236"/>
                  <a:gd name="T20" fmla="*/ 106 w 236"/>
                  <a:gd name="T21" fmla="*/ 0 h 236"/>
                  <a:gd name="T22" fmla="*/ 118 w 236"/>
                  <a:gd name="T23" fmla="*/ 0 h 236"/>
                  <a:gd name="T24" fmla="*/ 142 w 236"/>
                  <a:gd name="T25" fmla="*/ 2 h 236"/>
                  <a:gd name="T26" fmla="*/ 184 w 236"/>
                  <a:gd name="T27" fmla="*/ 20 h 236"/>
                  <a:gd name="T28" fmla="*/ 216 w 236"/>
                  <a:gd name="T29" fmla="*/ 52 h 236"/>
                  <a:gd name="T30" fmla="*/ 234 w 236"/>
                  <a:gd name="T31" fmla="*/ 94 h 236"/>
                  <a:gd name="T32" fmla="*/ 236 w 236"/>
                  <a:gd name="T33" fmla="*/ 118 h 236"/>
                  <a:gd name="T34" fmla="*/ 236 w 236"/>
                  <a:gd name="T35" fmla="*/ 130 h 236"/>
                  <a:gd name="T36" fmla="*/ 226 w 236"/>
                  <a:gd name="T37" fmla="*/ 164 h 236"/>
                  <a:gd name="T38" fmla="*/ 202 w 236"/>
                  <a:gd name="T39" fmla="*/ 200 h 236"/>
                  <a:gd name="T40" fmla="*/ 164 w 236"/>
                  <a:gd name="T41" fmla="*/ 226 h 236"/>
                  <a:gd name="T42" fmla="*/ 130 w 236"/>
                  <a:gd name="T43" fmla="*/ 234 h 236"/>
                  <a:gd name="T44" fmla="*/ 118 w 236"/>
                  <a:gd name="T45" fmla="*/ 236 h 236"/>
                  <a:gd name="T46" fmla="*/ 118 w 236"/>
                  <a:gd name="T47" fmla="*/ 28 h 236"/>
                  <a:gd name="T48" fmla="*/ 84 w 236"/>
                  <a:gd name="T49" fmla="*/ 36 h 236"/>
                  <a:gd name="T50" fmla="*/ 54 w 236"/>
                  <a:gd name="T51" fmla="*/ 54 h 236"/>
                  <a:gd name="T52" fmla="*/ 36 w 236"/>
                  <a:gd name="T53" fmla="*/ 82 h 236"/>
                  <a:gd name="T54" fmla="*/ 28 w 236"/>
                  <a:gd name="T55" fmla="*/ 118 h 236"/>
                  <a:gd name="T56" fmla="*/ 30 w 236"/>
                  <a:gd name="T57" fmla="*/ 136 h 236"/>
                  <a:gd name="T58" fmla="*/ 44 w 236"/>
                  <a:gd name="T59" fmla="*/ 168 h 236"/>
                  <a:gd name="T60" fmla="*/ 68 w 236"/>
                  <a:gd name="T61" fmla="*/ 192 h 236"/>
                  <a:gd name="T62" fmla="*/ 100 w 236"/>
                  <a:gd name="T63" fmla="*/ 206 h 236"/>
                  <a:gd name="T64" fmla="*/ 118 w 236"/>
                  <a:gd name="T65" fmla="*/ 208 h 236"/>
                  <a:gd name="T66" fmla="*/ 154 w 236"/>
                  <a:gd name="T67" fmla="*/ 200 h 236"/>
                  <a:gd name="T68" fmla="*/ 182 w 236"/>
                  <a:gd name="T69" fmla="*/ 182 h 236"/>
                  <a:gd name="T70" fmla="*/ 200 w 236"/>
                  <a:gd name="T71" fmla="*/ 152 h 236"/>
                  <a:gd name="T72" fmla="*/ 208 w 236"/>
                  <a:gd name="T73" fmla="*/ 118 h 236"/>
                  <a:gd name="T74" fmla="*/ 206 w 236"/>
                  <a:gd name="T75" fmla="*/ 100 h 236"/>
                  <a:gd name="T76" fmla="*/ 192 w 236"/>
                  <a:gd name="T77" fmla="*/ 68 h 236"/>
                  <a:gd name="T78" fmla="*/ 168 w 236"/>
                  <a:gd name="T79" fmla="*/ 44 h 236"/>
                  <a:gd name="T80" fmla="*/ 136 w 236"/>
                  <a:gd name="T81" fmla="*/ 30 h 236"/>
                  <a:gd name="T82" fmla="*/ 118 w 236"/>
                  <a:gd name="T83" fmla="*/ 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36">
                    <a:moveTo>
                      <a:pt x="118" y="236"/>
                    </a:moveTo>
                    <a:lnTo>
                      <a:pt x="118" y="236"/>
                    </a:lnTo>
                    <a:lnTo>
                      <a:pt x="106" y="234"/>
                    </a:lnTo>
                    <a:lnTo>
                      <a:pt x="94" y="234"/>
                    </a:lnTo>
                    <a:lnTo>
                      <a:pt x="72" y="226"/>
                    </a:lnTo>
                    <a:lnTo>
                      <a:pt x="52" y="216"/>
                    </a:lnTo>
                    <a:lnTo>
                      <a:pt x="34" y="200"/>
                    </a:lnTo>
                    <a:lnTo>
                      <a:pt x="20" y="184"/>
                    </a:lnTo>
                    <a:lnTo>
                      <a:pt x="10" y="164"/>
                    </a:lnTo>
                    <a:lnTo>
                      <a:pt x="2" y="142"/>
                    </a:lnTo>
                    <a:lnTo>
                      <a:pt x="2" y="130"/>
                    </a:lnTo>
                    <a:lnTo>
                      <a:pt x="0" y="118"/>
                    </a:lnTo>
                    <a:lnTo>
                      <a:pt x="0" y="118"/>
                    </a:lnTo>
                    <a:lnTo>
                      <a:pt x="2" y="106"/>
                    </a:lnTo>
                    <a:lnTo>
                      <a:pt x="2" y="94"/>
                    </a:lnTo>
                    <a:lnTo>
                      <a:pt x="10" y="72"/>
                    </a:lnTo>
                    <a:lnTo>
                      <a:pt x="20" y="52"/>
                    </a:lnTo>
                    <a:lnTo>
                      <a:pt x="34" y="34"/>
                    </a:lnTo>
                    <a:lnTo>
                      <a:pt x="52" y="20"/>
                    </a:lnTo>
                    <a:lnTo>
                      <a:pt x="72" y="10"/>
                    </a:lnTo>
                    <a:lnTo>
                      <a:pt x="94" y="2"/>
                    </a:lnTo>
                    <a:lnTo>
                      <a:pt x="106" y="0"/>
                    </a:lnTo>
                    <a:lnTo>
                      <a:pt x="118" y="0"/>
                    </a:lnTo>
                    <a:lnTo>
                      <a:pt x="118" y="0"/>
                    </a:lnTo>
                    <a:lnTo>
                      <a:pt x="130" y="0"/>
                    </a:lnTo>
                    <a:lnTo>
                      <a:pt x="142" y="2"/>
                    </a:lnTo>
                    <a:lnTo>
                      <a:pt x="164" y="10"/>
                    </a:lnTo>
                    <a:lnTo>
                      <a:pt x="184" y="20"/>
                    </a:lnTo>
                    <a:lnTo>
                      <a:pt x="202" y="34"/>
                    </a:lnTo>
                    <a:lnTo>
                      <a:pt x="216" y="52"/>
                    </a:lnTo>
                    <a:lnTo>
                      <a:pt x="226" y="72"/>
                    </a:lnTo>
                    <a:lnTo>
                      <a:pt x="234" y="94"/>
                    </a:lnTo>
                    <a:lnTo>
                      <a:pt x="236" y="106"/>
                    </a:lnTo>
                    <a:lnTo>
                      <a:pt x="236" y="118"/>
                    </a:lnTo>
                    <a:lnTo>
                      <a:pt x="236" y="118"/>
                    </a:lnTo>
                    <a:lnTo>
                      <a:pt x="236" y="130"/>
                    </a:lnTo>
                    <a:lnTo>
                      <a:pt x="234" y="142"/>
                    </a:lnTo>
                    <a:lnTo>
                      <a:pt x="226" y="164"/>
                    </a:lnTo>
                    <a:lnTo>
                      <a:pt x="216" y="184"/>
                    </a:lnTo>
                    <a:lnTo>
                      <a:pt x="202" y="200"/>
                    </a:lnTo>
                    <a:lnTo>
                      <a:pt x="184" y="216"/>
                    </a:lnTo>
                    <a:lnTo>
                      <a:pt x="164" y="226"/>
                    </a:lnTo>
                    <a:lnTo>
                      <a:pt x="142" y="234"/>
                    </a:lnTo>
                    <a:lnTo>
                      <a:pt x="130" y="234"/>
                    </a:lnTo>
                    <a:lnTo>
                      <a:pt x="118" y="236"/>
                    </a:lnTo>
                    <a:lnTo>
                      <a:pt x="118" y="236"/>
                    </a:lnTo>
                    <a:close/>
                    <a:moveTo>
                      <a:pt x="118" y="28"/>
                    </a:moveTo>
                    <a:lnTo>
                      <a:pt x="118" y="28"/>
                    </a:lnTo>
                    <a:lnTo>
                      <a:pt x="100" y="30"/>
                    </a:lnTo>
                    <a:lnTo>
                      <a:pt x="84" y="36"/>
                    </a:lnTo>
                    <a:lnTo>
                      <a:pt x="68" y="44"/>
                    </a:lnTo>
                    <a:lnTo>
                      <a:pt x="54" y="54"/>
                    </a:lnTo>
                    <a:lnTo>
                      <a:pt x="44" y="68"/>
                    </a:lnTo>
                    <a:lnTo>
                      <a:pt x="36" y="82"/>
                    </a:lnTo>
                    <a:lnTo>
                      <a:pt x="30" y="100"/>
                    </a:lnTo>
                    <a:lnTo>
                      <a:pt x="28" y="118"/>
                    </a:lnTo>
                    <a:lnTo>
                      <a:pt x="28" y="118"/>
                    </a:lnTo>
                    <a:lnTo>
                      <a:pt x="30" y="136"/>
                    </a:lnTo>
                    <a:lnTo>
                      <a:pt x="36" y="152"/>
                    </a:lnTo>
                    <a:lnTo>
                      <a:pt x="44" y="168"/>
                    </a:lnTo>
                    <a:lnTo>
                      <a:pt x="54" y="182"/>
                    </a:lnTo>
                    <a:lnTo>
                      <a:pt x="68" y="192"/>
                    </a:lnTo>
                    <a:lnTo>
                      <a:pt x="84" y="200"/>
                    </a:lnTo>
                    <a:lnTo>
                      <a:pt x="100" y="206"/>
                    </a:lnTo>
                    <a:lnTo>
                      <a:pt x="118" y="208"/>
                    </a:lnTo>
                    <a:lnTo>
                      <a:pt x="118" y="208"/>
                    </a:lnTo>
                    <a:lnTo>
                      <a:pt x="136" y="206"/>
                    </a:lnTo>
                    <a:lnTo>
                      <a:pt x="154" y="200"/>
                    </a:lnTo>
                    <a:lnTo>
                      <a:pt x="168" y="192"/>
                    </a:lnTo>
                    <a:lnTo>
                      <a:pt x="182" y="182"/>
                    </a:lnTo>
                    <a:lnTo>
                      <a:pt x="192" y="168"/>
                    </a:lnTo>
                    <a:lnTo>
                      <a:pt x="200" y="152"/>
                    </a:lnTo>
                    <a:lnTo>
                      <a:pt x="206" y="136"/>
                    </a:lnTo>
                    <a:lnTo>
                      <a:pt x="208" y="118"/>
                    </a:lnTo>
                    <a:lnTo>
                      <a:pt x="208" y="118"/>
                    </a:lnTo>
                    <a:lnTo>
                      <a:pt x="206" y="100"/>
                    </a:lnTo>
                    <a:lnTo>
                      <a:pt x="200" y="82"/>
                    </a:lnTo>
                    <a:lnTo>
                      <a:pt x="192" y="68"/>
                    </a:lnTo>
                    <a:lnTo>
                      <a:pt x="182" y="54"/>
                    </a:lnTo>
                    <a:lnTo>
                      <a:pt x="168" y="44"/>
                    </a:lnTo>
                    <a:lnTo>
                      <a:pt x="154" y="36"/>
                    </a:lnTo>
                    <a:lnTo>
                      <a:pt x="136" y="30"/>
                    </a:lnTo>
                    <a:lnTo>
                      <a:pt x="118" y="28"/>
                    </a:lnTo>
                    <a:lnTo>
                      <a:pt x="118"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390" name="Freeform 8"/>
              <p:cNvSpPr>
                <a:spLocks noEditPoints="1"/>
              </p:cNvSpPr>
              <p:nvPr/>
            </p:nvSpPr>
            <p:spPr bwMode="auto">
              <a:xfrm>
                <a:off x="6817360" y="7567432"/>
                <a:ext cx="476250" cy="523875"/>
              </a:xfrm>
              <a:custGeom>
                <a:avLst/>
                <a:gdLst>
                  <a:gd name="T0" fmla="*/ 46 w 300"/>
                  <a:gd name="T1" fmla="*/ 330 h 330"/>
                  <a:gd name="T2" fmla="*/ 32 w 300"/>
                  <a:gd name="T3" fmla="*/ 158 h 330"/>
                  <a:gd name="T4" fmla="*/ 22 w 300"/>
                  <a:gd name="T5" fmla="*/ 114 h 330"/>
                  <a:gd name="T6" fmla="*/ 4 w 300"/>
                  <a:gd name="T7" fmla="*/ 70 h 330"/>
                  <a:gd name="T8" fmla="*/ 6 w 300"/>
                  <a:gd name="T9" fmla="*/ 54 h 330"/>
                  <a:gd name="T10" fmla="*/ 18 w 300"/>
                  <a:gd name="T11" fmla="*/ 42 h 330"/>
                  <a:gd name="T12" fmla="*/ 44 w 300"/>
                  <a:gd name="T13" fmla="*/ 22 h 330"/>
                  <a:gd name="T14" fmla="*/ 74 w 300"/>
                  <a:gd name="T15" fmla="*/ 8 h 330"/>
                  <a:gd name="T16" fmla="*/ 106 w 300"/>
                  <a:gd name="T17" fmla="*/ 2 h 330"/>
                  <a:gd name="T18" fmla="*/ 122 w 300"/>
                  <a:gd name="T19" fmla="*/ 0 h 330"/>
                  <a:gd name="T20" fmla="*/ 154 w 300"/>
                  <a:gd name="T21" fmla="*/ 4 h 330"/>
                  <a:gd name="T22" fmla="*/ 182 w 300"/>
                  <a:gd name="T23" fmla="*/ 14 h 330"/>
                  <a:gd name="T24" fmla="*/ 210 w 300"/>
                  <a:gd name="T25" fmla="*/ 28 h 330"/>
                  <a:gd name="T26" fmla="*/ 232 w 300"/>
                  <a:gd name="T27" fmla="*/ 48 h 330"/>
                  <a:gd name="T28" fmla="*/ 252 w 300"/>
                  <a:gd name="T29" fmla="*/ 72 h 330"/>
                  <a:gd name="T30" fmla="*/ 268 w 300"/>
                  <a:gd name="T31" fmla="*/ 98 h 330"/>
                  <a:gd name="T32" fmla="*/ 280 w 300"/>
                  <a:gd name="T33" fmla="*/ 130 h 330"/>
                  <a:gd name="T34" fmla="*/ 284 w 300"/>
                  <a:gd name="T35" fmla="*/ 162 h 330"/>
                  <a:gd name="T36" fmla="*/ 72 w 300"/>
                  <a:gd name="T37" fmla="*/ 302 h 330"/>
                  <a:gd name="T38" fmla="*/ 256 w 300"/>
                  <a:gd name="T39" fmla="*/ 164 h 330"/>
                  <a:gd name="T40" fmla="*/ 252 w 300"/>
                  <a:gd name="T41" fmla="*/ 140 h 330"/>
                  <a:gd name="T42" fmla="*/ 232 w 300"/>
                  <a:gd name="T43" fmla="*/ 92 h 330"/>
                  <a:gd name="T44" fmla="*/ 208 w 300"/>
                  <a:gd name="T45" fmla="*/ 62 h 330"/>
                  <a:gd name="T46" fmla="*/ 188 w 300"/>
                  <a:gd name="T47" fmla="*/ 46 h 330"/>
                  <a:gd name="T48" fmla="*/ 164 w 300"/>
                  <a:gd name="T49" fmla="*/ 36 h 330"/>
                  <a:gd name="T50" fmla="*/ 136 w 300"/>
                  <a:gd name="T51" fmla="*/ 30 h 330"/>
                  <a:gd name="T52" fmla="*/ 122 w 300"/>
                  <a:gd name="T53" fmla="*/ 28 h 330"/>
                  <a:gd name="T54" fmla="*/ 98 w 300"/>
                  <a:gd name="T55" fmla="*/ 32 h 330"/>
                  <a:gd name="T56" fmla="*/ 52 w 300"/>
                  <a:gd name="T57" fmla="*/ 50 h 330"/>
                  <a:gd name="T58" fmla="*/ 34 w 300"/>
                  <a:gd name="T59" fmla="*/ 66 h 330"/>
                  <a:gd name="T60" fmla="*/ 52 w 300"/>
                  <a:gd name="T61" fmla="*/ 110 h 330"/>
                  <a:gd name="T62" fmla="*/ 60 w 300"/>
                  <a:gd name="T63" fmla="*/ 15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330">
                    <a:moveTo>
                      <a:pt x="300" y="330"/>
                    </a:moveTo>
                    <a:lnTo>
                      <a:pt x="46" y="330"/>
                    </a:lnTo>
                    <a:lnTo>
                      <a:pt x="32" y="158"/>
                    </a:lnTo>
                    <a:lnTo>
                      <a:pt x="32" y="158"/>
                    </a:lnTo>
                    <a:lnTo>
                      <a:pt x="28" y="136"/>
                    </a:lnTo>
                    <a:lnTo>
                      <a:pt x="22" y="114"/>
                    </a:lnTo>
                    <a:lnTo>
                      <a:pt x="14" y="92"/>
                    </a:lnTo>
                    <a:lnTo>
                      <a:pt x="4" y="70"/>
                    </a:lnTo>
                    <a:lnTo>
                      <a:pt x="0" y="62"/>
                    </a:lnTo>
                    <a:lnTo>
                      <a:pt x="6" y="54"/>
                    </a:lnTo>
                    <a:lnTo>
                      <a:pt x="6" y="54"/>
                    </a:lnTo>
                    <a:lnTo>
                      <a:pt x="18" y="42"/>
                    </a:lnTo>
                    <a:lnTo>
                      <a:pt x="30" y="32"/>
                    </a:lnTo>
                    <a:lnTo>
                      <a:pt x="44" y="22"/>
                    </a:lnTo>
                    <a:lnTo>
                      <a:pt x="58" y="14"/>
                    </a:lnTo>
                    <a:lnTo>
                      <a:pt x="74" y="8"/>
                    </a:lnTo>
                    <a:lnTo>
                      <a:pt x="90" y="4"/>
                    </a:lnTo>
                    <a:lnTo>
                      <a:pt x="106" y="2"/>
                    </a:lnTo>
                    <a:lnTo>
                      <a:pt x="122" y="0"/>
                    </a:lnTo>
                    <a:lnTo>
                      <a:pt x="122" y="0"/>
                    </a:lnTo>
                    <a:lnTo>
                      <a:pt x="138" y="2"/>
                    </a:lnTo>
                    <a:lnTo>
                      <a:pt x="154" y="4"/>
                    </a:lnTo>
                    <a:lnTo>
                      <a:pt x="168" y="8"/>
                    </a:lnTo>
                    <a:lnTo>
                      <a:pt x="182" y="14"/>
                    </a:lnTo>
                    <a:lnTo>
                      <a:pt x="196" y="20"/>
                    </a:lnTo>
                    <a:lnTo>
                      <a:pt x="210" y="28"/>
                    </a:lnTo>
                    <a:lnTo>
                      <a:pt x="222" y="38"/>
                    </a:lnTo>
                    <a:lnTo>
                      <a:pt x="232" y="48"/>
                    </a:lnTo>
                    <a:lnTo>
                      <a:pt x="244" y="58"/>
                    </a:lnTo>
                    <a:lnTo>
                      <a:pt x="252" y="72"/>
                    </a:lnTo>
                    <a:lnTo>
                      <a:pt x="260" y="84"/>
                    </a:lnTo>
                    <a:lnTo>
                      <a:pt x="268" y="98"/>
                    </a:lnTo>
                    <a:lnTo>
                      <a:pt x="274" y="114"/>
                    </a:lnTo>
                    <a:lnTo>
                      <a:pt x="280" y="130"/>
                    </a:lnTo>
                    <a:lnTo>
                      <a:pt x="282" y="146"/>
                    </a:lnTo>
                    <a:lnTo>
                      <a:pt x="284" y="162"/>
                    </a:lnTo>
                    <a:lnTo>
                      <a:pt x="300" y="330"/>
                    </a:lnTo>
                    <a:close/>
                    <a:moveTo>
                      <a:pt x="72" y="302"/>
                    </a:moveTo>
                    <a:lnTo>
                      <a:pt x="268" y="302"/>
                    </a:lnTo>
                    <a:lnTo>
                      <a:pt x="256" y="164"/>
                    </a:lnTo>
                    <a:lnTo>
                      <a:pt x="256" y="164"/>
                    </a:lnTo>
                    <a:lnTo>
                      <a:pt x="252" y="140"/>
                    </a:lnTo>
                    <a:lnTo>
                      <a:pt x="244" y="114"/>
                    </a:lnTo>
                    <a:lnTo>
                      <a:pt x="232" y="92"/>
                    </a:lnTo>
                    <a:lnTo>
                      <a:pt x="216" y="72"/>
                    </a:lnTo>
                    <a:lnTo>
                      <a:pt x="208" y="62"/>
                    </a:lnTo>
                    <a:lnTo>
                      <a:pt x="198" y="54"/>
                    </a:lnTo>
                    <a:lnTo>
                      <a:pt x="188" y="46"/>
                    </a:lnTo>
                    <a:lnTo>
                      <a:pt x="176" y="40"/>
                    </a:lnTo>
                    <a:lnTo>
                      <a:pt x="164" y="36"/>
                    </a:lnTo>
                    <a:lnTo>
                      <a:pt x="150" y="32"/>
                    </a:lnTo>
                    <a:lnTo>
                      <a:pt x="136" y="30"/>
                    </a:lnTo>
                    <a:lnTo>
                      <a:pt x="122" y="28"/>
                    </a:lnTo>
                    <a:lnTo>
                      <a:pt x="122" y="28"/>
                    </a:lnTo>
                    <a:lnTo>
                      <a:pt x="110" y="30"/>
                    </a:lnTo>
                    <a:lnTo>
                      <a:pt x="98" y="32"/>
                    </a:lnTo>
                    <a:lnTo>
                      <a:pt x="74" y="38"/>
                    </a:lnTo>
                    <a:lnTo>
                      <a:pt x="52" y="50"/>
                    </a:lnTo>
                    <a:lnTo>
                      <a:pt x="34" y="66"/>
                    </a:lnTo>
                    <a:lnTo>
                      <a:pt x="34" y="66"/>
                    </a:lnTo>
                    <a:lnTo>
                      <a:pt x="44" y="88"/>
                    </a:lnTo>
                    <a:lnTo>
                      <a:pt x="52" y="110"/>
                    </a:lnTo>
                    <a:lnTo>
                      <a:pt x="56" y="132"/>
                    </a:lnTo>
                    <a:lnTo>
                      <a:pt x="60" y="156"/>
                    </a:lnTo>
                    <a:lnTo>
                      <a:pt x="72" y="3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grpSp>
        <p:grpSp>
          <p:nvGrpSpPr>
            <p:cNvPr id="370" name="Group 369"/>
            <p:cNvGrpSpPr/>
            <p:nvPr/>
          </p:nvGrpSpPr>
          <p:grpSpPr>
            <a:xfrm>
              <a:off x="10034296" y="5129436"/>
              <a:ext cx="385751" cy="482188"/>
              <a:chOff x="2954338" y="6831013"/>
              <a:chExt cx="1041400" cy="1301750"/>
            </a:xfrm>
            <a:solidFill>
              <a:srgbClr val="0078D7"/>
            </a:solidFill>
          </p:grpSpPr>
          <p:sp>
            <p:nvSpPr>
              <p:cNvPr id="385" name="Freeform 36"/>
              <p:cNvSpPr>
                <a:spLocks noEditPoints="1"/>
              </p:cNvSpPr>
              <p:nvPr/>
            </p:nvSpPr>
            <p:spPr bwMode="auto">
              <a:xfrm>
                <a:off x="3195638" y="7329488"/>
                <a:ext cx="390525" cy="393700"/>
              </a:xfrm>
              <a:custGeom>
                <a:avLst/>
                <a:gdLst>
                  <a:gd name="T0" fmla="*/ 122 w 246"/>
                  <a:gd name="T1" fmla="*/ 248 h 248"/>
                  <a:gd name="T2" fmla="*/ 98 w 246"/>
                  <a:gd name="T3" fmla="*/ 244 h 248"/>
                  <a:gd name="T4" fmla="*/ 74 w 246"/>
                  <a:gd name="T5" fmla="*/ 238 h 248"/>
                  <a:gd name="T6" fmla="*/ 36 w 246"/>
                  <a:gd name="T7" fmla="*/ 210 h 248"/>
                  <a:gd name="T8" fmla="*/ 8 w 246"/>
                  <a:gd name="T9" fmla="*/ 172 h 248"/>
                  <a:gd name="T10" fmla="*/ 2 w 246"/>
                  <a:gd name="T11" fmla="*/ 148 h 248"/>
                  <a:gd name="T12" fmla="*/ 0 w 246"/>
                  <a:gd name="T13" fmla="*/ 124 h 248"/>
                  <a:gd name="T14" fmla="*/ 0 w 246"/>
                  <a:gd name="T15" fmla="*/ 112 h 248"/>
                  <a:gd name="T16" fmla="*/ 4 w 246"/>
                  <a:gd name="T17" fmla="*/ 88 h 248"/>
                  <a:gd name="T18" fmla="*/ 20 w 246"/>
                  <a:gd name="T19" fmla="*/ 56 h 248"/>
                  <a:gd name="T20" fmla="*/ 54 w 246"/>
                  <a:gd name="T21" fmla="*/ 22 h 248"/>
                  <a:gd name="T22" fmla="*/ 86 w 246"/>
                  <a:gd name="T23" fmla="*/ 6 h 248"/>
                  <a:gd name="T24" fmla="*/ 110 w 246"/>
                  <a:gd name="T25" fmla="*/ 2 h 248"/>
                  <a:gd name="T26" fmla="*/ 122 w 246"/>
                  <a:gd name="T27" fmla="*/ 0 h 248"/>
                  <a:gd name="T28" fmla="*/ 148 w 246"/>
                  <a:gd name="T29" fmla="*/ 4 h 248"/>
                  <a:gd name="T30" fmla="*/ 170 w 246"/>
                  <a:gd name="T31" fmla="*/ 10 h 248"/>
                  <a:gd name="T32" fmla="*/ 210 w 246"/>
                  <a:gd name="T33" fmla="*/ 36 h 248"/>
                  <a:gd name="T34" fmla="*/ 236 w 246"/>
                  <a:gd name="T35" fmla="*/ 76 h 248"/>
                  <a:gd name="T36" fmla="*/ 242 w 246"/>
                  <a:gd name="T37" fmla="*/ 100 h 248"/>
                  <a:gd name="T38" fmla="*/ 246 w 246"/>
                  <a:gd name="T39" fmla="*/ 124 h 248"/>
                  <a:gd name="T40" fmla="*/ 244 w 246"/>
                  <a:gd name="T41" fmla="*/ 136 h 248"/>
                  <a:gd name="T42" fmla="*/ 240 w 246"/>
                  <a:gd name="T43" fmla="*/ 160 h 248"/>
                  <a:gd name="T44" fmla="*/ 224 w 246"/>
                  <a:gd name="T45" fmla="*/ 192 h 248"/>
                  <a:gd name="T46" fmla="*/ 192 w 246"/>
                  <a:gd name="T47" fmla="*/ 226 h 248"/>
                  <a:gd name="T48" fmla="*/ 158 w 246"/>
                  <a:gd name="T49" fmla="*/ 242 h 248"/>
                  <a:gd name="T50" fmla="*/ 134 w 246"/>
                  <a:gd name="T51" fmla="*/ 246 h 248"/>
                  <a:gd name="T52" fmla="*/ 122 w 246"/>
                  <a:gd name="T53" fmla="*/ 248 h 248"/>
                  <a:gd name="T54" fmla="*/ 122 w 246"/>
                  <a:gd name="T55" fmla="*/ 28 h 248"/>
                  <a:gd name="T56" fmla="*/ 86 w 246"/>
                  <a:gd name="T57" fmla="*/ 36 h 248"/>
                  <a:gd name="T58" fmla="*/ 56 w 246"/>
                  <a:gd name="T59" fmla="*/ 56 h 248"/>
                  <a:gd name="T60" fmla="*/ 34 w 246"/>
                  <a:gd name="T61" fmla="*/ 86 h 248"/>
                  <a:gd name="T62" fmla="*/ 28 w 246"/>
                  <a:gd name="T63" fmla="*/ 124 h 248"/>
                  <a:gd name="T64" fmla="*/ 30 w 246"/>
                  <a:gd name="T65" fmla="*/ 144 h 248"/>
                  <a:gd name="T66" fmla="*/ 44 w 246"/>
                  <a:gd name="T67" fmla="*/ 178 h 248"/>
                  <a:gd name="T68" fmla="*/ 70 w 246"/>
                  <a:gd name="T69" fmla="*/ 202 h 248"/>
                  <a:gd name="T70" fmla="*/ 104 w 246"/>
                  <a:gd name="T71" fmla="*/ 218 h 248"/>
                  <a:gd name="T72" fmla="*/ 122 w 246"/>
                  <a:gd name="T73" fmla="*/ 220 h 248"/>
                  <a:gd name="T74" fmla="*/ 160 w 246"/>
                  <a:gd name="T75" fmla="*/ 212 h 248"/>
                  <a:gd name="T76" fmla="*/ 190 w 246"/>
                  <a:gd name="T77" fmla="*/ 192 h 248"/>
                  <a:gd name="T78" fmla="*/ 210 w 246"/>
                  <a:gd name="T79" fmla="*/ 160 h 248"/>
                  <a:gd name="T80" fmla="*/ 218 w 246"/>
                  <a:gd name="T81" fmla="*/ 124 h 248"/>
                  <a:gd name="T82" fmla="*/ 216 w 246"/>
                  <a:gd name="T83" fmla="*/ 104 h 248"/>
                  <a:gd name="T84" fmla="*/ 202 w 246"/>
                  <a:gd name="T85" fmla="*/ 70 h 248"/>
                  <a:gd name="T86" fmla="*/ 176 w 246"/>
                  <a:gd name="T87" fmla="*/ 46 h 248"/>
                  <a:gd name="T88" fmla="*/ 142 w 246"/>
                  <a:gd name="T89" fmla="*/ 30 h 248"/>
                  <a:gd name="T90" fmla="*/ 122 w 246"/>
                  <a:gd name="T91" fmla="*/ 2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6" h="248">
                    <a:moveTo>
                      <a:pt x="122" y="248"/>
                    </a:moveTo>
                    <a:lnTo>
                      <a:pt x="122" y="248"/>
                    </a:lnTo>
                    <a:lnTo>
                      <a:pt x="110" y="246"/>
                    </a:lnTo>
                    <a:lnTo>
                      <a:pt x="98" y="244"/>
                    </a:lnTo>
                    <a:lnTo>
                      <a:pt x="86" y="242"/>
                    </a:lnTo>
                    <a:lnTo>
                      <a:pt x="74" y="238"/>
                    </a:lnTo>
                    <a:lnTo>
                      <a:pt x="54" y="226"/>
                    </a:lnTo>
                    <a:lnTo>
                      <a:pt x="36" y="210"/>
                    </a:lnTo>
                    <a:lnTo>
                      <a:pt x="20" y="192"/>
                    </a:lnTo>
                    <a:lnTo>
                      <a:pt x="8" y="172"/>
                    </a:lnTo>
                    <a:lnTo>
                      <a:pt x="4" y="160"/>
                    </a:lnTo>
                    <a:lnTo>
                      <a:pt x="2" y="148"/>
                    </a:lnTo>
                    <a:lnTo>
                      <a:pt x="0" y="136"/>
                    </a:lnTo>
                    <a:lnTo>
                      <a:pt x="0" y="124"/>
                    </a:lnTo>
                    <a:lnTo>
                      <a:pt x="0" y="124"/>
                    </a:lnTo>
                    <a:lnTo>
                      <a:pt x="0" y="112"/>
                    </a:lnTo>
                    <a:lnTo>
                      <a:pt x="2" y="100"/>
                    </a:lnTo>
                    <a:lnTo>
                      <a:pt x="4" y="88"/>
                    </a:lnTo>
                    <a:lnTo>
                      <a:pt x="8" y="76"/>
                    </a:lnTo>
                    <a:lnTo>
                      <a:pt x="20" y="56"/>
                    </a:lnTo>
                    <a:lnTo>
                      <a:pt x="36" y="36"/>
                    </a:lnTo>
                    <a:lnTo>
                      <a:pt x="54" y="22"/>
                    </a:lnTo>
                    <a:lnTo>
                      <a:pt x="74" y="10"/>
                    </a:lnTo>
                    <a:lnTo>
                      <a:pt x="86" y="6"/>
                    </a:lnTo>
                    <a:lnTo>
                      <a:pt x="98" y="4"/>
                    </a:lnTo>
                    <a:lnTo>
                      <a:pt x="110" y="2"/>
                    </a:lnTo>
                    <a:lnTo>
                      <a:pt x="122" y="0"/>
                    </a:lnTo>
                    <a:lnTo>
                      <a:pt x="122" y="0"/>
                    </a:lnTo>
                    <a:lnTo>
                      <a:pt x="134" y="2"/>
                    </a:lnTo>
                    <a:lnTo>
                      <a:pt x="148" y="4"/>
                    </a:lnTo>
                    <a:lnTo>
                      <a:pt x="158" y="6"/>
                    </a:lnTo>
                    <a:lnTo>
                      <a:pt x="170" y="10"/>
                    </a:lnTo>
                    <a:lnTo>
                      <a:pt x="192" y="22"/>
                    </a:lnTo>
                    <a:lnTo>
                      <a:pt x="210" y="36"/>
                    </a:lnTo>
                    <a:lnTo>
                      <a:pt x="224" y="56"/>
                    </a:lnTo>
                    <a:lnTo>
                      <a:pt x="236" y="76"/>
                    </a:lnTo>
                    <a:lnTo>
                      <a:pt x="240" y="88"/>
                    </a:lnTo>
                    <a:lnTo>
                      <a:pt x="242" y="100"/>
                    </a:lnTo>
                    <a:lnTo>
                      <a:pt x="244" y="112"/>
                    </a:lnTo>
                    <a:lnTo>
                      <a:pt x="246" y="124"/>
                    </a:lnTo>
                    <a:lnTo>
                      <a:pt x="246" y="124"/>
                    </a:lnTo>
                    <a:lnTo>
                      <a:pt x="244" y="136"/>
                    </a:lnTo>
                    <a:lnTo>
                      <a:pt x="242" y="148"/>
                    </a:lnTo>
                    <a:lnTo>
                      <a:pt x="240" y="160"/>
                    </a:lnTo>
                    <a:lnTo>
                      <a:pt x="236" y="172"/>
                    </a:lnTo>
                    <a:lnTo>
                      <a:pt x="224" y="192"/>
                    </a:lnTo>
                    <a:lnTo>
                      <a:pt x="210" y="210"/>
                    </a:lnTo>
                    <a:lnTo>
                      <a:pt x="192" y="226"/>
                    </a:lnTo>
                    <a:lnTo>
                      <a:pt x="170" y="238"/>
                    </a:lnTo>
                    <a:lnTo>
                      <a:pt x="158" y="242"/>
                    </a:lnTo>
                    <a:lnTo>
                      <a:pt x="148" y="244"/>
                    </a:lnTo>
                    <a:lnTo>
                      <a:pt x="134" y="246"/>
                    </a:lnTo>
                    <a:lnTo>
                      <a:pt x="122" y="248"/>
                    </a:lnTo>
                    <a:lnTo>
                      <a:pt x="122" y="248"/>
                    </a:lnTo>
                    <a:close/>
                    <a:moveTo>
                      <a:pt x="122" y="28"/>
                    </a:moveTo>
                    <a:lnTo>
                      <a:pt x="122" y="28"/>
                    </a:lnTo>
                    <a:lnTo>
                      <a:pt x="104" y="30"/>
                    </a:lnTo>
                    <a:lnTo>
                      <a:pt x="86" y="36"/>
                    </a:lnTo>
                    <a:lnTo>
                      <a:pt x="70" y="46"/>
                    </a:lnTo>
                    <a:lnTo>
                      <a:pt x="56" y="56"/>
                    </a:lnTo>
                    <a:lnTo>
                      <a:pt x="44" y="70"/>
                    </a:lnTo>
                    <a:lnTo>
                      <a:pt x="34" y="86"/>
                    </a:lnTo>
                    <a:lnTo>
                      <a:pt x="30" y="104"/>
                    </a:lnTo>
                    <a:lnTo>
                      <a:pt x="28" y="124"/>
                    </a:lnTo>
                    <a:lnTo>
                      <a:pt x="28" y="124"/>
                    </a:lnTo>
                    <a:lnTo>
                      <a:pt x="30" y="144"/>
                    </a:lnTo>
                    <a:lnTo>
                      <a:pt x="34" y="160"/>
                    </a:lnTo>
                    <a:lnTo>
                      <a:pt x="44" y="178"/>
                    </a:lnTo>
                    <a:lnTo>
                      <a:pt x="56" y="192"/>
                    </a:lnTo>
                    <a:lnTo>
                      <a:pt x="70" y="202"/>
                    </a:lnTo>
                    <a:lnTo>
                      <a:pt x="86" y="212"/>
                    </a:lnTo>
                    <a:lnTo>
                      <a:pt x="104" y="218"/>
                    </a:lnTo>
                    <a:lnTo>
                      <a:pt x="122" y="220"/>
                    </a:lnTo>
                    <a:lnTo>
                      <a:pt x="122" y="220"/>
                    </a:lnTo>
                    <a:lnTo>
                      <a:pt x="142" y="218"/>
                    </a:lnTo>
                    <a:lnTo>
                      <a:pt x="160" y="212"/>
                    </a:lnTo>
                    <a:lnTo>
                      <a:pt x="176" y="202"/>
                    </a:lnTo>
                    <a:lnTo>
                      <a:pt x="190" y="192"/>
                    </a:lnTo>
                    <a:lnTo>
                      <a:pt x="202" y="178"/>
                    </a:lnTo>
                    <a:lnTo>
                      <a:pt x="210" y="160"/>
                    </a:lnTo>
                    <a:lnTo>
                      <a:pt x="216" y="144"/>
                    </a:lnTo>
                    <a:lnTo>
                      <a:pt x="218" y="124"/>
                    </a:lnTo>
                    <a:lnTo>
                      <a:pt x="218" y="124"/>
                    </a:lnTo>
                    <a:lnTo>
                      <a:pt x="216" y="104"/>
                    </a:lnTo>
                    <a:lnTo>
                      <a:pt x="210" y="86"/>
                    </a:lnTo>
                    <a:lnTo>
                      <a:pt x="202" y="70"/>
                    </a:lnTo>
                    <a:lnTo>
                      <a:pt x="190" y="56"/>
                    </a:lnTo>
                    <a:lnTo>
                      <a:pt x="176" y="46"/>
                    </a:lnTo>
                    <a:lnTo>
                      <a:pt x="160" y="36"/>
                    </a:lnTo>
                    <a:lnTo>
                      <a:pt x="142" y="30"/>
                    </a:lnTo>
                    <a:lnTo>
                      <a:pt x="122" y="28"/>
                    </a:lnTo>
                    <a:lnTo>
                      <a:pt x="122" y="28"/>
                    </a:lnTo>
                    <a:close/>
                  </a:path>
                </a:pathLst>
              </a:custGeom>
              <a:grpFill/>
              <a:ln>
                <a:noFill/>
              </a:ln>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386" name="Freeform 37"/>
              <p:cNvSpPr>
                <a:spLocks/>
              </p:cNvSpPr>
              <p:nvPr/>
            </p:nvSpPr>
            <p:spPr bwMode="auto">
              <a:xfrm>
                <a:off x="2954338" y="6831013"/>
                <a:ext cx="1041400" cy="1301750"/>
              </a:xfrm>
              <a:custGeom>
                <a:avLst/>
                <a:gdLst>
                  <a:gd name="T0" fmla="*/ 114 w 656"/>
                  <a:gd name="T1" fmla="*/ 784 h 820"/>
                  <a:gd name="T2" fmla="*/ 80 w 656"/>
                  <a:gd name="T3" fmla="*/ 760 h 820"/>
                  <a:gd name="T4" fmla="*/ 172 w 656"/>
                  <a:gd name="T5" fmla="*/ 608 h 820"/>
                  <a:gd name="T6" fmla="*/ 238 w 656"/>
                  <a:gd name="T7" fmla="*/ 672 h 820"/>
                  <a:gd name="T8" fmla="*/ 300 w 656"/>
                  <a:gd name="T9" fmla="*/ 684 h 820"/>
                  <a:gd name="T10" fmla="*/ 328 w 656"/>
                  <a:gd name="T11" fmla="*/ 628 h 820"/>
                  <a:gd name="T12" fmla="*/ 416 w 656"/>
                  <a:gd name="T13" fmla="*/ 630 h 820"/>
                  <a:gd name="T14" fmla="*/ 466 w 656"/>
                  <a:gd name="T15" fmla="*/ 592 h 820"/>
                  <a:gd name="T16" fmla="*/ 446 w 656"/>
                  <a:gd name="T17" fmla="*/ 536 h 820"/>
                  <a:gd name="T18" fmla="*/ 512 w 656"/>
                  <a:gd name="T19" fmla="*/ 474 h 820"/>
                  <a:gd name="T20" fmla="*/ 518 w 656"/>
                  <a:gd name="T21" fmla="*/ 406 h 820"/>
                  <a:gd name="T22" fmla="*/ 464 w 656"/>
                  <a:gd name="T23" fmla="*/ 386 h 820"/>
                  <a:gd name="T24" fmla="*/ 466 w 656"/>
                  <a:gd name="T25" fmla="*/ 296 h 820"/>
                  <a:gd name="T26" fmla="*/ 424 w 656"/>
                  <a:gd name="T27" fmla="*/ 244 h 820"/>
                  <a:gd name="T28" fmla="*/ 372 w 656"/>
                  <a:gd name="T29" fmla="*/ 266 h 820"/>
                  <a:gd name="T30" fmla="*/ 310 w 656"/>
                  <a:gd name="T31" fmla="*/ 200 h 820"/>
                  <a:gd name="T32" fmla="*/ 240 w 656"/>
                  <a:gd name="T33" fmla="*/ 198 h 820"/>
                  <a:gd name="T34" fmla="*/ 198 w 656"/>
                  <a:gd name="T35" fmla="*/ 256 h 820"/>
                  <a:gd name="T36" fmla="*/ 128 w 656"/>
                  <a:gd name="T37" fmla="*/ 244 h 820"/>
                  <a:gd name="T38" fmla="*/ 82 w 656"/>
                  <a:gd name="T39" fmla="*/ 296 h 820"/>
                  <a:gd name="T40" fmla="*/ 84 w 656"/>
                  <a:gd name="T41" fmla="*/ 386 h 820"/>
                  <a:gd name="T42" fmla="*/ 32 w 656"/>
                  <a:gd name="T43" fmla="*/ 406 h 820"/>
                  <a:gd name="T44" fmla="*/ 38 w 656"/>
                  <a:gd name="T45" fmla="*/ 474 h 820"/>
                  <a:gd name="T46" fmla="*/ 102 w 656"/>
                  <a:gd name="T47" fmla="*/ 536 h 820"/>
                  <a:gd name="T48" fmla="*/ 78 w 656"/>
                  <a:gd name="T49" fmla="*/ 550 h 820"/>
                  <a:gd name="T50" fmla="*/ 10 w 656"/>
                  <a:gd name="T51" fmla="*/ 488 h 820"/>
                  <a:gd name="T52" fmla="*/ 6 w 656"/>
                  <a:gd name="T53" fmla="*/ 394 h 820"/>
                  <a:gd name="T54" fmla="*/ 74 w 656"/>
                  <a:gd name="T55" fmla="*/ 334 h 820"/>
                  <a:gd name="T56" fmla="*/ 60 w 656"/>
                  <a:gd name="T57" fmla="*/ 264 h 820"/>
                  <a:gd name="T58" fmla="*/ 138 w 656"/>
                  <a:gd name="T59" fmla="*/ 218 h 820"/>
                  <a:gd name="T60" fmla="*/ 212 w 656"/>
                  <a:gd name="T61" fmla="*/ 192 h 820"/>
                  <a:gd name="T62" fmla="*/ 296 w 656"/>
                  <a:gd name="T63" fmla="*/ 164 h 820"/>
                  <a:gd name="T64" fmla="*/ 342 w 656"/>
                  <a:gd name="T65" fmla="*/ 222 h 820"/>
                  <a:gd name="T66" fmla="*/ 426 w 656"/>
                  <a:gd name="T67" fmla="*/ 216 h 820"/>
                  <a:gd name="T68" fmla="*/ 494 w 656"/>
                  <a:gd name="T69" fmla="*/ 278 h 820"/>
                  <a:gd name="T70" fmla="*/ 490 w 656"/>
                  <a:gd name="T71" fmla="*/ 370 h 820"/>
                  <a:gd name="T72" fmla="*/ 548 w 656"/>
                  <a:gd name="T73" fmla="*/ 410 h 820"/>
                  <a:gd name="T74" fmla="*/ 528 w 656"/>
                  <a:gd name="T75" fmla="*/ 498 h 820"/>
                  <a:gd name="T76" fmla="*/ 492 w 656"/>
                  <a:gd name="T77" fmla="*/ 568 h 820"/>
                  <a:gd name="T78" fmla="*/ 452 w 656"/>
                  <a:gd name="T79" fmla="*/ 646 h 820"/>
                  <a:gd name="T80" fmla="*/ 398 w 656"/>
                  <a:gd name="T81" fmla="*/ 652 h 820"/>
                  <a:gd name="T82" fmla="*/ 330 w 656"/>
                  <a:gd name="T83" fmla="*/ 696 h 820"/>
                  <a:gd name="T84" fmla="*/ 238 w 656"/>
                  <a:gd name="T85" fmla="*/ 710 h 820"/>
                  <a:gd name="T86" fmla="*/ 176 w 656"/>
                  <a:gd name="T87" fmla="*/ 640 h 820"/>
                  <a:gd name="T88" fmla="*/ 232 w 656"/>
                  <a:gd name="T89" fmla="*/ 788 h 820"/>
                  <a:gd name="T90" fmla="*/ 472 w 656"/>
                  <a:gd name="T91" fmla="*/ 730 h 820"/>
                  <a:gd name="T92" fmla="*/ 626 w 656"/>
                  <a:gd name="T93" fmla="*/ 474 h 820"/>
                  <a:gd name="T94" fmla="*/ 546 w 656"/>
                  <a:gd name="T95" fmla="*/ 214 h 820"/>
                  <a:gd name="T96" fmla="*/ 274 w 656"/>
                  <a:gd name="T97" fmla="*/ 84 h 820"/>
                  <a:gd name="T98" fmla="*/ 186 w 656"/>
                  <a:gd name="T99" fmla="*/ 170 h 820"/>
                  <a:gd name="T100" fmla="*/ 30 w 656"/>
                  <a:gd name="T101" fmla="*/ 136 h 820"/>
                  <a:gd name="T102" fmla="*/ 124 w 656"/>
                  <a:gd name="T103" fmla="*/ 2 h 820"/>
                  <a:gd name="T104" fmla="*/ 130 w 656"/>
                  <a:gd name="T105" fmla="*/ 100 h 820"/>
                  <a:gd name="T106" fmla="*/ 240 w 656"/>
                  <a:gd name="T107" fmla="*/ 58 h 820"/>
                  <a:gd name="T108" fmla="*/ 516 w 656"/>
                  <a:gd name="T109" fmla="*/ 144 h 820"/>
                  <a:gd name="T110" fmla="*/ 656 w 656"/>
                  <a:gd name="T111" fmla="*/ 438 h 820"/>
                  <a:gd name="T112" fmla="*/ 544 w 656"/>
                  <a:gd name="T113" fmla="*/ 708 h 820"/>
                  <a:gd name="T114" fmla="*/ 274 w 656"/>
                  <a:gd name="T115" fmla="*/ 82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820">
                    <a:moveTo>
                      <a:pt x="274" y="820"/>
                    </a:moveTo>
                    <a:lnTo>
                      <a:pt x="274" y="820"/>
                    </a:lnTo>
                    <a:lnTo>
                      <a:pt x="250" y="818"/>
                    </a:lnTo>
                    <a:lnTo>
                      <a:pt x="228" y="816"/>
                    </a:lnTo>
                    <a:lnTo>
                      <a:pt x="204" y="812"/>
                    </a:lnTo>
                    <a:lnTo>
                      <a:pt x="182" y="808"/>
                    </a:lnTo>
                    <a:lnTo>
                      <a:pt x="158" y="802"/>
                    </a:lnTo>
                    <a:lnTo>
                      <a:pt x="136" y="794"/>
                    </a:lnTo>
                    <a:lnTo>
                      <a:pt x="114" y="784"/>
                    </a:lnTo>
                    <a:lnTo>
                      <a:pt x="94" y="774"/>
                    </a:lnTo>
                    <a:lnTo>
                      <a:pt x="94" y="774"/>
                    </a:lnTo>
                    <a:lnTo>
                      <a:pt x="88" y="770"/>
                    </a:lnTo>
                    <a:lnTo>
                      <a:pt x="88" y="770"/>
                    </a:lnTo>
                    <a:lnTo>
                      <a:pt x="86" y="768"/>
                    </a:lnTo>
                    <a:lnTo>
                      <a:pt x="86" y="768"/>
                    </a:lnTo>
                    <a:lnTo>
                      <a:pt x="82" y="766"/>
                    </a:lnTo>
                    <a:lnTo>
                      <a:pt x="80" y="760"/>
                    </a:lnTo>
                    <a:lnTo>
                      <a:pt x="80" y="760"/>
                    </a:lnTo>
                    <a:lnTo>
                      <a:pt x="80" y="754"/>
                    </a:lnTo>
                    <a:lnTo>
                      <a:pt x="82" y="750"/>
                    </a:lnTo>
                    <a:lnTo>
                      <a:pt x="94" y="730"/>
                    </a:lnTo>
                    <a:lnTo>
                      <a:pt x="158" y="616"/>
                    </a:lnTo>
                    <a:lnTo>
                      <a:pt x="158" y="616"/>
                    </a:lnTo>
                    <a:lnTo>
                      <a:pt x="162" y="612"/>
                    </a:lnTo>
                    <a:lnTo>
                      <a:pt x="166" y="608"/>
                    </a:lnTo>
                    <a:lnTo>
                      <a:pt x="166" y="608"/>
                    </a:lnTo>
                    <a:lnTo>
                      <a:pt x="172" y="608"/>
                    </a:lnTo>
                    <a:lnTo>
                      <a:pt x="176" y="610"/>
                    </a:lnTo>
                    <a:lnTo>
                      <a:pt x="176" y="610"/>
                    </a:lnTo>
                    <a:lnTo>
                      <a:pt x="198" y="620"/>
                    </a:lnTo>
                    <a:lnTo>
                      <a:pt x="222" y="628"/>
                    </a:lnTo>
                    <a:lnTo>
                      <a:pt x="222" y="628"/>
                    </a:lnTo>
                    <a:lnTo>
                      <a:pt x="228" y="632"/>
                    </a:lnTo>
                    <a:lnTo>
                      <a:pt x="232" y="638"/>
                    </a:lnTo>
                    <a:lnTo>
                      <a:pt x="238" y="672"/>
                    </a:lnTo>
                    <a:lnTo>
                      <a:pt x="238" y="672"/>
                    </a:lnTo>
                    <a:lnTo>
                      <a:pt x="238" y="674"/>
                    </a:lnTo>
                    <a:lnTo>
                      <a:pt x="238" y="674"/>
                    </a:lnTo>
                    <a:lnTo>
                      <a:pt x="240" y="678"/>
                    </a:lnTo>
                    <a:lnTo>
                      <a:pt x="244" y="680"/>
                    </a:lnTo>
                    <a:lnTo>
                      <a:pt x="248" y="684"/>
                    </a:lnTo>
                    <a:lnTo>
                      <a:pt x="252" y="684"/>
                    </a:lnTo>
                    <a:lnTo>
                      <a:pt x="296" y="684"/>
                    </a:lnTo>
                    <a:lnTo>
                      <a:pt x="296" y="684"/>
                    </a:lnTo>
                    <a:lnTo>
                      <a:pt x="300" y="684"/>
                    </a:lnTo>
                    <a:lnTo>
                      <a:pt x="306" y="680"/>
                    </a:lnTo>
                    <a:lnTo>
                      <a:pt x="308" y="678"/>
                    </a:lnTo>
                    <a:lnTo>
                      <a:pt x="310" y="674"/>
                    </a:lnTo>
                    <a:lnTo>
                      <a:pt x="310" y="674"/>
                    </a:lnTo>
                    <a:lnTo>
                      <a:pt x="310" y="672"/>
                    </a:lnTo>
                    <a:lnTo>
                      <a:pt x="318" y="638"/>
                    </a:lnTo>
                    <a:lnTo>
                      <a:pt x="318" y="638"/>
                    </a:lnTo>
                    <a:lnTo>
                      <a:pt x="320" y="632"/>
                    </a:lnTo>
                    <a:lnTo>
                      <a:pt x="328" y="628"/>
                    </a:lnTo>
                    <a:lnTo>
                      <a:pt x="328" y="628"/>
                    </a:lnTo>
                    <a:lnTo>
                      <a:pt x="350" y="620"/>
                    </a:lnTo>
                    <a:lnTo>
                      <a:pt x="372" y="610"/>
                    </a:lnTo>
                    <a:lnTo>
                      <a:pt x="372" y="610"/>
                    </a:lnTo>
                    <a:lnTo>
                      <a:pt x="380" y="608"/>
                    </a:lnTo>
                    <a:lnTo>
                      <a:pt x="386" y="610"/>
                    </a:lnTo>
                    <a:lnTo>
                      <a:pt x="414" y="628"/>
                    </a:lnTo>
                    <a:lnTo>
                      <a:pt x="414" y="628"/>
                    </a:lnTo>
                    <a:lnTo>
                      <a:pt x="416" y="630"/>
                    </a:lnTo>
                    <a:lnTo>
                      <a:pt x="416" y="630"/>
                    </a:lnTo>
                    <a:lnTo>
                      <a:pt x="420" y="632"/>
                    </a:lnTo>
                    <a:lnTo>
                      <a:pt x="424" y="632"/>
                    </a:lnTo>
                    <a:lnTo>
                      <a:pt x="424" y="632"/>
                    </a:lnTo>
                    <a:lnTo>
                      <a:pt x="428" y="630"/>
                    </a:lnTo>
                    <a:lnTo>
                      <a:pt x="434" y="628"/>
                    </a:lnTo>
                    <a:lnTo>
                      <a:pt x="464" y="596"/>
                    </a:lnTo>
                    <a:lnTo>
                      <a:pt x="464" y="596"/>
                    </a:lnTo>
                    <a:lnTo>
                      <a:pt x="466" y="592"/>
                    </a:lnTo>
                    <a:lnTo>
                      <a:pt x="468" y="588"/>
                    </a:lnTo>
                    <a:lnTo>
                      <a:pt x="468" y="584"/>
                    </a:lnTo>
                    <a:lnTo>
                      <a:pt x="466" y="580"/>
                    </a:lnTo>
                    <a:lnTo>
                      <a:pt x="466" y="580"/>
                    </a:lnTo>
                    <a:lnTo>
                      <a:pt x="466" y="578"/>
                    </a:lnTo>
                    <a:lnTo>
                      <a:pt x="446" y="550"/>
                    </a:lnTo>
                    <a:lnTo>
                      <a:pt x="446" y="550"/>
                    </a:lnTo>
                    <a:lnTo>
                      <a:pt x="444" y="542"/>
                    </a:lnTo>
                    <a:lnTo>
                      <a:pt x="446" y="536"/>
                    </a:lnTo>
                    <a:lnTo>
                      <a:pt x="446" y="536"/>
                    </a:lnTo>
                    <a:lnTo>
                      <a:pt x="456" y="514"/>
                    </a:lnTo>
                    <a:lnTo>
                      <a:pt x="464" y="490"/>
                    </a:lnTo>
                    <a:lnTo>
                      <a:pt x="464" y="490"/>
                    </a:lnTo>
                    <a:lnTo>
                      <a:pt x="468" y="484"/>
                    </a:lnTo>
                    <a:lnTo>
                      <a:pt x="476" y="480"/>
                    </a:lnTo>
                    <a:lnTo>
                      <a:pt x="508" y="474"/>
                    </a:lnTo>
                    <a:lnTo>
                      <a:pt x="508" y="474"/>
                    </a:lnTo>
                    <a:lnTo>
                      <a:pt x="512" y="474"/>
                    </a:lnTo>
                    <a:lnTo>
                      <a:pt x="512" y="474"/>
                    </a:lnTo>
                    <a:lnTo>
                      <a:pt x="514" y="472"/>
                    </a:lnTo>
                    <a:lnTo>
                      <a:pt x="518" y="468"/>
                    </a:lnTo>
                    <a:lnTo>
                      <a:pt x="520" y="464"/>
                    </a:lnTo>
                    <a:lnTo>
                      <a:pt x="520" y="460"/>
                    </a:lnTo>
                    <a:lnTo>
                      <a:pt x="520" y="416"/>
                    </a:lnTo>
                    <a:lnTo>
                      <a:pt x="520" y="416"/>
                    </a:lnTo>
                    <a:lnTo>
                      <a:pt x="520" y="412"/>
                    </a:lnTo>
                    <a:lnTo>
                      <a:pt x="518" y="406"/>
                    </a:lnTo>
                    <a:lnTo>
                      <a:pt x="514" y="404"/>
                    </a:lnTo>
                    <a:lnTo>
                      <a:pt x="512" y="402"/>
                    </a:lnTo>
                    <a:lnTo>
                      <a:pt x="512" y="402"/>
                    </a:lnTo>
                    <a:lnTo>
                      <a:pt x="508" y="402"/>
                    </a:lnTo>
                    <a:lnTo>
                      <a:pt x="476" y="396"/>
                    </a:lnTo>
                    <a:lnTo>
                      <a:pt x="476" y="396"/>
                    </a:lnTo>
                    <a:lnTo>
                      <a:pt x="468" y="392"/>
                    </a:lnTo>
                    <a:lnTo>
                      <a:pt x="464" y="386"/>
                    </a:lnTo>
                    <a:lnTo>
                      <a:pt x="464" y="386"/>
                    </a:lnTo>
                    <a:lnTo>
                      <a:pt x="456" y="362"/>
                    </a:lnTo>
                    <a:lnTo>
                      <a:pt x="446" y="340"/>
                    </a:lnTo>
                    <a:lnTo>
                      <a:pt x="446" y="340"/>
                    </a:lnTo>
                    <a:lnTo>
                      <a:pt x="444" y="334"/>
                    </a:lnTo>
                    <a:lnTo>
                      <a:pt x="446" y="326"/>
                    </a:lnTo>
                    <a:lnTo>
                      <a:pt x="466" y="298"/>
                    </a:lnTo>
                    <a:lnTo>
                      <a:pt x="466" y="298"/>
                    </a:lnTo>
                    <a:lnTo>
                      <a:pt x="466" y="296"/>
                    </a:lnTo>
                    <a:lnTo>
                      <a:pt x="466" y="296"/>
                    </a:lnTo>
                    <a:lnTo>
                      <a:pt x="468" y="292"/>
                    </a:lnTo>
                    <a:lnTo>
                      <a:pt x="468" y="288"/>
                    </a:lnTo>
                    <a:lnTo>
                      <a:pt x="466" y="284"/>
                    </a:lnTo>
                    <a:lnTo>
                      <a:pt x="464" y="280"/>
                    </a:lnTo>
                    <a:lnTo>
                      <a:pt x="434" y="248"/>
                    </a:lnTo>
                    <a:lnTo>
                      <a:pt x="434" y="248"/>
                    </a:lnTo>
                    <a:lnTo>
                      <a:pt x="428" y="246"/>
                    </a:lnTo>
                    <a:lnTo>
                      <a:pt x="424" y="244"/>
                    </a:lnTo>
                    <a:lnTo>
                      <a:pt x="424" y="244"/>
                    </a:lnTo>
                    <a:lnTo>
                      <a:pt x="420" y="244"/>
                    </a:lnTo>
                    <a:lnTo>
                      <a:pt x="416" y="246"/>
                    </a:lnTo>
                    <a:lnTo>
                      <a:pt x="416" y="246"/>
                    </a:lnTo>
                    <a:lnTo>
                      <a:pt x="414" y="248"/>
                    </a:lnTo>
                    <a:lnTo>
                      <a:pt x="386" y="266"/>
                    </a:lnTo>
                    <a:lnTo>
                      <a:pt x="386" y="266"/>
                    </a:lnTo>
                    <a:lnTo>
                      <a:pt x="380" y="268"/>
                    </a:lnTo>
                    <a:lnTo>
                      <a:pt x="372" y="266"/>
                    </a:lnTo>
                    <a:lnTo>
                      <a:pt x="372" y="266"/>
                    </a:lnTo>
                    <a:lnTo>
                      <a:pt x="350" y="256"/>
                    </a:lnTo>
                    <a:lnTo>
                      <a:pt x="328" y="248"/>
                    </a:lnTo>
                    <a:lnTo>
                      <a:pt x="328" y="248"/>
                    </a:lnTo>
                    <a:lnTo>
                      <a:pt x="320" y="244"/>
                    </a:lnTo>
                    <a:lnTo>
                      <a:pt x="318" y="236"/>
                    </a:lnTo>
                    <a:lnTo>
                      <a:pt x="310" y="204"/>
                    </a:lnTo>
                    <a:lnTo>
                      <a:pt x="310" y="204"/>
                    </a:lnTo>
                    <a:lnTo>
                      <a:pt x="310" y="200"/>
                    </a:lnTo>
                    <a:lnTo>
                      <a:pt x="310" y="200"/>
                    </a:lnTo>
                    <a:lnTo>
                      <a:pt x="308" y="198"/>
                    </a:lnTo>
                    <a:lnTo>
                      <a:pt x="306" y="196"/>
                    </a:lnTo>
                    <a:lnTo>
                      <a:pt x="300" y="192"/>
                    </a:lnTo>
                    <a:lnTo>
                      <a:pt x="296" y="192"/>
                    </a:lnTo>
                    <a:lnTo>
                      <a:pt x="254" y="192"/>
                    </a:lnTo>
                    <a:lnTo>
                      <a:pt x="254" y="192"/>
                    </a:lnTo>
                    <a:lnTo>
                      <a:pt x="248" y="192"/>
                    </a:lnTo>
                    <a:lnTo>
                      <a:pt x="244" y="196"/>
                    </a:lnTo>
                    <a:lnTo>
                      <a:pt x="240" y="198"/>
                    </a:lnTo>
                    <a:lnTo>
                      <a:pt x="238" y="200"/>
                    </a:lnTo>
                    <a:lnTo>
                      <a:pt x="238" y="200"/>
                    </a:lnTo>
                    <a:lnTo>
                      <a:pt x="238" y="204"/>
                    </a:lnTo>
                    <a:lnTo>
                      <a:pt x="232" y="236"/>
                    </a:lnTo>
                    <a:lnTo>
                      <a:pt x="232" y="236"/>
                    </a:lnTo>
                    <a:lnTo>
                      <a:pt x="228" y="244"/>
                    </a:lnTo>
                    <a:lnTo>
                      <a:pt x="222" y="248"/>
                    </a:lnTo>
                    <a:lnTo>
                      <a:pt x="222" y="248"/>
                    </a:lnTo>
                    <a:lnTo>
                      <a:pt x="198" y="256"/>
                    </a:lnTo>
                    <a:lnTo>
                      <a:pt x="176" y="266"/>
                    </a:lnTo>
                    <a:lnTo>
                      <a:pt x="176" y="266"/>
                    </a:lnTo>
                    <a:lnTo>
                      <a:pt x="170" y="268"/>
                    </a:lnTo>
                    <a:lnTo>
                      <a:pt x="162" y="266"/>
                    </a:lnTo>
                    <a:lnTo>
                      <a:pt x="134" y="248"/>
                    </a:lnTo>
                    <a:lnTo>
                      <a:pt x="134" y="248"/>
                    </a:lnTo>
                    <a:lnTo>
                      <a:pt x="132" y="246"/>
                    </a:lnTo>
                    <a:lnTo>
                      <a:pt x="132" y="246"/>
                    </a:lnTo>
                    <a:lnTo>
                      <a:pt x="128" y="244"/>
                    </a:lnTo>
                    <a:lnTo>
                      <a:pt x="124" y="244"/>
                    </a:lnTo>
                    <a:lnTo>
                      <a:pt x="120" y="246"/>
                    </a:lnTo>
                    <a:lnTo>
                      <a:pt x="116" y="248"/>
                    </a:lnTo>
                    <a:lnTo>
                      <a:pt x="86" y="278"/>
                    </a:lnTo>
                    <a:lnTo>
                      <a:pt x="86" y="278"/>
                    </a:lnTo>
                    <a:lnTo>
                      <a:pt x="82" y="284"/>
                    </a:lnTo>
                    <a:lnTo>
                      <a:pt x="80" y="288"/>
                    </a:lnTo>
                    <a:lnTo>
                      <a:pt x="80" y="292"/>
                    </a:lnTo>
                    <a:lnTo>
                      <a:pt x="82" y="296"/>
                    </a:lnTo>
                    <a:lnTo>
                      <a:pt x="82" y="296"/>
                    </a:lnTo>
                    <a:lnTo>
                      <a:pt x="84" y="298"/>
                    </a:lnTo>
                    <a:lnTo>
                      <a:pt x="102" y="326"/>
                    </a:lnTo>
                    <a:lnTo>
                      <a:pt x="102" y="326"/>
                    </a:lnTo>
                    <a:lnTo>
                      <a:pt x="104" y="334"/>
                    </a:lnTo>
                    <a:lnTo>
                      <a:pt x="102" y="340"/>
                    </a:lnTo>
                    <a:lnTo>
                      <a:pt x="102" y="340"/>
                    </a:lnTo>
                    <a:lnTo>
                      <a:pt x="92" y="362"/>
                    </a:lnTo>
                    <a:lnTo>
                      <a:pt x="84" y="386"/>
                    </a:lnTo>
                    <a:lnTo>
                      <a:pt x="84" y="386"/>
                    </a:lnTo>
                    <a:lnTo>
                      <a:pt x="80" y="392"/>
                    </a:lnTo>
                    <a:lnTo>
                      <a:pt x="74" y="396"/>
                    </a:lnTo>
                    <a:lnTo>
                      <a:pt x="40" y="402"/>
                    </a:lnTo>
                    <a:lnTo>
                      <a:pt x="40" y="402"/>
                    </a:lnTo>
                    <a:lnTo>
                      <a:pt x="38" y="402"/>
                    </a:lnTo>
                    <a:lnTo>
                      <a:pt x="38" y="402"/>
                    </a:lnTo>
                    <a:lnTo>
                      <a:pt x="34" y="404"/>
                    </a:lnTo>
                    <a:lnTo>
                      <a:pt x="32" y="406"/>
                    </a:lnTo>
                    <a:lnTo>
                      <a:pt x="30" y="412"/>
                    </a:lnTo>
                    <a:lnTo>
                      <a:pt x="28" y="416"/>
                    </a:lnTo>
                    <a:lnTo>
                      <a:pt x="28" y="460"/>
                    </a:lnTo>
                    <a:lnTo>
                      <a:pt x="28" y="460"/>
                    </a:lnTo>
                    <a:lnTo>
                      <a:pt x="30" y="464"/>
                    </a:lnTo>
                    <a:lnTo>
                      <a:pt x="32" y="468"/>
                    </a:lnTo>
                    <a:lnTo>
                      <a:pt x="34" y="472"/>
                    </a:lnTo>
                    <a:lnTo>
                      <a:pt x="38" y="474"/>
                    </a:lnTo>
                    <a:lnTo>
                      <a:pt x="38" y="474"/>
                    </a:lnTo>
                    <a:lnTo>
                      <a:pt x="40" y="474"/>
                    </a:lnTo>
                    <a:lnTo>
                      <a:pt x="74" y="480"/>
                    </a:lnTo>
                    <a:lnTo>
                      <a:pt x="74" y="480"/>
                    </a:lnTo>
                    <a:lnTo>
                      <a:pt x="80" y="484"/>
                    </a:lnTo>
                    <a:lnTo>
                      <a:pt x="84" y="490"/>
                    </a:lnTo>
                    <a:lnTo>
                      <a:pt x="84" y="490"/>
                    </a:lnTo>
                    <a:lnTo>
                      <a:pt x="92" y="514"/>
                    </a:lnTo>
                    <a:lnTo>
                      <a:pt x="102" y="536"/>
                    </a:lnTo>
                    <a:lnTo>
                      <a:pt x="102" y="536"/>
                    </a:lnTo>
                    <a:lnTo>
                      <a:pt x="104" y="540"/>
                    </a:lnTo>
                    <a:lnTo>
                      <a:pt x="104" y="546"/>
                    </a:lnTo>
                    <a:lnTo>
                      <a:pt x="102" y="550"/>
                    </a:lnTo>
                    <a:lnTo>
                      <a:pt x="98" y="554"/>
                    </a:lnTo>
                    <a:lnTo>
                      <a:pt x="98" y="554"/>
                    </a:lnTo>
                    <a:lnTo>
                      <a:pt x="92" y="556"/>
                    </a:lnTo>
                    <a:lnTo>
                      <a:pt x="86" y="556"/>
                    </a:lnTo>
                    <a:lnTo>
                      <a:pt x="82" y="554"/>
                    </a:lnTo>
                    <a:lnTo>
                      <a:pt x="78" y="550"/>
                    </a:lnTo>
                    <a:lnTo>
                      <a:pt x="78" y="550"/>
                    </a:lnTo>
                    <a:lnTo>
                      <a:pt x="68" y="528"/>
                    </a:lnTo>
                    <a:lnTo>
                      <a:pt x="60" y="506"/>
                    </a:lnTo>
                    <a:lnTo>
                      <a:pt x="36" y="502"/>
                    </a:lnTo>
                    <a:lnTo>
                      <a:pt x="36" y="502"/>
                    </a:lnTo>
                    <a:lnTo>
                      <a:pt x="28" y="500"/>
                    </a:lnTo>
                    <a:lnTo>
                      <a:pt x="22" y="496"/>
                    </a:lnTo>
                    <a:lnTo>
                      <a:pt x="16" y="492"/>
                    </a:lnTo>
                    <a:lnTo>
                      <a:pt x="10" y="488"/>
                    </a:lnTo>
                    <a:lnTo>
                      <a:pt x="6" y="480"/>
                    </a:lnTo>
                    <a:lnTo>
                      <a:pt x="2" y="474"/>
                    </a:lnTo>
                    <a:lnTo>
                      <a:pt x="0" y="466"/>
                    </a:lnTo>
                    <a:lnTo>
                      <a:pt x="0" y="460"/>
                    </a:lnTo>
                    <a:lnTo>
                      <a:pt x="0" y="416"/>
                    </a:lnTo>
                    <a:lnTo>
                      <a:pt x="0" y="416"/>
                    </a:lnTo>
                    <a:lnTo>
                      <a:pt x="0" y="410"/>
                    </a:lnTo>
                    <a:lnTo>
                      <a:pt x="2" y="402"/>
                    </a:lnTo>
                    <a:lnTo>
                      <a:pt x="6" y="394"/>
                    </a:lnTo>
                    <a:lnTo>
                      <a:pt x="10" y="388"/>
                    </a:lnTo>
                    <a:lnTo>
                      <a:pt x="16" y="384"/>
                    </a:lnTo>
                    <a:lnTo>
                      <a:pt x="22" y="378"/>
                    </a:lnTo>
                    <a:lnTo>
                      <a:pt x="28" y="376"/>
                    </a:lnTo>
                    <a:lnTo>
                      <a:pt x="36" y="374"/>
                    </a:lnTo>
                    <a:lnTo>
                      <a:pt x="60" y="370"/>
                    </a:lnTo>
                    <a:lnTo>
                      <a:pt x="60" y="370"/>
                    </a:lnTo>
                    <a:lnTo>
                      <a:pt x="66" y="352"/>
                    </a:lnTo>
                    <a:lnTo>
                      <a:pt x="74" y="334"/>
                    </a:lnTo>
                    <a:lnTo>
                      <a:pt x="60" y="314"/>
                    </a:lnTo>
                    <a:lnTo>
                      <a:pt x="60" y="314"/>
                    </a:lnTo>
                    <a:lnTo>
                      <a:pt x="56" y="308"/>
                    </a:lnTo>
                    <a:lnTo>
                      <a:pt x="54" y="300"/>
                    </a:lnTo>
                    <a:lnTo>
                      <a:pt x="52" y="294"/>
                    </a:lnTo>
                    <a:lnTo>
                      <a:pt x="52" y="286"/>
                    </a:lnTo>
                    <a:lnTo>
                      <a:pt x="54" y="278"/>
                    </a:lnTo>
                    <a:lnTo>
                      <a:pt x="56" y="272"/>
                    </a:lnTo>
                    <a:lnTo>
                      <a:pt x="60" y="264"/>
                    </a:lnTo>
                    <a:lnTo>
                      <a:pt x="66" y="260"/>
                    </a:lnTo>
                    <a:lnTo>
                      <a:pt x="96" y="228"/>
                    </a:lnTo>
                    <a:lnTo>
                      <a:pt x="96" y="228"/>
                    </a:lnTo>
                    <a:lnTo>
                      <a:pt x="102" y="224"/>
                    </a:lnTo>
                    <a:lnTo>
                      <a:pt x="108" y="220"/>
                    </a:lnTo>
                    <a:lnTo>
                      <a:pt x="114" y="218"/>
                    </a:lnTo>
                    <a:lnTo>
                      <a:pt x="122" y="216"/>
                    </a:lnTo>
                    <a:lnTo>
                      <a:pt x="130" y="216"/>
                    </a:lnTo>
                    <a:lnTo>
                      <a:pt x="138" y="218"/>
                    </a:lnTo>
                    <a:lnTo>
                      <a:pt x="144" y="220"/>
                    </a:lnTo>
                    <a:lnTo>
                      <a:pt x="150" y="224"/>
                    </a:lnTo>
                    <a:lnTo>
                      <a:pt x="170" y="238"/>
                    </a:lnTo>
                    <a:lnTo>
                      <a:pt x="170" y="238"/>
                    </a:lnTo>
                    <a:lnTo>
                      <a:pt x="188" y="230"/>
                    </a:lnTo>
                    <a:lnTo>
                      <a:pt x="206" y="222"/>
                    </a:lnTo>
                    <a:lnTo>
                      <a:pt x="210" y="200"/>
                    </a:lnTo>
                    <a:lnTo>
                      <a:pt x="210" y="200"/>
                    </a:lnTo>
                    <a:lnTo>
                      <a:pt x="212" y="192"/>
                    </a:lnTo>
                    <a:lnTo>
                      <a:pt x="216" y="186"/>
                    </a:lnTo>
                    <a:lnTo>
                      <a:pt x="220" y="180"/>
                    </a:lnTo>
                    <a:lnTo>
                      <a:pt x="226" y="174"/>
                    </a:lnTo>
                    <a:lnTo>
                      <a:pt x="232" y="170"/>
                    </a:lnTo>
                    <a:lnTo>
                      <a:pt x="238" y="166"/>
                    </a:lnTo>
                    <a:lnTo>
                      <a:pt x="246" y="164"/>
                    </a:lnTo>
                    <a:lnTo>
                      <a:pt x="254" y="164"/>
                    </a:lnTo>
                    <a:lnTo>
                      <a:pt x="296" y="164"/>
                    </a:lnTo>
                    <a:lnTo>
                      <a:pt x="296" y="164"/>
                    </a:lnTo>
                    <a:lnTo>
                      <a:pt x="304" y="164"/>
                    </a:lnTo>
                    <a:lnTo>
                      <a:pt x="310" y="166"/>
                    </a:lnTo>
                    <a:lnTo>
                      <a:pt x="318" y="170"/>
                    </a:lnTo>
                    <a:lnTo>
                      <a:pt x="324" y="174"/>
                    </a:lnTo>
                    <a:lnTo>
                      <a:pt x="330" y="180"/>
                    </a:lnTo>
                    <a:lnTo>
                      <a:pt x="334" y="186"/>
                    </a:lnTo>
                    <a:lnTo>
                      <a:pt x="336" y="192"/>
                    </a:lnTo>
                    <a:lnTo>
                      <a:pt x="338" y="200"/>
                    </a:lnTo>
                    <a:lnTo>
                      <a:pt x="342" y="222"/>
                    </a:lnTo>
                    <a:lnTo>
                      <a:pt x="342" y="222"/>
                    </a:lnTo>
                    <a:lnTo>
                      <a:pt x="360" y="230"/>
                    </a:lnTo>
                    <a:lnTo>
                      <a:pt x="378" y="238"/>
                    </a:lnTo>
                    <a:lnTo>
                      <a:pt x="398" y="224"/>
                    </a:lnTo>
                    <a:lnTo>
                      <a:pt x="398" y="224"/>
                    </a:lnTo>
                    <a:lnTo>
                      <a:pt x="404" y="220"/>
                    </a:lnTo>
                    <a:lnTo>
                      <a:pt x="412" y="218"/>
                    </a:lnTo>
                    <a:lnTo>
                      <a:pt x="418" y="216"/>
                    </a:lnTo>
                    <a:lnTo>
                      <a:pt x="426" y="216"/>
                    </a:lnTo>
                    <a:lnTo>
                      <a:pt x="426" y="216"/>
                    </a:lnTo>
                    <a:lnTo>
                      <a:pt x="442" y="220"/>
                    </a:lnTo>
                    <a:lnTo>
                      <a:pt x="448" y="224"/>
                    </a:lnTo>
                    <a:lnTo>
                      <a:pt x="454" y="230"/>
                    </a:lnTo>
                    <a:lnTo>
                      <a:pt x="484" y="260"/>
                    </a:lnTo>
                    <a:lnTo>
                      <a:pt x="484" y="260"/>
                    </a:lnTo>
                    <a:lnTo>
                      <a:pt x="488" y="264"/>
                    </a:lnTo>
                    <a:lnTo>
                      <a:pt x="492" y="272"/>
                    </a:lnTo>
                    <a:lnTo>
                      <a:pt x="494" y="278"/>
                    </a:lnTo>
                    <a:lnTo>
                      <a:pt x="496" y="286"/>
                    </a:lnTo>
                    <a:lnTo>
                      <a:pt x="496" y="294"/>
                    </a:lnTo>
                    <a:lnTo>
                      <a:pt x="494" y="300"/>
                    </a:lnTo>
                    <a:lnTo>
                      <a:pt x="492" y="308"/>
                    </a:lnTo>
                    <a:lnTo>
                      <a:pt x="488" y="314"/>
                    </a:lnTo>
                    <a:lnTo>
                      <a:pt x="474" y="334"/>
                    </a:lnTo>
                    <a:lnTo>
                      <a:pt x="474" y="334"/>
                    </a:lnTo>
                    <a:lnTo>
                      <a:pt x="482" y="352"/>
                    </a:lnTo>
                    <a:lnTo>
                      <a:pt x="490" y="370"/>
                    </a:lnTo>
                    <a:lnTo>
                      <a:pt x="512" y="374"/>
                    </a:lnTo>
                    <a:lnTo>
                      <a:pt x="512" y="374"/>
                    </a:lnTo>
                    <a:lnTo>
                      <a:pt x="520" y="376"/>
                    </a:lnTo>
                    <a:lnTo>
                      <a:pt x="528" y="378"/>
                    </a:lnTo>
                    <a:lnTo>
                      <a:pt x="534" y="384"/>
                    </a:lnTo>
                    <a:lnTo>
                      <a:pt x="538" y="388"/>
                    </a:lnTo>
                    <a:lnTo>
                      <a:pt x="542" y="396"/>
                    </a:lnTo>
                    <a:lnTo>
                      <a:pt x="546" y="402"/>
                    </a:lnTo>
                    <a:lnTo>
                      <a:pt x="548" y="410"/>
                    </a:lnTo>
                    <a:lnTo>
                      <a:pt x="548" y="416"/>
                    </a:lnTo>
                    <a:lnTo>
                      <a:pt x="548" y="460"/>
                    </a:lnTo>
                    <a:lnTo>
                      <a:pt x="548" y="460"/>
                    </a:lnTo>
                    <a:lnTo>
                      <a:pt x="548" y="466"/>
                    </a:lnTo>
                    <a:lnTo>
                      <a:pt x="546" y="474"/>
                    </a:lnTo>
                    <a:lnTo>
                      <a:pt x="542" y="480"/>
                    </a:lnTo>
                    <a:lnTo>
                      <a:pt x="538" y="488"/>
                    </a:lnTo>
                    <a:lnTo>
                      <a:pt x="534" y="492"/>
                    </a:lnTo>
                    <a:lnTo>
                      <a:pt x="528" y="498"/>
                    </a:lnTo>
                    <a:lnTo>
                      <a:pt x="520" y="500"/>
                    </a:lnTo>
                    <a:lnTo>
                      <a:pt x="512" y="502"/>
                    </a:lnTo>
                    <a:lnTo>
                      <a:pt x="490" y="506"/>
                    </a:lnTo>
                    <a:lnTo>
                      <a:pt x="490" y="506"/>
                    </a:lnTo>
                    <a:lnTo>
                      <a:pt x="482" y="524"/>
                    </a:lnTo>
                    <a:lnTo>
                      <a:pt x="474" y="542"/>
                    </a:lnTo>
                    <a:lnTo>
                      <a:pt x="488" y="562"/>
                    </a:lnTo>
                    <a:lnTo>
                      <a:pt x="488" y="562"/>
                    </a:lnTo>
                    <a:lnTo>
                      <a:pt x="492" y="568"/>
                    </a:lnTo>
                    <a:lnTo>
                      <a:pt x="494" y="574"/>
                    </a:lnTo>
                    <a:lnTo>
                      <a:pt x="496" y="582"/>
                    </a:lnTo>
                    <a:lnTo>
                      <a:pt x="496" y="590"/>
                    </a:lnTo>
                    <a:lnTo>
                      <a:pt x="494" y="598"/>
                    </a:lnTo>
                    <a:lnTo>
                      <a:pt x="492" y="604"/>
                    </a:lnTo>
                    <a:lnTo>
                      <a:pt x="488" y="610"/>
                    </a:lnTo>
                    <a:lnTo>
                      <a:pt x="484" y="616"/>
                    </a:lnTo>
                    <a:lnTo>
                      <a:pt x="452" y="646"/>
                    </a:lnTo>
                    <a:lnTo>
                      <a:pt x="452" y="646"/>
                    </a:lnTo>
                    <a:lnTo>
                      <a:pt x="448" y="652"/>
                    </a:lnTo>
                    <a:lnTo>
                      <a:pt x="442" y="656"/>
                    </a:lnTo>
                    <a:lnTo>
                      <a:pt x="434" y="658"/>
                    </a:lnTo>
                    <a:lnTo>
                      <a:pt x="426" y="660"/>
                    </a:lnTo>
                    <a:lnTo>
                      <a:pt x="426" y="660"/>
                    </a:lnTo>
                    <a:lnTo>
                      <a:pt x="418" y="660"/>
                    </a:lnTo>
                    <a:lnTo>
                      <a:pt x="412" y="658"/>
                    </a:lnTo>
                    <a:lnTo>
                      <a:pt x="404" y="656"/>
                    </a:lnTo>
                    <a:lnTo>
                      <a:pt x="398" y="652"/>
                    </a:lnTo>
                    <a:lnTo>
                      <a:pt x="378" y="638"/>
                    </a:lnTo>
                    <a:lnTo>
                      <a:pt x="378" y="638"/>
                    </a:lnTo>
                    <a:lnTo>
                      <a:pt x="360" y="646"/>
                    </a:lnTo>
                    <a:lnTo>
                      <a:pt x="342" y="652"/>
                    </a:lnTo>
                    <a:lnTo>
                      <a:pt x="338" y="676"/>
                    </a:lnTo>
                    <a:lnTo>
                      <a:pt x="338" y="676"/>
                    </a:lnTo>
                    <a:lnTo>
                      <a:pt x="336" y="684"/>
                    </a:lnTo>
                    <a:lnTo>
                      <a:pt x="334" y="690"/>
                    </a:lnTo>
                    <a:lnTo>
                      <a:pt x="330" y="696"/>
                    </a:lnTo>
                    <a:lnTo>
                      <a:pt x="324" y="702"/>
                    </a:lnTo>
                    <a:lnTo>
                      <a:pt x="318" y="706"/>
                    </a:lnTo>
                    <a:lnTo>
                      <a:pt x="310" y="710"/>
                    </a:lnTo>
                    <a:lnTo>
                      <a:pt x="302" y="712"/>
                    </a:lnTo>
                    <a:lnTo>
                      <a:pt x="296" y="712"/>
                    </a:lnTo>
                    <a:lnTo>
                      <a:pt x="252" y="712"/>
                    </a:lnTo>
                    <a:lnTo>
                      <a:pt x="252" y="712"/>
                    </a:lnTo>
                    <a:lnTo>
                      <a:pt x="246" y="712"/>
                    </a:lnTo>
                    <a:lnTo>
                      <a:pt x="238" y="710"/>
                    </a:lnTo>
                    <a:lnTo>
                      <a:pt x="232" y="706"/>
                    </a:lnTo>
                    <a:lnTo>
                      <a:pt x="226" y="702"/>
                    </a:lnTo>
                    <a:lnTo>
                      <a:pt x="220" y="696"/>
                    </a:lnTo>
                    <a:lnTo>
                      <a:pt x="216" y="690"/>
                    </a:lnTo>
                    <a:lnTo>
                      <a:pt x="212" y="684"/>
                    </a:lnTo>
                    <a:lnTo>
                      <a:pt x="210" y="676"/>
                    </a:lnTo>
                    <a:lnTo>
                      <a:pt x="206" y="652"/>
                    </a:lnTo>
                    <a:lnTo>
                      <a:pt x="206" y="652"/>
                    </a:lnTo>
                    <a:lnTo>
                      <a:pt x="176" y="640"/>
                    </a:lnTo>
                    <a:lnTo>
                      <a:pt x="118" y="744"/>
                    </a:lnTo>
                    <a:lnTo>
                      <a:pt x="112" y="752"/>
                    </a:lnTo>
                    <a:lnTo>
                      <a:pt x="112" y="752"/>
                    </a:lnTo>
                    <a:lnTo>
                      <a:pt x="132" y="762"/>
                    </a:lnTo>
                    <a:lnTo>
                      <a:pt x="150" y="770"/>
                    </a:lnTo>
                    <a:lnTo>
                      <a:pt x="170" y="776"/>
                    </a:lnTo>
                    <a:lnTo>
                      <a:pt x="190" y="782"/>
                    </a:lnTo>
                    <a:lnTo>
                      <a:pt x="212" y="786"/>
                    </a:lnTo>
                    <a:lnTo>
                      <a:pt x="232" y="788"/>
                    </a:lnTo>
                    <a:lnTo>
                      <a:pt x="254" y="790"/>
                    </a:lnTo>
                    <a:lnTo>
                      <a:pt x="274" y="792"/>
                    </a:lnTo>
                    <a:lnTo>
                      <a:pt x="274" y="792"/>
                    </a:lnTo>
                    <a:lnTo>
                      <a:pt x="310" y="790"/>
                    </a:lnTo>
                    <a:lnTo>
                      <a:pt x="346" y="784"/>
                    </a:lnTo>
                    <a:lnTo>
                      <a:pt x="380" y="776"/>
                    </a:lnTo>
                    <a:lnTo>
                      <a:pt x="412" y="764"/>
                    </a:lnTo>
                    <a:lnTo>
                      <a:pt x="442" y="748"/>
                    </a:lnTo>
                    <a:lnTo>
                      <a:pt x="472" y="730"/>
                    </a:lnTo>
                    <a:lnTo>
                      <a:pt x="500" y="710"/>
                    </a:lnTo>
                    <a:lnTo>
                      <a:pt x="524" y="688"/>
                    </a:lnTo>
                    <a:lnTo>
                      <a:pt x="546" y="662"/>
                    </a:lnTo>
                    <a:lnTo>
                      <a:pt x="568" y="636"/>
                    </a:lnTo>
                    <a:lnTo>
                      <a:pt x="586" y="606"/>
                    </a:lnTo>
                    <a:lnTo>
                      <a:pt x="600" y="576"/>
                    </a:lnTo>
                    <a:lnTo>
                      <a:pt x="612" y="542"/>
                    </a:lnTo>
                    <a:lnTo>
                      <a:pt x="620" y="510"/>
                    </a:lnTo>
                    <a:lnTo>
                      <a:pt x="626" y="474"/>
                    </a:lnTo>
                    <a:lnTo>
                      <a:pt x="628" y="438"/>
                    </a:lnTo>
                    <a:lnTo>
                      <a:pt x="628" y="438"/>
                    </a:lnTo>
                    <a:lnTo>
                      <a:pt x="626" y="402"/>
                    </a:lnTo>
                    <a:lnTo>
                      <a:pt x="620" y="366"/>
                    </a:lnTo>
                    <a:lnTo>
                      <a:pt x="612" y="332"/>
                    </a:lnTo>
                    <a:lnTo>
                      <a:pt x="600" y="300"/>
                    </a:lnTo>
                    <a:lnTo>
                      <a:pt x="586" y="270"/>
                    </a:lnTo>
                    <a:lnTo>
                      <a:pt x="568" y="240"/>
                    </a:lnTo>
                    <a:lnTo>
                      <a:pt x="546" y="214"/>
                    </a:lnTo>
                    <a:lnTo>
                      <a:pt x="524" y="188"/>
                    </a:lnTo>
                    <a:lnTo>
                      <a:pt x="500" y="166"/>
                    </a:lnTo>
                    <a:lnTo>
                      <a:pt x="472" y="144"/>
                    </a:lnTo>
                    <a:lnTo>
                      <a:pt x="442" y="128"/>
                    </a:lnTo>
                    <a:lnTo>
                      <a:pt x="412" y="112"/>
                    </a:lnTo>
                    <a:lnTo>
                      <a:pt x="380" y="100"/>
                    </a:lnTo>
                    <a:lnTo>
                      <a:pt x="346" y="92"/>
                    </a:lnTo>
                    <a:lnTo>
                      <a:pt x="310" y="86"/>
                    </a:lnTo>
                    <a:lnTo>
                      <a:pt x="274" y="84"/>
                    </a:lnTo>
                    <a:lnTo>
                      <a:pt x="274" y="84"/>
                    </a:lnTo>
                    <a:lnTo>
                      <a:pt x="246" y="86"/>
                    </a:lnTo>
                    <a:lnTo>
                      <a:pt x="218" y="88"/>
                    </a:lnTo>
                    <a:lnTo>
                      <a:pt x="190" y="94"/>
                    </a:lnTo>
                    <a:lnTo>
                      <a:pt x="162" y="102"/>
                    </a:lnTo>
                    <a:lnTo>
                      <a:pt x="174" y="130"/>
                    </a:lnTo>
                    <a:lnTo>
                      <a:pt x="186" y="164"/>
                    </a:lnTo>
                    <a:lnTo>
                      <a:pt x="186" y="164"/>
                    </a:lnTo>
                    <a:lnTo>
                      <a:pt x="186" y="170"/>
                    </a:lnTo>
                    <a:lnTo>
                      <a:pt x="184" y="178"/>
                    </a:lnTo>
                    <a:lnTo>
                      <a:pt x="184" y="178"/>
                    </a:lnTo>
                    <a:lnTo>
                      <a:pt x="176" y="182"/>
                    </a:lnTo>
                    <a:lnTo>
                      <a:pt x="170" y="182"/>
                    </a:lnTo>
                    <a:lnTo>
                      <a:pt x="40" y="144"/>
                    </a:lnTo>
                    <a:lnTo>
                      <a:pt x="40" y="144"/>
                    </a:lnTo>
                    <a:lnTo>
                      <a:pt x="34" y="142"/>
                    </a:lnTo>
                    <a:lnTo>
                      <a:pt x="30" y="136"/>
                    </a:lnTo>
                    <a:lnTo>
                      <a:pt x="30" y="136"/>
                    </a:lnTo>
                    <a:lnTo>
                      <a:pt x="28" y="130"/>
                    </a:lnTo>
                    <a:lnTo>
                      <a:pt x="32" y="124"/>
                    </a:lnTo>
                    <a:lnTo>
                      <a:pt x="104" y="8"/>
                    </a:lnTo>
                    <a:lnTo>
                      <a:pt x="104" y="8"/>
                    </a:lnTo>
                    <a:lnTo>
                      <a:pt x="108" y="4"/>
                    </a:lnTo>
                    <a:lnTo>
                      <a:pt x="112" y="0"/>
                    </a:lnTo>
                    <a:lnTo>
                      <a:pt x="118" y="0"/>
                    </a:lnTo>
                    <a:lnTo>
                      <a:pt x="124" y="2"/>
                    </a:lnTo>
                    <a:lnTo>
                      <a:pt x="124" y="2"/>
                    </a:lnTo>
                    <a:lnTo>
                      <a:pt x="128" y="6"/>
                    </a:lnTo>
                    <a:lnTo>
                      <a:pt x="130" y="12"/>
                    </a:lnTo>
                    <a:lnTo>
                      <a:pt x="130" y="16"/>
                    </a:lnTo>
                    <a:lnTo>
                      <a:pt x="128" y="22"/>
                    </a:lnTo>
                    <a:lnTo>
                      <a:pt x="64" y="122"/>
                    </a:lnTo>
                    <a:lnTo>
                      <a:pt x="150" y="148"/>
                    </a:lnTo>
                    <a:lnTo>
                      <a:pt x="148" y="140"/>
                    </a:lnTo>
                    <a:lnTo>
                      <a:pt x="130" y="100"/>
                    </a:lnTo>
                    <a:lnTo>
                      <a:pt x="130" y="100"/>
                    </a:lnTo>
                    <a:lnTo>
                      <a:pt x="130" y="94"/>
                    </a:lnTo>
                    <a:lnTo>
                      <a:pt x="130" y="88"/>
                    </a:lnTo>
                    <a:lnTo>
                      <a:pt x="130" y="88"/>
                    </a:lnTo>
                    <a:lnTo>
                      <a:pt x="134" y="84"/>
                    </a:lnTo>
                    <a:lnTo>
                      <a:pt x="138" y="82"/>
                    </a:lnTo>
                    <a:lnTo>
                      <a:pt x="138" y="82"/>
                    </a:lnTo>
                    <a:lnTo>
                      <a:pt x="172" y="70"/>
                    </a:lnTo>
                    <a:lnTo>
                      <a:pt x="206" y="62"/>
                    </a:lnTo>
                    <a:lnTo>
                      <a:pt x="240" y="58"/>
                    </a:lnTo>
                    <a:lnTo>
                      <a:pt x="274" y="56"/>
                    </a:lnTo>
                    <a:lnTo>
                      <a:pt x="274" y="56"/>
                    </a:lnTo>
                    <a:lnTo>
                      <a:pt x="314" y="58"/>
                    </a:lnTo>
                    <a:lnTo>
                      <a:pt x="352" y="64"/>
                    </a:lnTo>
                    <a:lnTo>
                      <a:pt x="388" y="74"/>
                    </a:lnTo>
                    <a:lnTo>
                      <a:pt x="422" y="86"/>
                    </a:lnTo>
                    <a:lnTo>
                      <a:pt x="456" y="102"/>
                    </a:lnTo>
                    <a:lnTo>
                      <a:pt x="488" y="122"/>
                    </a:lnTo>
                    <a:lnTo>
                      <a:pt x="516" y="144"/>
                    </a:lnTo>
                    <a:lnTo>
                      <a:pt x="544" y="168"/>
                    </a:lnTo>
                    <a:lnTo>
                      <a:pt x="568" y="196"/>
                    </a:lnTo>
                    <a:lnTo>
                      <a:pt x="590" y="224"/>
                    </a:lnTo>
                    <a:lnTo>
                      <a:pt x="610" y="256"/>
                    </a:lnTo>
                    <a:lnTo>
                      <a:pt x="626" y="290"/>
                    </a:lnTo>
                    <a:lnTo>
                      <a:pt x="638" y="324"/>
                    </a:lnTo>
                    <a:lnTo>
                      <a:pt x="648" y="362"/>
                    </a:lnTo>
                    <a:lnTo>
                      <a:pt x="654" y="398"/>
                    </a:lnTo>
                    <a:lnTo>
                      <a:pt x="656" y="438"/>
                    </a:lnTo>
                    <a:lnTo>
                      <a:pt x="656" y="438"/>
                    </a:lnTo>
                    <a:lnTo>
                      <a:pt x="654" y="476"/>
                    </a:lnTo>
                    <a:lnTo>
                      <a:pt x="648" y="514"/>
                    </a:lnTo>
                    <a:lnTo>
                      <a:pt x="638" y="552"/>
                    </a:lnTo>
                    <a:lnTo>
                      <a:pt x="626" y="586"/>
                    </a:lnTo>
                    <a:lnTo>
                      <a:pt x="610" y="620"/>
                    </a:lnTo>
                    <a:lnTo>
                      <a:pt x="590" y="652"/>
                    </a:lnTo>
                    <a:lnTo>
                      <a:pt x="568" y="680"/>
                    </a:lnTo>
                    <a:lnTo>
                      <a:pt x="544" y="708"/>
                    </a:lnTo>
                    <a:lnTo>
                      <a:pt x="516" y="732"/>
                    </a:lnTo>
                    <a:lnTo>
                      <a:pt x="488" y="754"/>
                    </a:lnTo>
                    <a:lnTo>
                      <a:pt x="456" y="774"/>
                    </a:lnTo>
                    <a:lnTo>
                      <a:pt x="422" y="790"/>
                    </a:lnTo>
                    <a:lnTo>
                      <a:pt x="388" y="802"/>
                    </a:lnTo>
                    <a:lnTo>
                      <a:pt x="352" y="812"/>
                    </a:lnTo>
                    <a:lnTo>
                      <a:pt x="314" y="818"/>
                    </a:lnTo>
                    <a:lnTo>
                      <a:pt x="274" y="820"/>
                    </a:lnTo>
                    <a:lnTo>
                      <a:pt x="274" y="820"/>
                    </a:lnTo>
                    <a:close/>
                  </a:path>
                </a:pathLst>
              </a:custGeom>
              <a:grpFill/>
              <a:ln>
                <a:noFill/>
              </a:ln>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grpSp>
        <p:grpSp>
          <p:nvGrpSpPr>
            <p:cNvPr id="371" name="Group 370"/>
            <p:cNvGrpSpPr/>
            <p:nvPr/>
          </p:nvGrpSpPr>
          <p:grpSpPr>
            <a:xfrm>
              <a:off x="9872701" y="3060921"/>
              <a:ext cx="1878892" cy="1542780"/>
              <a:chOff x="9910801" y="2434267"/>
              <a:chExt cx="1878892" cy="1542780"/>
            </a:xfrm>
          </p:grpSpPr>
          <p:sp>
            <p:nvSpPr>
              <p:cNvPr id="372" name="TextBox 371"/>
              <p:cNvSpPr txBox="1"/>
              <p:nvPr/>
            </p:nvSpPr>
            <p:spPr>
              <a:xfrm>
                <a:off x="9910801" y="3234749"/>
                <a:ext cx="1090058" cy="461622"/>
              </a:xfrm>
              <a:prstGeom prst="rect">
                <a:avLst/>
              </a:prstGeom>
              <a:noFill/>
            </p:spPr>
            <p:txBody>
              <a:bodyPr wrap="square" lIns="167988" tIns="134390" rIns="167988" bIns="134390" rtlCol="0">
                <a:spAutoFit/>
              </a:bodyPr>
              <a:lstStyle/>
              <a:p>
                <a:pPr defTabSz="856672">
                  <a:lnSpc>
                    <a:spcPct val="90000"/>
                  </a:lnSpc>
                  <a:spcBef>
                    <a:spcPct val="0"/>
                  </a:spcBef>
                  <a:spcAft>
                    <a:spcPts val="551"/>
                  </a:spcAft>
                  <a:defRPr/>
                </a:pPr>
                <a:r>
                  <a:rPr lang="en-US" sz="1102" kern="0" spc="-27" dirty="0">
                    <a:solidFill>
                      <a:srgbClr val="002050"/>
                    </a:solidFill>
                    <a:latin typeface="Segoe UI Semilight" panose="020B0402040204020203" pitchFamily="34" charset="0"/>
                    <a:cs typeface="Segoe UI Semilight" panose="020B0402040204020203" pitchFamily="34" charset="0"/>
                  </a:rPr>
                  <a:t>Apps</a:t>
                </a:r>
              </a:p>
            </p:txBody>
          </p:sp>
          <p:grpSp>
            <p:nvGrpSpPr>
              <p:cNvPr id="373" name="Group 372"/>
              <p:cNvGrpSpPr/>
              <p:nvPr/>
            </p:nvGrpSpPr>
            <p:grpSpPr>
              <a:xfrm>
                <a:off x="10012430" y="2917883"/>
                <a:ext cx="462396" cy="357669"/>
                <a:chOff x="5007615" y="2323753"/>
                <a:chExt cx="649029" cy="502032"/>
              </a:xfrm>
              <a:solidFill>
                <a:srgbClr val="0078D7"/>
              </a:solidFill>
            </p:grpSpPr>
            <p:sp>
              <p:nvSpPr>
                <p:cNvPr id="383" name="Freeform 382"/>
                <p:cNvSpPr>
                  <a:spLocks/>
                </p:cNvSpPr>
                <p:nvPr/>
              </p:nvSpPr>
              <p:spPr bwMode="auto">
                <a:xfrm>
                  <a:off x="5175285" y="2455306"/>
                  <a:ext cx="313688" cy="314768"/>
                </a:xfrm>
                <a:custGeom>
                  <a:avLst/>
                  <a:gdLst>
                    <a:gd name="connsiteX0" fmla="*/ 193673 w 319670"/>
                    <a:gd name="connsiteY0" fmla="*/ 280605 h 320770"/>
                    <a:gd name="connsiteX1" fmla="*/ 165888 w 319670"/>
                    <a:gd name="connsiteY1" fmla="*/ 281661 h 320770"/>
                    <a:gd name="connsiteX2" fmla="*/ 167460 w 319670"/>
                    <a:gd name="connsiteY2" fmla="*/ 307015 h 320770"/>
                    <a:gd name="connsiteX3" fmla="*/ 181091 w 319670"/>
                    <a:gd name="connsiteY3" fmla="*/ 305430 h 320770"/>
                    <a:gd name="connsiteX4" fmla="*/ 193673 w 319670"/>
                    <a:gd name="connsiteY4" fmla="*/ 280605 h 320770"/>
                    <a:gd name="connsiteX5" fmla="*/ 127923 w 319670"/>
                    <a:gd name="connsiteY5" fmla="*/ 280054 h 320770"/>
                    <a:gd name="connsiteX6" fmla="*/ 141657 w 319670"/>
                    <a:gd name="connsiteY6" fmla="*/ 305957 h 320770"/>
                    <a:gd name="connsiteX7" fmla="*/ 154333 w 319670"/>
                    <a:gd name="connsiteY7" fmla="*/ 307015 h 320770"/>
                    <a:gd name="connsiteX8" fmla="*/ 152749 w 319670"/>
                    <a:gd name="connsiteY8" fmla="*/ 281640 h 320770"/>
                    <a:gd name="connsiteX9" fmla="*/ 127923 w 319670"/>
                    <a:gd name="connsiteY9" fmla="*/ 280054 h 320770"/>
                    <a:gd name="connsiteX10" fmla="*/ 226960 w 319670"/>
                    <a:gd name="connsiteY10" fmla="*/ 275378 h 320770"/>
                    <a:gd name="connsiteX11" fmla="*/ 209629 w 319670"/>
                    <a:gd name="connsiteY11" fmla="*/ 278547 h 320770"/>
                    <a:gd name="connsiteX12" fmla="*/ 198075 w 319670"/>
                    <a:gd name="connsiteY12" fmla="*/ 301788 h 320770"/>
                    <a:gd name="connsiteX13" fmla="*/ 204377 w 319670"/>
                    <a:gd name="connsiteY13" fmla="*/ 300203 h 320770"/>
                    <a:gd name="connsiteX14" fmla="*/ 226960 w 319670"/>
                    <a:gd name="connsiteY14" fmla="*/ 275378 h 320770"/>
                    <a:gd name="connsiteX15" fmla="*/ 94911 w 319670"/>
                    <a:gd name="connsiteY15" fmla="*/ 274277 h 320770"/>
                    <a:gd name="connsiteX16" fmla="*/ 120163 w 319670"/>
                    <a:gd name="connsiteY16" fmla="*/ 301828 h 320770"/>
                    <a:gd name="connsiteX17" fmla="*/ 124897 w 319670"/>
                    <a:gd name="connsiteY17" fmla="*/ 302888 h 320770"/>
                    <a:gd name="connsiteX18" fmla="*/ 112797 w 319670"/>
                    <a:gd name="connsiteY18" fmla="*/ 277456 h 320770"/>
                    <a:gd name="connsiteX19" fmla="*/ 94911 w 319670"/>
                    <a:gd name="connsiteY19" fmla="*/ 274277 h 320770"/>
                    <a:gd name="connsiteX20" fmla="*/ 261623 w 319670"/>
                    <a:gd name="connsiteY20" fmla="*/ 266024 h 320770"/>
                    <a:gd name="connsiteX21" fmla="*/ 247511 w 319670"/>
                    <a:gd name="connsiteY21" fmla="*/ 270781 h 320770"/>
                    <a:gd name="connsiteX22" fmla="*/ 235489 w 319670"/>
                    <a:gd name="connsiteY22" fmla="*/ 286107 h 320770"/>
                    <a:gd name="connsiteX23" fmla="*/ 261623 w 319670"/>
                    <a:gd name="connsiteY23" fmla="*/ 266024 h 320770"/>
                    <a:gd name="connsiteX24" fmla="*/ 53646 w 319670"/>
                    <a:gd name="connsiteY24" fmla="*/ 261072 h 320770"/>
                    <a:gd name="connsiteX25" fmla="*/ 90509 w 319670"/>
                    <a:gd name="connsiteY25" fmla="*/ 289683 h 320770"/>
                    <a:gd name="connsiteX26" fmla="*/ 74184 w 319670"/>
                    <a:gd name="connsiteY26" fmla="*/ 268490 h 320770"/>
                    <a:gd name="connsiteX27" fmla="*/ 53646 w 319670"/>
                    <a:gd name="connsiteY27" fmla="*/ 261072 h 320770"/>
                    <a:gd name="connsiteX28" fmla="*/ 213205 w 319670"/>
                    <a:gd name="connsiteY28" fmla="*/ 224209 h 320770"/>
                    <a:gd name="connsiteX29" fmla="*/ 163687 w 319670"/>
                    <a:gd name="connsiteY29" fmla="*/ 228957 h 320770"/>
                    <a:gd name="connsiteX30" fmla="*/ 165267 w 319670"/>
                    <a:gd name="connsiteY30" fmla="*/ 269051 h 320770"/>
                    <a:gd name="connsiteX31" fmla="*/ 200035 w 319670"/>
                    <a:gd name="connsiteY31" fmla="*/ 266413 h 320770"/>
                    <a:gd name="connsiteX32" fmla="*/ 213205 w 319670"/>
                    <a:gd name="connsiteY32" fmla="*/ 224209 h 320770"/>
                    <a:gd name="connsiteX33" fmla="*/ 108941 w 319670"/>
                    <a:gd name="connsiteY33" fmla="*/ 224209 h 320770"/>
                    <a:gd name="connsiteX34" fmla="*/ 122109 w 319670"/>
                    <a:gd name="connsiteY34" fmla="*/ 265864 h 320770"/>
                    <a:gd name="connsiteX35" fmla="*/ 152132 w 319670"/>
                    <a:gd name="connsiteY35" fmla="*/ 268500 h 320770"/>
                    <a:gd name="connsiteX36" fmla="*/ 150552 w 319670"/>
                    <a:gd name="connsiteY36" fmla="*/ 228954 h 320770"/>
                    <a:gd name="connsiteX37" fmla="*/ 108941 w 319670"/>
                    <a:gd name="connsiteY37" fmla="*/ 224209 h 320770"/>
                    <a:gd name="connsiteX38" fmla="*/ 58322 w 319670"/>
                    <a:gd name="connsiteY38" fmla="*/ 209903 h 320770"/>
                    <a:gd name="connsiteX39" fmla="*/ 82669 w 319670"/>
                    <a:gd name="connsiteY39" fmla="*/ 257461 h 320770"/>
                    <a:gd name="connsiteX40" fmla="*/ 107016 w 319670"/>
                    <a:gd name="connsiteY40" fmla="*/ 263273 h 320770"/>
                    <a:gd name="connsiteX41" fmla="*/ 94842 w 319670"/>
                    <a:gd name="connsiteY41" fmla="*/ 221000 h 320770"/>
                    <a:gd name="connsiteX42" fmla="*/ 58322 w 319670"/>
                    <a:gd name="connsiteY42" fmla="*/ 209903 h 320770"/>
                    <a:gd name="connsiteX43" fmla="*/ 264925 w 319670"/>
                    <a:gd name="connsiteY43" fmla="*/ 209078 h 320770"/>
                    <a:gd name="connsiteX44" fmla="*/ 227505 w 319670"/>
                    <a:gd name="connsiteY44" fmla="*/ 221190 h 320770"/>
                    <a:gd name="connsiteX45" fmla="*/ 214856 w 319670"/>
                    <a:gd name="connsiteY45" fmla="*/ 264374 h 320770"/>
                    <a:gd name="connsiteX46" fmla="*/ 239100 w 319670"/>
                    <a:gd name="connsiteY46" fmla="*/ 259634 h 320770"/>
                    <a:gd name="connsiteX47" fmla="*/ 264925 w 319670"/>
                    <a:gd name="connsiteY47" fmla="*/ 209078 h 320770"/>
                    <a:gd name="connsiteX48" fmla="*/ 303989 w 319670"/>
                    <a:gd name="connsiteY48" fmla="*/ 187895 h 320770"/>
                    <a:gd name="connsiteX49" fmla="*/ 280765 w 319670"/>
                    <a:gd name="connsiteY49" fmla="*/ 201624 h 320770"/>
                    <a:gd name="connsiteX50" fmla="*/ 258597 w 319670"/>
                    <a:gd name="connsiteY50" fmla="*/ 253370 h 320770"/>
                    <a:gd name="connsiteX51" fmla="*/ 279710 w 319670"/>
                    <a:gd name="connsiteY51" fmla="*/ 244921 h 320770"/>
                    <a:gd name="connsiteX52" fmla="*/ 303989 w 319670"/>
                    <a:gd name="connsiteY52" fmla="*/ 187895 h 320770"/>
                    <a:gd name="connsiteX53" fmla="*/ 15131 w 319670"/>
                    <a:gd name="connsiteY53" fmla="*/ 186244 h 320770"/>
                    <a:gd name="connsiteX54" fmla="*/ 35764 w 319670"/>
                    <a:gd name="connsiteY54" fmla="*/ 239029 h 320770"/>
                    <a:gd name="connsiteX55" fmla="*/ 63274 w 319670"/>
                    <a:gd name="connsiteY55" fmla="*/ 251169 h 320770"/>
                    <a:gd name="connsiteX56" fmla="*/ 42641 w 319670"/>
                    <a:gd name="connsiteY56" fmla="*/ 202607 h 320770"/>
                    <a:gd name="connsiteX57" fmla="*/ 15131 w 319670"/>
                    <a:gd name="connsiteY57" fmla="*/ 186244 h 320770"/>
                    <a:gd name="connsiteX58" fmla="*/ 220633 w 319670"/>
                    <a:gd name="connsiteY58" fmla="*/ 169463 h 320770"/>
                    <a:gd name="connsiteX59" fmla="*/ 162861 w 319670"/>
                    <a:gd name="connsiteY59" fmla="*/ 176816 h 320770"/>
                    <a:gd name="connsiteX60" fmla="*/ 163386 w 319670"/>
                    <a:gd name="connsiteY60" fmla="*/ 215680 h 320770"/>
                    <a:gd name="connsiteX61" fmla="*/ 216431 w 319670"/>
                    <a:gd name="connsiteY61" fmla="*/ 209903 h 320770"/>
                    <a:gd name="connsiteX62" fmla="*/ 220633 w 319670"/>
                    <a:gd name="connsiteY62" fmla="*/ 169463 h 320770"/>
                    <a:gd name="connsiteX63" fmla="*/ 101513 w 319670"/>
                    <a:gd name="connsiteY63" fmla="*/ 169463 h 320770"/>
                    <a:gd name="connsiteX64" fmla="*/ 105748 w 319670"/>
                    <a:gd name="connsiteY64" fmla="*/ 210428 h 320770"/>
                    <a:gd name="connsiteX65" fmla="*/ 150207 w 319670"/>
                    <a:gd name="connsiteY65" fmla="*/ 215680 h 320770"/>
                    <a:gd name="connsiteX66" fmla="*/ 149678 w 319670"/>
                    <a:gd name="connsiteY66" fmla="*/ 176291 h 320770"/>
                    <a:gd name="connsiteX67" fmla="*/ 101513 w 319670"/>
                    <a:gd name="connsiteY67" fmla="*/ 169463 h 320770"/>
                    <a:gd name="connsiteX68" fmla="*/ 51121 w 319670"/>
                    <a:gd name="connsiteY68" fmla="*/ 149931 h 320770"/>
                    <a:gd name="connsiteX69" fmla="*/ 50069 w 319670"/>
                    <a:gd name="connsiteY69" fmla="*/ 159953 h 320770"/>
                    <a:gd name="connsiteX70" fmla="*/ 53752 w 319670"/>
                    <a:gd name="connsiteY70" fmla="*/ 193713 h 320770"/>
                    <a:gd name="connsiteX71" fmla="*/ 92160 w 319670"/>
                    <a:gd name="connsiteY71" fmla="*/ 207427 h 320770"/>
                    <a:gd name="connsiteX72" fmla="*/ 89003 w 319670"/>
                    <a:gd name="connsiteY72" fmla="*/ 166283 h 320770"/>
                    <a:gd name="connsiteX73" fmla="*/ 51121 w 319670"/>
                    <a:gd name="connsiteY73" fmla="*/ 149931 h 320770"/>
                    <a:gd name="connsiteX74" fmla="*/ 271850 w 319670"/>
                    <a:gd name="connsiteY74" fmla="*/ 148830 h 320770"/>
                    <a:gd name="connsiteX75" fmla="*/ 233420 w 319670"/>
                    <a:gd name="connsiteY75" fmla="*/ 165717 h 320770"/>
                    <a:gd name="connsiteX76" fmla="*/ 230262 w 319670"/>
                    <a:gd name="connsiteY76" fmla="*/ 206877 h 320770"/>
                    <a:gd name="connsiteX77" fmla="*/ 269218 w 319670"/>
                    <a:gd name="connsiteY77" fmla="*/ 193157 h 320770"/>
                    <a:gd name="connsiteX78" fmla="*/ 272903 w 319670"/>
                    <a:gd name="connsiteY78" fmla="*/ 159912 h 320770"/>
                    <a:gd name="connsiteX79" fmla="*/ 271850 w 319670"/>
                    <a:gd name="connsiteY79" fmla="*/ 148830 h 320770"/>
                    <a:gd name="connsiteX80" fmla="*/ 302793 w 319670"/>
                    <a:gd name="connsiteY80" fmla="*/ 126547 h 320770"/>
                    <a:gd name="connsiteX81" fmla="*/ 284431 w 319670"/>
                    <a:gd name="connsiteY81" fmla="*/ 141328 h 320770"/>
                    <a:gd name="connsiteX82" fmla="*/ 286005 w 319670"/>
                    <a:gd name="connsiteY82" fmla="*/ 159805 h 320770"/>
                    <a:gd name="connsiteX83" fmla="*/ 283907 w 319670"/>
                    <a:gd name="connsiteY83" fmla="*/ 185144 h 320770"/>
                    <a:gd name="connsiteX84" fmla="*/ 306465 w 319670"/>
                    <a:gd name="connsiteY84" fmla="*/ 169835 h 320770"/>
                    <a:gd name="connsiteX85" fmla="*/ 306465 w 319670"/>
                    <a:gd name="connsiteY85" fmla="*/ 160333 h 320770"/>
                    <a:gd name="connsiteX86" fmla="*/ 302793 w 319670"/>
                    <a:gd name="connsiteY86" fmla="*/ 126547 h 320770"/>
                    <a:gd name="connsiteX87" fmla="*/ 17427 w 319670"/>
                    <a:gd name="connsiteY87" fmla="*/ 125172 h 320770"/>
                    <a:gd name="connsiteX88" fmla="*/ 13205 w 319670"/>
                    <a:gd name="connsiteY88" fmla="*/ 160446 h 320770"/>
                    <a:gd name="connsiteX89" fmla="*/ 13205 w 319670"/>
                    <a:gd name="connsiteY89" fmla="*/ 168870 h 320770"/>
                    <a:gd name="connsiteX90" fmla="*/ 39065 w 319670"/>
                    <a:gd name="connsiteY90" fmla="*/ 186244 h 320770"/>
                    <a:gd name="connsiteX91" fmla="*/ 36954 w 319670"/>
                    <a:gd name="connsiteY91" fmla="*/ 159920 h 320770"/>
                    <a:gd name="connsiteX92" fmla="*/ 38537 w 319670"/>
                    <a:gd name="connsiteY92" fmla="*/ 142546 h 320770"/>
                    <a:gd name="connsiteX93" fmla="*/ 17427 w 319670"/>
                    <a:gd name="connsiteY93" fmla="*/ 125172 h 320770"/>
                    <a:gd name="connsiteX94" fmla="*/ 215883 w 319670"/>
                    <a:gd name="connsiteY94" fmla="*/ 122420 h 320770"/>
                    <a:gd name="connsiteX95" fmla="*/ 165486 w 319670"/>
                    <a:gd name="connsiteY95" fmla="*/ 128769 h 320770"/>
                    <a:gd name="connsiteX96" fmla="*/ 163386 w 319670"/>
                    <a:gd name="connsiteY96" fmla="*/ 128769 h 320770"/>
                    <a:gd name="connsiteX97" fmla="*/ 162861 w 319670"/>
                    <a:gd name="connsiteY97" fmla="*/ 155221 h 320770"/>
                    <a:gd name="connsiteX98" fmla="*/ 162861 w 319670"/>
                    <a:gd name="connsiteY98" fmla="*/ 163686 h 320770"/>
                    <a:gd name="connsiteX99" fmla="*/ 220083 w 319670"/>
                    <a:gd name="connsiteY99" fmla="*/ 155750 h 320770"/>
                    <a:gd name="connsiteX100" fmla="*/ 215883 w 319670"/>
                    <a:gd name="connsiteY100" fmla="*/ 122420 h 320770"/>
                    <a:gd name="connsiteX101" fmla="*/ 106825 w 319670"/>
                    <a:gd name="connsiteY101" fmla="*/ 120220 h 320770"/>
                    <a:gd name="connsiteX102" fmla="*/ 102064 w 319670"/>
                    <a:gd name="connsiteY102" fmla="*/ 156248 h 320770"/>
                    <a:gd name="connsiteX103" fmla="*/ 149678 w 319670"/>
                    <a:gd name="connsiteY103" fmla="*/ 163136 h 320770"/>
                    <a:gd name="connsiteX104" fmla="*/ 149678 w 319670"/>
                    <a:gd name="connsiteY104" fmla="*/ 155188 h 320770"/>
                    <a:gd name="connsiteX105" fmla="*/ 150207 w 319670"/>
                    <a:gd name="connsiteY105" fmla="*/ 128167 h 320770"/>
                    <a:gd name="connsiteX106" fmla="*/ 106825 w 319670"/>
                    <a:gd name="connsiteY106" fmla="*/ 120220 h 320770"/>
                    <a:gd name="connsiteX107" fmla="*/ 259617 w 319670"/>
                    <a:gd name="connsiteY107" fmla="*/ 103988 h 320770"/>
                    <a:gd name="connsiteX108" fmla="*/ 228611 w 319670"/>
                    <a:gd name="connsiteY108" fmla="*/ 118717 h 320770"/>
                    <a:gd name="connsiteX109" fmla="*/ 233341 w 319670"/>
                    <a:gd name="connsiteY109" fmla="*/ 151856 h 320770"/>
                    <a:gd name="connsiteX110" fmla="*/ 269602 w 319670"/>
                    <a:gd name="connsiteY110" fmla="*/ 135024 h 320770"/>
                    <a:gd name="connsiteX111" fmla="*/ 259617 w 319670"/>
                    <a:gd name="connsiteY111" fmla="*/ 103988 h 320770"/>
                    <a:gd name="connsiteX112" fmla="*/ 65249 w 319670"/>
                    <a:gd name="connsiteY112" fmla="*/ 99862 h 320770"/>
                    <a:gd name="connsiteX113" fmla="*/ 52545 w 319670"/>
                    <a:gd name="connsiteY113" fmla="*/ 136118 h 320770"/>
                    <a:gd name="connsiteX114" fmla="*/ 89068 w 319670"/>
                    <a:gd name="connsiteY114" fmla="*/ 152407 h 320770"/>
                    <a:gd name="connsiteX115" fmla="*/ 94361 w 319670"/>
                    <a:gd name="connsiteY115" fmla="*/ 115625 h 320770"/>
                    <a:gd name="connsiteX116" fmla="*/ 65249 w 319670"/>
                    <a:gd name="connsiteY116" fmla="*/ 99862 h 320770"/>
                    <a:gd name="connsiteX117" fmla="*/ 285381 w 319670"/>
                    <a:gd name="connsiteY117" fmla="*/ 83906 h 320770"/>
                    <a:gd name="connsiteX118" fmla="*/ 270702 w 319670"/>
                    <a:gd name="connsiteY118" fmla="*/ 96554 h 320770"/>
                    <a:gd name="connsiteX119" fmla="*/ 281711 w 319670"/>
                    <a:gd name="connsiteY119" fmla="*/ 127648 h 320770"/>
                    <a:gd name="connsiteX120" fmla="*/ 298487 w 319670"/>
                    <a:gd name="connsiteY120" fmla="*/ 112365 h 320770"/>
                    <a:gd name="connsiteX121" fmla="*/ 285381 w 319670"/>
                    <a:gd name="connsiteY121" fmla="*/ 83906 h 320770"/>
                    <a:gd name="connsiteX122" fmla="*/ 39411 w 319670"/>
                    <a:gd name="connsiteY122" fmla="*/ 75928 h 320770"/>
                    <a:gd name="connsiteX123" fmla="*/ 21458 w 319670"/>
                    <a:gd name="connsiteY123" fmla="*/ 111317 h 320770"/>
                    <a:gd name="connsiteX124" fmla="*/ 40995 w 319670"/>
                    <a:gd name="connsiteY124" fmla="*/ 128748 h 320770"/>
                    <a:gd name="connsiteX125" fmla="*/ 54196 w 319670"/>
                    <a:gd name="connsiteY125" fmla="*/ 91774 h 320770"/>
                    <a:gd name="connsiteX126" fmla="*/ 39411 w 319670"/>
                    <a:gd name="connsiteY126" fmla="*/ 75928 h 320770"/>
                    <a:gd name="connsiteX127" fmla="*/ 201616 w 319670"/>
                    <a:gd name="connsiteY127" fmla="*/ 73452 h 320770"/>
                    <a:gd name="connsiteX128" fmla="*/ 165267 w 319670"/>
                    <a:gd name="connsiteY128" fmla="*/ 78187 h 320770"/>
                    <a:gd name="connsiteX129" fmla="*/ 164740 w 319670"/>
                    <a:gd name="connsiteY129" fmla="*/ 78187 h 320770"/>
                    <a:gd name="connsiteX130" fmla="*/ 163687 w 319670"/>
                    <a:gd name="connsiteY130" fmla="*/ 115543 h 320770"/>
                    <a:gd name="connsiteX131" fmla="*/ 165267 w 319670"/>
                    <a:gd name="connsiteY131" fmla="*/ 115543 h 320770"/>
                    <a:gd name="connsiteX132" fmla="*/ 213205 w 319670"/>
                    <a:gd name="connsiteY132" fmla="*/ 109756 h 320770"/>
                    <a:gd name="connsiteX133" fmla="*/ 201616 w 319670"/>
                    <a:gd name="connsiteY133" fmla="*/ 73452 h 320770"/>
                    <a:gd name="connsiteX134" fmla="*/ 121592 w 319670"/>
                    <a:gd name="connsiteY134" fmla="*/ 70701 h 320770"/>
                    <a:gd name="connsiteX135" fmla="*/ 109491 w 319670"/>
                    <a:gd name="connsiteY135" fmla="*/ 107084 h 320770"/>
                    <a:gd name="connsiteX136" fmla="*/ 150530 w 319670"/>
                    <a:gd name="connsiteY136" fmla="*/ 114993 h 320770"/>
                    <a:gd name="connsiteX137" fmla="*/ 151582 w 319670"/>
                    <a:gd name="connsiteY137" fmla="*/ 77028 h 320770"/>
                    <a:gd name="connsiteX138" fmla="*/ 121592 w 319670"/>
                    <a:gd name="connsiteY138" fmla="*/ 70701 h 320770"/>
                    <a:gd name="connsiteX139" fmla="*/ 233321 w 319670"/>
                    <a:gd name="connsiteY139" fmla="*/ 59697 h 320770"/>
                    <a:gd name="connsiteX140" fmla="*/ 214306 w 319670"/>
                    <a:gd name="connsiteY140" fmla="*/ 69207 h 320770"/>
                    <a:gd name="connsiteX141" fmla="*/ 225926 w 319670"/>
                    <a:gd name="connsiteY141" fmla="*/ 106189 h 320770"/>
                    <a:gd name="connsiteX142" fmla="*/ 253921 w 319670"/>
                    <a:gd name="connsiteY142" fmla="*/ 92453 h 320770"/>
                    <a:gd name="connsiteX143" fmla="*/ 233321 w 319670"/>
                    <a:gd name="connsiteY143" fmla="*/ 59697 h 320770"/>
                    <a:gd name="connsiteX144" fmla="*/ 92595 w 319670"/>
                    <a:gd name="connsiteY144" fmla="*/ 55846 h 320770"/>
                    <a:gd name="connsiteX145" fmla="*/ 70977 w 319670"/>
                    <a:gd name="connsiteY145" fmla="*/ 88088 h 320770"/>
                    <a:gd name="connsiteX146" fmla="*/ 97341 w 319670"/>
                    <a:gd name="connsiteY146" fmla="*/ 102888 h 320770"/>
                    <a:gd name="connsiteX147" fmla="*/ 108941 w 319670"/>
                    <a:gd name="connsiteY147" fmla="*/ 65360 h 320770"/>
                    <a:gd name="connsiteX148" fmla="*/ 92595 w 319670"/>
                    <a:gd name="connsiteY148" fmla="*/ 55846 h 320770"/>
                    <a:gd name="connsiteX149" fmla="*/ 251144 w 319670"/>
                    <a:gd name="connsiteY149" fmla="*/ 44842 h 320770"/>
                    <a:gd name="connsiteX150" fmla="*/ 243742 w 319670"/>
                    <a:gd name="connsiteY150" fmla="*/ 51712 h 320770"/>
                    <a:gd name="connsiteX151" fmla="*/ 264890 w 319670"/>
                    <a:gd name="connsiteY151" fmla="*/ 85007 h 320770"/>
                    <a:gd name="connsiteX152" fmla="*/ 277579 w 319670"/>
                    <a:gd name="connsiteY152" fmla="*/ 72851 h 320770"/>
                    <a:gd name="connsiteX153" fmla="*/ 251144 w 319670"/>
                    <a:gd name="connsiteY153" fmla="*/ 44842 h 320770"/>
                    <a:gd name="connsiteX154" fmla="*/ 75908 w 319670"/>
                    <a:gd name="connsiteY154" fmla="*/ 39614 h 320770"/>
                    <a:gd name="connsiteX155" fmla="*/ 47868 w 319670"/>
                    <a:gd name="connsiteY155" fmla="*/ 65510 h 320770"/>
                    <a:gd name="connsiteX156" fmla="*/ 60565 w 319670"/>
                    <a:gd name="connsiteY156" fmla="*/ 79779 h 320770"/>
                    <a:gd name="connsiteX157" fmla="*/ 82256 w 319670"/>
                    <a:gd name="connsiteY157" fmla="*/ 47013 h 320770"/>
                    <a:gd name="connsiteX158" fmla="*/ 75908 w 319670"/>
                    <a:gd name="connsiteY158" fmla="*/ 39614 h 320770"/>
                    <a:gd name="connsiteX159" fmla="*/ 224484 w 319670"/>
                    <a:gd name="connsiteY159" fmla="*/ 28060 h 320770"/>
                    <a:gd name="connsiteX160" fmla="*/ 236003 w 319670"/>
                    <a:gd name="connsiteY160" fmla="*/ 41815 h 320770"/>
                    <a:gd name="connsiteX161" fmla="*/ 240716 w 319670"/>
                    <a:gd name="connsiteY161" fmla="*/ 37583 h 320770"/>
                    <a:gd name="connsiteX162" fmla="*/ 224484 w 319670"/>
                    <a:gd name="connsiteY162" fmla="*/ 28060 h 320770"/>
                    <a:gd name="connsiteX163" fmla="*/ 101238 w 319670"/>
                    <a:gd name="connsiteY163" fmla="*/ 25309 h 320770"/>
                    <a:gd name="connsiteX164" fmla="*/ 86933 w 319670"/>
                    <a:gd name="connsiteY164" fmla="*/ 32662 h 320770"/>
                    <a:gd name="connsiteX165" fmla="*/ 90642 w 319670"/>
                    <a:gd name="connsiteY165" fmla="*/ 36863 h 320770"/>
                    <a:gd name="connsiteX166" fmla="*/ 101238 w 319670"/>
                    <a:gd name="connsiteY166" fmla="*/ 25309 h 320770"/>
                    <a:gd name="connsiteX167" fmla="*/ 189546 w 319670"/>
                    <a:gd name="connsiteY167" fmla="*/ 16506 h 320770"/>
                    <a:gd name="connsiteX168" fmla="*/ 209532 w 319670"/>
                    <a:gd name="connsiteY168" fmla="*/ 56946 h 320770"/>
                    <a:gd name="connsiteX169" fmla="*/ 225310 w 319670"/>
                    <a:gd name="connsiteY169" fmla="*/ 49068 h 320770"/>
                    <a:gd name="connsiteX170" fmla="*/ 194280 w 319670"/>
                    <a:gd name="connsiteY170" fmla="*/ 17556 h 320770"/>
                    <a:gd name="connsiteX171" fmla="*/ 189546 w 319670"/>
                    <a:gd name="connsiteY171" fmla="*/ 16506 h 320770"/>
                    <a:gd name="connsiteX172" fmla="*/ 132600 w 319670"/>
                    <a:gd name="connsiteY172" fmla="*/ 15955 h 320770"/>
                    <a:gd name="connsiteX173" fmla="*/ 128938 w 319670"/>
                    <a:gd name="connsiteY173" fmla="*/ 16483 h 320770"/>
                    <a:gd name="connsiteX174" fmla="*/ 100688 w 319670"/>
                    <a:gd name="connsiteY174" fmla="*/ 46010 h 320770"/>
                    <a:gd name="connsiteX175" fmla="*/ 114290 w 319670"/>
                    <a:gd name="connsiteY175" fmla="*/ 53920 h 320770"/>
                    <a:gd name="connsiteX176" fmla="*/ 132600 w 319670"/>
                    <a:gd name="connsiteY176" fmla="*/ 15955 h 320770"/>
                    <a:gd name="connsiteX177" fmla="*/ 167974 w 319670"/>
                    <a:gd name="connsiteY177" fmla="*/ 13204 h 320770"/>
                    <a:gd name="connsiteX178" fmla="*/ 165337 w 319670"/>
                    <a:gd name="connsiteY178" fmla="*/ 64924 h 320770"/>
                    <a:gd name="connsiteX179" fmla="*/ 196974 w 319670"/>
                    <a:gd name="connsiteY179" fmla="*/ 60702 h 320770"/>
                    <a:gd name="connsiteX180" fmla="*/ 173247 w 319670"/>
                    <a:gd name="connsiteY180" fmla="*/ 13732 h 320770"/>
                    <a:gd name="connsiteX181" fmla="*/ 167974 w 319670"/>
                    <a:gd name="connsiteY181" fmla="*/ 13204 h 320770"/>
                    <a:gd name="connsiteX182" fmla="*/ 149585 w 319670"/>
                    <a:gd name="connsiteY182" fmla="*/ 13204 h 320770"/>
                    <a:gd name="connsiteX183" fmla="*/ 126273 w 319670"/>
                    <a:gd name="connsiteY183" fmla="*/ 58551 h 320770"/>
                    <a:gd name="connsiteX184" fmla="*/ 152764 w 319670"/>
                    <a:gd name="connsiteY184" fmla="*/ 63823 h 320770"/>
                    <a:gd name="connsiteX185" fmla="*/ 154883 w 319670"/>
                    <a:gd name="connsiteY185" fmla="*/ 13204 h 320770"/>
                    <a:gd name="connsiteX186" fmla="*/ 149585 w 319670"/>
                    <a:gd name="connsiteY186" fmla="*/ 13204 h 320770"/>
                    <a:gd name="connsiteX187" fmla="*/ 160099 w 319670"/>
                    <a:gd name="connsiteY187" fmla="*/ 0 h 320770"/>
                    <a:gd name="connsiteX188" fmla="*/ 248047 w 319670"/>
                    <a:gd name="connsiteY188" fmla="*/ 26906 h 320770"/>
                    <a:gd name="connsiteX189" fmla="*/ 259107 w 319670"/>
                    <a:gd name="connsiteY189" fmla="*/ 34293 h 320770"/>
                    <a:gd name="connsiteX190" fmla="*/ 285965 w 319670"/>
                    <a:gd name="connsiteY190" fmla="*/ 61727 h 320770"/>
                    <a:gd name="connsiteX191" fmla="*/ 293865 w 319670"/>
                    <a:gd name="connsiteY191" fmla="*/ 72806 h 320770"/>
                    <a:gd name="connsiteX192" fmla="*/ 308084 w 319670"/>
                    <a:gd name="connsiteY192" fmla="*/ 100768 h 320770"/>
                    <a:gd name="connsiteX193" fmla="*/ 313350 w 319670"/>
                    <a:gd name="connsiteY193" fmla="*/ 115013 h 320770"/>
                    <a:gd name="connsiteX194" fmla="*/ 319670 w 319670"/>
                    <a:gd name="connsiteY194" fmla="*/ 157747 h 320770"/>
                    <a:gd name="connsiteX195" fmla="*/ 319670 w 319670"/>
                    <a:gd name="connsiteY195" fmla="*/ 160385 h 320770"/>
                    <a:gd name="connsiteX196" fmla="*/ 319144 w 319670"/>
                    <a:gd name="connsiteY196" fmla="*/ 176212 h 320770"/>
                    <a:gd name="connsiteX197" fmla="*/ 302291 w 319670"/>
                    <a:gd name="connsiteY197" fmla="*/ 232664 h 320770"/>
                    <a:gd name="connsiteX198" fmla="*/ 288598 w 319670"/>
                    <a:gd name="connsiteY198" fmla="*/ 254822 h 320770"/>
                    <a:gd name="connsiteX199" fmla="*/ 160099 w 319670"/>
                    <a:gd name="connsiteY199" fmla="*/ 320242 h 320770"/>
                    <a:gd name="connsiteX200" fmla="*/ 159572 w 319670"/>
                    <a:gd name="connsiteY200" fmla="*/ 320242 h 320770"/>
                    <a:gd name="connsiteX201" fmla="*/ 155359 w 319670"/>
                    <a:gd name="connsiteY201" fmla="*/ 320770 h 320770"/>
                    <a:gd name="connsiteX202" fmla="*/ 155359 w 319670"/>
                    <a:gd name="connsiteY202" fmla="*/ 320242 h 320770"/>
                    <a:gd name="connsiteX203" fmla="*/ 26332 w 319670"/>
                    <a:gd name="connsiteY203" fmla="*/ 248491 h 320770"/>
                    <a:gd name="connsiteX204" fmla="*/ 13693 w 319670"/>
                    <a:gd name="connsiteY204" fmla="*/ 225278 h 320770"/>
                    <a:gd name="connsiteX205" fmla="*/ 527 w 319670"/>
                    <a:gd name="connsiteY205" fmla="*/ 174630 h 320770"/>
                    <a:gd name="connsiteX206" fmla="*/ 0 w 319670"/>
                    <a:gd name="connsiteY206" fmla="*/ 160385 h 320770"/>
                    <a:gd name="connsiteX207" fmla="*/ 0 w 319670"/>
                    <a:gd name="connsiteY207" fmla="*/ 156164 h 320770"/>
                    <a:gd name="connsiteX208" fmla="*/ 6847 w 319670"/>
                    <a:gd name="connsiteY208" fmla="*/ 113958 h 320770"/>
                    <a:gd name="connsiteX209" fmla="*/ 12113 w 319670"/>
                    <a:gd name="connsiteY209" fmla="*/ 99185 h 320770"/>
                    <a:gd name="connsiteX210" fmla="*/ 32125 w 319670"/>
                    <a:gd name="connsiteY210" fmla="*/ 64365 h 320770"/>
                    <a:gd name="connsiteX211" fmla="*/ 41078 w 319670"/>
                    <a:gd name="connsiteY211" fmla="*/ 52758 h 320770"/>
                    <a:gd name="connsiteX212" fmla="*/ 68990 w 319670"/>
                    <a:gd name="connsiteY212" fmla="*/ 28489 h 320770"/>
                    <a:gd name="connsiteX213" fmla="*/ 80576 w 319670"/>
                    <a:gd name="connsiteY213" fmla="*/ 21103 h 320770"/>
                    <a:gd name="connsiteX214" fmla="*/ 160099 w 319670"/>
                    <a:gd name="connsiteY214" fmla="*/ 0 h 320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319670" h="320770">
                      <a:moveTo>
                        <a:pt x="193673" y="280605"/>
                      </a:moveTo>
                      <a:cubicBezTo>
                        <a:pt x="184761" y="281133"/>
                        <a:pt x="175324" y="281661"/>
                        <a:pt x="165888" y="281661"/>
                      </a:cubicBezTo>
                      <a:cubicBezTo>
                        <a:pt x="166412" y="292225"/>
                        <a:pt x="166936" y="300676"/>
                        <a:pt x="167460" y="307015"/>
                      </a:cubicBezTo>
                      <a:cubicBezTo>
                        <a:pt x="172179" y="306486"/>
                        <a:pt x="176373" y="305958"/>
                        <a:pt x="181091" y="305430"/>
                      </a:cubicBezTo>
                      <a:cubicBezTo>
                        <a:pt x="183188" y="301733"/>
                        <a:pt x="188430" y="292753"/>
                        <a:pt x="193673" y="280605"/>
                      </a:cubicBezTo>
                      <a:close/>
                      <a:moveTo>
                        <a:pt x="127923" y="280054"/>
                      </a:moveTo>
                      <a:cubicBezTo>
                        <a:pt x="133734" y="293270"/>
                        <a:pt x="139016" y="302257"/>
                        <a:pt x="141657" y="305957"/>
                      </a:cubicBezTo>
                      <a:cubicBezTo>
                        <a:pt x="145882" y="306486"/>
                        <a:pt x="150108" y="307015"/>
                        <a:pt x="154333" y="307015"/>
                      </a:cubicBezTo>
                      <a:cubicBezTo>
                        <a:pt x="153805" y="300671"/>
                        <a:pt x="153277" y="291684"/>
                        <a:pt x="152749" y="281640"/>
                      </a:cubicBezTo>
                      <a:cubicBezTo>
                        <a:pt x="144298" y="281640"/>
                        <a:pt x="135846" y="280583"/>
                        <a:pt x="127923" y="280054"/>
                      </a:cubicBezTo>
                      <a:close/>
                      <a:moveTo>
                        <a:pt x="226960" y="275378"/>
                      </a:moveTo>
                      <a:cubicBezTo>
                        <a:pt x="221183" y="276962"/>
                        <a:pt x="215406" y="277491"/>
                        <a:pt x="209629" y="278547"/>
                      </a:cubicBezTo>
                      <a:cubicBezTo>
                        <a:pt x="205427" y="288055"/>
                        <a:pt x="201226" y="295978"/>
                        <a:pt x="198075" y="301788"/>
                      </a:cubicBezTo>
                      <a:cubicBezTo>
                        <a:pt x="200175" y="301260"/>
                        <a:pt x="202276" y="300731"/>
                        <a:pt x="204377" y="300203"/>
                      </a:cubicBezTo>
                      <a:cubicBezTo>
                        <a:pt x="208053" y="296506"/>
                        <a:pt x="216982" y="288055"/>
                        <a:pt x="226960" y="275378"/>
                      </a:cubicBezTo>
                      <a:close/>
                      <a:moveTo>
                        <a:pt x="94911" y="274277"/>
                      </a:moveTo>
                      <a:cubicBezTo>
                        <a:pt x="107537" y="290172"/>
                        <a:pt x="118584" y="300239"/>
                        <a:pt x="120163" y="301828"/>
                      </a:cubicBezTo>
                      <a:cubicBezTo>
                        <a:pt x="121741" y="302358"/>
                        <a:pt x="123319" y="302358"/>
                        <a:pt x="124897" y="302888"/>
                      </a:cubicBezTo>
                      <a:cubicBezTo>
                        <a:pt x="121215" y="296530"/>
                        <a:pt x="117006" y="288053"/>
                        <a:pt x="112797" y="277456"/>
                      </a:cubicBezTo>
                      <a:cubicBezTo>
                        <a:pt x="106485" y="276927"/>
                        <a:pt x="100698" y="275337"/>
                        <a:pt x="94911" y="274277"/>
                      </a:cubicBezTo>
                      <a:close/>
                      <a:moveTo>
                        <a:pt x="261623" y="266024"/>
                      </a:moveTo>
                      <a:cubicBezTo>
                        <a:pt x="256919" y="267610"/>
                        <a:pt x="252215" y="269195"/>
                        <a:pt x="247511" y="270781"/>
                      </a:cubicBezTo>
                      <a:cubicBezTo>
                        <a:pt x="243329" y="276066"/>
                        <a:pt x="239670" y="281351"/>
                        <a:pt x="235489" y="286107"/>
                      </a:cubicBezTo>
                      <a:cubicBezTo>
                        <a:pt x="244897" y="280294"/>
                        <a:pt x="253783" y="273952"/>
                        <a:pt x="261623" y="266024"/>
                      </a:cubicBezTo>
                      <a:close/>
                      <a:moveTo>
                        <a:pt x="53646" y="261072"/>
                      </a:moveTo>
                      <a:cubicBezTo>
                        <a:pt x="64178" y="272729"/>
                        <a:pt x="76817" y="282266"/>
                        <a:pt x="90509" y="289683"/>
                      </a:cubicBezTo>
                      <a:cubicBezTo>
                        <a:pt x="85243" y="283855"/>
                        <a:pt x="79977" y="276438"/>
                        <a:pt x="74184" y="268490"/>
                      </a:cubicBezTo>
                      <a:cubicBezTo>
                        <a:pt x="66811" y="266371"/>
                        <a:pt x="59965" y="264252"/>
                        <a:pt x="53646" y="261072"/>
                      </a:cubicBezTo>
                      <a:close/>
                      <a:moveTo>
                        <a:pt x="213205" y="224209"/>
                      </a:moveTo>
                      <a:cubicBezTo>
                        <a:pt x="197402" y="226846"/>
                        <a:pt x="180544" y="228429"/>
                        <a:pt x="163687" y="228957"/>
                      </a:cubicBezTo>
                      <a:cubicBezTo>
                        <a:pt x="163687" y="243201"/>
                        <a:pt x="164740" y="256917"/>
                        <a:pt x="165267" y="269051"/>
                      </a:cubicBezTo>
                      <a:cubicBezTo>
                        <a:pt x="176857" y="268523"/>
                        <a:pt x="188446" y="267996"/>
                        <a:pt x="200035" y="266413"/>
                      </a:cubicBezTo>
                      <a:cubicBezTo>
                        <a:pt x="204777" y="254279"/>
                        <a:pt x="209518" y="240035"/>
                        <a:pt x="213205" y="224209"/>
                      </a:cubicBezTo>
                      <a:close/>
                      <a:moveTo>
                        <a:pt x="108941" y="224209"/>
                      </a:moveTo>
                      <a:cubicBezTo>
                        <a:pt x="112628" y="240027"/>
                        <a:pt x="117369" y="253736"/>
                        <a:pt x="122109" y="265864"/>
                      </a:cubicBezTo>
                      <a:cubicBezTo>
                        <a:pt x="131590" y="267446"/>
                        <a:pt x="141598" y="267973"/>
                        <a:pt x="152132" y="268500"/>
                      </a:cubicBezTo>
                      <a:cubicBezTo>
                        <a:pt x="151606" y="256373"/>
                        <a:pt x="151079" y="243191"/>
                        <a:pt x="150552" y="228954"/>
                      </a:cubicBezTo>
                      <a:cubicBezTo>
                        <a:pt x="135804" y="228427"/>
                        <a:pt x="122109" y="226845"/>
                        <a:pt x="108941" y="224209"/>
                      </a:cubicBezTo>
                      <a:close/>
                      <a:moveTo>
                        <a:pt x="58322" y="209903"/>
                      </a:moveTo>
                      <a:cubicBezTo>
                        <a:pt x="64673" y="227869"/>
                        <a:pt x="73671" y="243722"/>
                        <a:pt x="82669" y="257461"/>
                      </a:cubicBezTo>
                      <a:cubicBezTo>
                        <a:pt x="90608" y="260103"/>
                        <a:pt x="98547" y="261688"/>
                        <a:pt x="107016" y="263273"/>
                      </a:cubicBezTo>
                      <a:cubicBezTo>
                        <a:pt x="102252" y="251120"/>
                        <a:pt x="98018" y="236852"/>
                        <a:pt x="94842" y="221000"/>
                      </a:cubicBezTo>
                      <a:cubicBezTo>
                        <a:pt x="82140" y="218358"/>
                        <a:pt x="69966" y="214131"/>
                        <a:pt x="58322" y="209903"/>
                      </a:cubicBezTo>
                      <a:close/>
                      <a:moveTo>
                        <a:pt x="264925" y="209078"/>
                      </a:moveTo>
                      <a:cubicBezTo>
                        <a:pt x="253330" y="213818"/>
                        <a:pt x="240681" y="218031"/>
                        <a:pt x="227505" y="221190"/>
                      </a:cubicBezTo>
                      <a:cubicBezTo>
                        <a:pt x="224343" y="236989"/>
                        <a:pt x="219599" y="251735"/>
                        <a:pt x="214856" y="264374"/>
                      </a:cubicBezTo>
                      <a:cubicBezTo>
                        <a:pt x="223289" y="263320"/>
                        <a:pt x="231194" y="261214"/>
                        <a:pt x="239100" y="259634"/>
                      </a:cubicBezTo>
                      <a:cubicBezTo>
                        <a:pt x="248586" y="245415"/>
                        <a:pt x="258073" y="228037"/>
                        <a:pt x="264925" y="209078"/>
                      </a:cubicBezTo>
                      <a:close/>
                      <a:moveTo>
                        <a:pt x="303989" y="187895"/>
                      </a:moveTo>
                      <a:cubicBezTo>
                        <a:pt x="297128" y="192647"/>
                        <a:pt x="289211" y="197399"/>
                        <a:pt x="280765" y="201624"/>
                      </a:cubicBezTo>
                      <a:cubicBezTo>
                        <a:pt x="275487" y="220632"/>
                        <a:pt x="267570" y="238057"/>
                        <a:pt x="258597" y="253370"/>
                      </a:cubicBezTo>
                      <a:cubicBezTo>
                        <a:pt x="265987" y="250729"/>
                        <a:pt x="273376" y="248089"/>
                        <a:pt x="279710" y="244921"/>
                      </a:cubicBezTo>
                      <a:cubicBezTo>
                        <a:pt x="291850" y="228025"/>
                        <a:pt x="300295" y="209016"/>
                        <a:pt x="303989" y="187895"/>
                      </a:cubicBezTo>
                      <a:close/>
                      <a:moveTo>
                        <a:pt x="15131" y="186244"/>
                      </a:moveTo>
                      <a:cubicBezTo>
                        <a:pt x="18834" y="205247"/>
                        <a:pt x="25712" y="223193"/>
                        <a:pt x="35764" y="239029"/>
                      </a:cubicBezTo>
                      <a:cubicBezTo>
                        <a:pt x="44229" y="243251"/>
                        <a:pt x="53751" y="247474"/>
                        <a:pt x="63274" y="251169"/>
                      </a:cubicBezTo>
                      <a:cubicBezTo>
                        <a:pt x="54810" y="236917"/>
                        <a:pt x="47403" y="220554"/>
                        <a:pt x="42641" y="202607"/>
                      </a:cubicBezTo>
                      <a:cubicBezTo>
                        <a:pt x="32590" y="197857"/>
                        <a:pt x="23596" y="192578"/>
                        <a:pt x="15131" y="186244"/>
                      </a:cubicBezTo>
                      <a:close/>
                      <a:moveTo>
                        <a:pt x="220633" y="169463"/>
                      </a:moveTo>
                      <a:cubicBezTo>
                        <a:pt x="202251" y="174190"/>
                        <a:pt x="182819" y="176291"/>
                        <a:pt x="162861" y="176816"/>
                      </a:cubicBezTo>
                      <a:cubicBezTo>
                        <a:pt x="162861" y="189946"/>
                        <a:pt x="162861" y="203076"/>
                        <a:pt x="163386" y="215680"/>
                      </a:cubicBezTo>
                      <a:cubicBezTo>
                        <a:pt x="181768" y="215680"/>
                        <a:pt x="199625" y="213580"/>
                        <a:pt x="216431" y="209903"/>
                      </a:cubicBezTo>
                      <a:cubicBezTo>
                        <a:pt x="218532" y="197298"/>
                        <a:pt x="220108" y="183643"/>
                        <a:pt x="220633" y="169463"/>
                      </a:cubicBezTo>
                      <a:close/>
                      <a:moveTo>
                        <a:pt x="101513" y="169463"/>
                      </a:moveTo>
                      <a:cubicBezTo>
                        <a:pt x="102043" y="183643"/>
                        <a:pt x="103631" y="197298"/>
                        <a:pt x="105748" y="210428"/>
                      </a:cubicBezTo>
                      <a:cubicBezTo>
                        <a:pt x="120038" y="213054"/>
                        <a:pt x="134858" y="215155"/>
                        <a:pt x="150207" y="215680"/>
                      </a:cubicBezTo>
                      <a:cubicBezTo>
                        <a:pt x="149678" y="203076"/>
                        <a:pt x="149678" y="189946"/>
                        <a:pt x="149678" y="176291"/>
                      </a:cubicBezTo>
                      <a:cubicBezTo>
                        <a:pt x="132741" y="175765"/>
                        <a:pt x="116862" y="173139"/>
                        <a:pt x="101513" y="169463"/>
                      </a:cubicBezTo>
                      <a:close/>
                      <a:moveTo>
                        <a:pt x="51121" y="149931"/>
                      </a:moveTo>
                      <a:cubicBezTo>
                        <a:pt x="50595" y="153623"/>
                        <a:pt x="50069" y="156788"/>
                        <a:pt x="50069" y="159953"/>
                      </a:cubicBezTo>
                      <a:cubicBezTo>
                        <a:pt x="50069" y="171558"/>
                        <a:pt x="51647" y="183163"/>
                        <a:pt x="53752" y="193713"/>
                      </a:cubicBezTo>
                      <a:cubicBezTo>
                        <a:pt x="65853" y="198988"/>
                        <a:pt x="78480" y="203735"/>
                        <a:pt x="92160" y="207427"/>
                      </a:cubicBezTo>
                      <a:cubicBezTo>
                        <a:pt x="90055" y="194240"/>
                        <a:pt x="88477" y="180525"/>
                        <a:pt x="89003" y="166283"/>
                      </a:cubicBezTo>
                      <a:cubicBezTo>
                        <a:pt x="75324" y="161536"/>
                        <a:pt x="62170" y="156261"/>
                        <a:pt x="51121" y="149931"/>
                      </a:cubicBezTo>
                      <a:close/>
                      <a:moveTo>
                        <a:pt x="271850" y="148830"/>
                      </a:moveTo>
                      <a:cubicBezTo>
                        <a:pt x="260269" y="155690"/>
                        <a:pt x="247634" y="161495"/>
                        <a:pt x="233420" y="165717"/>
                      </a:cubicBezTo>
                      <a:cubicBezTo>
                        <a:pt x="233947" y="179965"/>
                        <a:pt x="232367" y="193685"/>
                        <a:pt x="230262" y="206877"/>
                      </a:cubicBezTo>
                      <a:cubicBezTo>
                        <a:pt x="244475" y="203183"/>
                        <a:pt x="257110" y="198434"/>
                        <a:pt x="269218" y="193157"/>
                      </a:cubicBezTo>
                      <a:cubicBezTo>
                        <a:pt x="271850" y="182603"/>
                        <a:pt x="272903" y="171521"/>
                        <a:pt x="272903" y="159912"/>
                      </a:cubicBezTo>
                      <a:cubicBezTo>
                        <a:pt x="272903" y="156218"/>
                        <a:pt x="272376" y="152524"/>
                        <a:pt x="271850" y="148830"/>
                      </a:cubicBezTo>
                      <a:close/>
                      <a:moveTo>
                        <a:pt x="302793" y="126547"/>
                      </a:moveTo>
                      <a:cubicBezTo>
                        <a:pt x="297022" y="131826"/>
                        <a:pt x="290727" y="136577"/>
                        <a:pt x="284431" y="141328"/>
                      </a:cubicBezTo>
                      <a:cubicBezTo>
                        <a:pt x="284956" y="147135"/>
                        <a:pt x="286005" y="153470"/>
                        <a:pt x="286005" y="159805"/>
                      </a:cubicBezTo>
                      <a:cubicBezTo>
                        <a:pt x="286005" y="168251"/>
                        <a:pt x="285481" y="176698"/>
                        <a:pt x="283907" y="185144"/>
                      </a:cubicBezTo>
                      <a:cubicBezTo>
                        <a:pt x="292301" y="180393"/>
                        <a:pt x="299645" y="175642"/>
                        <a:pt x="306465" y="169835"/>
                      </a:cubicBezTo>
                      <a:cubicBezTo>
                        <a:pt x="306465" y="166668"/>
                        <a:pt x="306465" y="163500"/>
                        <a:pt x="306465" y="160333"/>
                      </a:cubicBezTo>
                      <a:cubicBezTo>
                        <a:pt x="306465" y="148719"/>
                        <a:pt x="305416" y="137105"/>
                        <a:pt x="302793" y="126547"/>
                      </a:cubicBezTo>
                      <a:close/>
                      <a:moveTo>
                        <a:pt x="17427" y="125172"/>
                      </a:moveTo>
                      <a:cubicBezTo>
                        <a:pt x="14789" y="136754"/>
                        <a:pt x="13205" y="148337"/>
                        <a:pt x="13205" y="160446"/>
                      </a:cubicBezTo>
                      <a:cubicBezTo>
                        <a:pt x="13205" y="163079"/>
                        <a:pt x="13205" y="165711"/>
                        <a:pt x="13205" y="168870"/>
                      </a:cubicBezTo>
                      <a:cubicBezTo>
                        <a:pt x="21122" y="175188"/>
                        <a:pt x="29565" y="180979"/>
                        <a:pt x="39065" y="186244"/>
                      </a:cubicBezTo>
                      <a:cubicBezTo>
                        <a:pt x="37482" y="177821"/>
                        <a:pt x="36954" y="168870"/>
                        <a:pt x="36954" y="159920"/>
                      </a:cubicBezTo>
                      <a:cubicBezTo>
                        <a:pt x="37482" y="154128"/>
                        <a:pt x="38009" y="148337"/>
                        <a:pt x="38537" y="142546"/>
                      </a:cubicBezTo>
                      <a:cubicBezTo>
                        <a:pt x="30621" y="137281"/>
                        <a:pt x="23760" y="131489"/>
                        <a:pt x="17427" y="125172"/>
                      </a:cubicBezTo>
                      <a:close/>
                      <a:moveTo>
                        <a:pt x="215883" y="122420"/>
                      </a:moveTo>
                      <a:cubicBezTo>
                        <a:pt x="200134" y="126653"/>
                        <a:pt x="183335" y="128769"/>
                        <a:pt x="165486" y="128769"/>
                      </a:cubicBezTo>
                      <a:cubicBezTo>
                        <a:pt x="164961" y="128769"/>
                        <a:pt x="164436" y="128769"/>
                        <a:pt x="163386" y="128769"/>
                      </a:cubicBezTo>
                      <a:cubicBezTo>
                        <a:pt x="163386" y="137763"/>
                        <a:pt x="163386" y="146228"/>
                        <a:pt x="162861" y="155221"/>
                      </a:cubicBezTo>
                      <a:cubicBezTo>
                        <a:pt x="162861" y="157866"/>
                        <a:pt x="162861" y="161041"/>
                        <a:pt x="162861" y="163686"/>
                      </a:cubicBezTo>
                      <a:cubicBezTo>
                        <a:pt x="183335" y="163157"/>
                        <a:pt x="202234" y="160512"/>
                        <a:pt x="220083" y="155750"/>
                      </a:cubicBezTo>
                      <a:cubicBezTo>
                        <a:pt x="219558" y="144640"/>
                        <a:pt x="217983" y="133530"/>
                        <a:pt x="215883" y="122420"/>
                      </a:cubicBezTo>
                      <a:close/>
                      <a:moveTo>
                        <a:pt x="106825" y="120220"/>
                      </a:moveTo>
                      <a:cubicBezTo>
                        <a:pt x="104180" y="131876"/>
                        <a:pt x="102593" y="144062"/>
                        <a:pt x="102064" y="156248"/>
                      </a:cubicBezTo>
                      <a:cubicBezTo>
                        <a:pt x="116877" y="159957"/>
                        <a:pt x="132748" y="162606"/>
                        <a:pt x="149678" y="163136"/>
                      </a:cubicBezTo>
                      <a:cubicBezTo>
                        <a:pt x="149678" y="160487"/>
                        <a:pt x="149678" y="157837"/>
                        <a:pt x="149678" y="155188"/>
                      </a:cubicBezTo>
                      <a:cubicBezTo>
                        <a:pt x="150207" y="146181"/>
                        <a:pt x="150207" y="137174"/>
                        <a:pt x="150207" y="128167"/>
                      </a:cubicBezTo>
                      <a:cubicBezTo>
                        <a:pt x="134864" y="127107"/>
                        <a:pt x="120051" y="124458"/>
                        <a:pt x="106825" y="120220"/>
                      </a:cubicBezTo>
                      <a:close/>
                      <a:moveTo>
                        <a:pt x="259617" y="103988"/>
                      </a:moveTo>
                      <a:cubicBezTo>
                        <a:pt x="250157" y="109775"/>
                        <a:pt x="240173" y="115035"/>
                        <a:pt x="228611" y="118717"/>
                      </a:cubicBezTo>
                      <a:cubicBezTo>
                        <a:pt x="230713" y="129238"/>
                        <a:pt x="232290" y="140810"/>
                        <a:pt x="233341" y="151856"/>
                      </a:cubicBezTo>
                      <a:cubicBezTo>
                        <a:pt x="246479" y="147648"/>
                        <a:pt x="258566" y="141862"/>
                        <a:pt x="269602" y="135024"/>
                      </a:cubicBezTo>
                      <a:cubicBezTo>
                        <a:pt x="267500" y="124503"/>
                        <a:pt x="263821" y="113983"/>
                        <a:pt x="259617" y="103988"/>
                      </a:cubicBezTo>
                      <a:close/>
                      <a:moveTo>
                        <a:pt x="65249" y="99862"/>
                      </a:moveTo>
                      <a:cubicBezTo>
                        <a:pt x="59956" y="111422"/>
                        <a:pt x="55192" y="123507"/>
                        <a:pt x="52545" y="136118"/>
                      </a:cubicBezTo>
                      <a:cubicBezTo>
                        <a:pt x="63661" y="142423"/>
                        <a:pt x="75835" y="148203"/>
                        <a:pt x="89068" y="152407"/>
                      </a:cubicBezTo>
                      <a:cubicBezTo>
                        <a:pt x="90126" y="139796"/>
                        <a:pt x="91714" y="127185"/>
                        <a:pt x="94361" y="115625"/>
                      </a:cubicBezTo>
                      <a:cubicBezTo>
                        <a:pt x="83774" y="111422"/>
                        <a:pt x="73718" y="106167"/>
                        <a:pt x="65249" y="99862"/>
                      </a:cubicBezTo>
                      <a:close/>
                      <a:moveTo>
                        <a:pt x="285381" y="83906"/>
                      </a:moveTo>
                      <a:cubicBezTo>
                        <a:pt x="280663" y="88122"/>
                        <a:pt x="275944" y="92338"/>
                        <a:pt x="270702" y="96554"/>
                      </a:cubicBezTo>
                      <a:cubicBezTo>
                        <a:pt x="275420" y="106567"/>
                        <a:pt x="279090" y="116581"/>
                        <a:pt x="281711" y="127648"/>
                      </a:cubicBezTo>
                      <a:cubicBezTo>
                        <a:pt x="288002" y="122905"/>
                        <a:pt x="293769" y="117635"/>
                        <a:pt x="298487" y="112365"/>
                      </a:cubicBezTo>
                      <a:cubicBezTo>
                        <a:pt x="295342" y="102351"/>
                        <a:pt x="290624" y="92865"/>
                        <a:pt x="285381" y="83906"/>
                      </a:cubicBezTo>
                      <a:close/>
                      <a:moveTo>
                        <a:pt x="39411" y="75928"/>
                      </a:moveTo>
                      <a:cubicBezTo>
                        <a:pt x="32019" y="87020"/>
                        <a:pt x="25683" y="98640"/>
                        <a:pt x="21458" y="111317"/>
                      </a:cubicBezTo>
                      <a:cubicBezTo>
                        <a:pt x="26739" y="117656"/>
                        <a:pt x="33603" y="122938"/>
                        <a:pt x="40995" y="128748"/>
                      </a:cubicBezTo>
                      <a:cubicBezTo>
                        <a:pt x="44163" y="115543"/>
                        <a:pt x="48916" y="103394"/>
                        <a:pt x="54196" y="91774"/>
                      </a:cubicBezTo>
                      <a:cubicBezTo>
                        <a:pt x="48916" y="87020"/>
                        <a:pt x="43635" y="81738"/>
                        <a:pt x="39411" y="75928"/>
                      </a:cubicBezTo>
                      <a:close/>
                      <a:moveTo>
                        <a:pt x="201616" y="73452"/>
                      </a:moveTo>
                      <a:cubicBezTo>
                        <a:pt x="190553" y="76083"/>
                        <a:pt x="178437" y="78187"/>
                        <a:pt x="165267" y="78187"/>
                      </a:cubicBezTo>
                      <a:cubicBezTo>
                        <a:pt x="165267" y="78187"/>
                        <a:pt x="165267" y="78187"/>
                        <a:pt x="164740" y="78187"/>
                      </a:cubicBezTo>
                      <a:cubicBezTo>
                        <a:pt x="164740" y="89762"/>
                        <a:pt x="164214" y="102390"/>
                        <a:pt x="163687" y="115543"/>
                      </a:cubicBezTo>
                      <a:cubicBezTo>
                        <a:pt x="164214" y="115543"/>
                        <a:pt x="164740" y="115543"/>
                        <a:pt x="165267" y="115543"/>
                      </a:cubicBezTo>
                      <a:cubicBezTo>
                        <a:pt x="182125" y="115543"/>
                        <a:pt x="198455" y="113438"/>
                        <a:pt x="213205" y="109756"/>
                      </a:cubicBezTo>
                      <a:cubicBezTo>
                        <a:pt x="210044" y="96602"/>
                        <a:pt x="205830" y="84501"/>
                        <a:pt x="201616" y="73452"/>
                      </a:cubicBezTo>
                      <a:close/>
                      <a:moveTo>
                        <a:pt x="121592" y="70701"/>
                      </a:moveTo>
                      <a:cubicBezTo>
                        <a:pt x="116857" y="81774"/>
                        <a:pt x="113174" y="94429"/>
                        <a:pt x="109491" y="107084"/>
                      </a:cubicBezTo>
                      <a:cubicBezTo>
                        <a:pt x="122119" y="111302"/>
                        <a:pt x="136324" y="113938"/>
                        <a:pt x="150530" y="114993"/>
                      </a:cubicBezTo>
                      <a:cubicBezTo>
                        <a:pt x="151056" y="101811"/>
                        <a:pt x="151582" y="88629"/>
                        <a:pt x="151582" y="77028"/>
                      </a:cubicBezTo>
                      <a:cubicBezTo>
                        <a:pt x="141060" y="75974"/>
                        <a:pt x="131063" y="73865"/>
                        <a:pt x="121592" y="70701"/>
                      </a:cubicBezTo>
                      <a:close/>
                      <a:moveTo>
                        <a:pt x="233321" y="59697"/>
                      </a:moveTo>
                      <a:cubicBezTo>
                        <a:pt x="227511" y="63395"/>
                        <a:pt x="221172" y="66565"/>
                        <a:pt x="214306" y="69207"/>
                      </a:cubicBezTo>
                      <a:cubicBezTo>
                        <a:pt x="218531" y="80302"/>
                        <a:pt x="222757" y="92981"/>
                        <a:pt x="225926" y="106189"/>
                      </a:cubicBezTo>
                      <a:cubicBezTo>
                        <a:pt x="235962" y="102491"/>
                        <a:pt x="245469" y="97736"/>
                        <a:pt x="253921" y="92453"/>
                      </a:cubicBezTo>
                      <a:cubicBezTo>
                        <a:pt x="247582" y="80302"/>
                        <a:pt x="240716" y="69207"/>
                        <a:pt x="233321" y="59697"/>
                      </a:cubicBezTo>
                      <a:close/>
                      <a:moveTo>
                        <a:pt x="92595" y="55846"/>
                      </a:moveTo>
                      <a:cubicBezTo>
                        <a:pt x="85214" y="65360"/>
                        <a:pt x="77832" y="76460"/>
                        <a:pt x="70977" y="88088"/>
                      </a:cubicBezTo>
                      <a:cubicBezTo>
                        <a:pt x="78886" y="93902"/>
                        <a:pt x="87323" y="98660"/>
                        <a:pt x="97341" y="102888"/>
                      </a:cubicBezTo>
                      <a:cubicBezTo>
                        <a:pt x="100505" y="89674"/>
                        <a:pt x="104723" y="76988"/>
                        <a:pt x="108941" y="65360"/>
                      </a:cubicBezTo>
                      <a:cubicBezTo>
                        <a:pt x="103141" y="62717"/>
                        <a:pt x="97341" y="59546"/>
                        <a:pt x="92595" y="55846"/>
                      </a:cubicBezTo>
                      <a:close/>
                      <a:moveTo>
                        <a:pt x="251144" y="44842"/>
                      </a:moveTo>
                      <a:cubicBezTo>
                        <a:pt x="248500" y="47484"/>
                        <a:pt x="246385" y="49598"/>
                        <a:pt x="243742" y="51712"/>
                      </a:cubicBezTo>
                      <a:cubicBezTo>
                        <a:pt x="251144" y="61225"/>
                        <a:pt x="258546" y="72323"/>
                        <a:pt x="264890" y="85007"/>
                      </a:cubicBezTo>
                      <a:cubicBezTo>
                        <a:pt x="269649" y="80779"/>
                        <a:pt x="273878" y="77079"/>
                        <a:pt x="277579" y="72851"/>
                      </a:cubicBezTo>
                      <a:cubicBezTo>
                        <a:pt x="270177" y="62282"/>
                        <a:pt x="261189" y="52769"/>
                        <a:pt x="251144" y="44842"/>
                      </a:cubicBezTo>
                      <a:close/>
                      <a:moveTo>
                        <a:pt x="75908" y="39614"/>
                      </a:moveTo>
                      <a:cubicBezTo>
                        <a:pt x="65327" y="47013"/>
                        <a:pt x="55804" y="55469"/>
                        <a:pt x="47868" y="65510"/>
                      </a:cubicBezTo>
                      <a:cubicBezTo>
                        <a:pt x="51043" y="70795"/>
                        <a:pt x="55804" y="75551"/>
                        <a:pt x="60565" y="79779"/>
                      </a:cubicBezTo>
                      <a:cubicBezTo>
                        <a:pt x="67443" y="67624"/>
                        <a:pt x="74850" y="56526"/>
                        <a:pt x="82256" y="47013"/>
                      </a:cubicBezTo>
                      <a:cubicBezTo>
                        <a:pt x="80140" y="44899"/>
                        <a:pt x="78024" y="42257"/>
                        <a:pt x="75908" y="39614"/>
                      </a:cubicBezTo>
                      <a:close/>
                      <a:moveTo>
                        <a:pt x="224484" y="28060"/>
                      </a:moveTo>
                      <a:cubicBezTo>
                        <a:pt x="228150" y="32293"/>
                        <a:pt x="231815" y="36525"/>
                        <a:pt x="236003" y="41815"/>
                      </a:cubicBezTo>
                      <a:cubicBezTo>
                        <a:pt x="237574" y="40228"/>
                        <a:pt x="239145" y="38641"/>
                        <a:pt x="240716" y="37583"/>
                      </a:cubicBezTo>
                      <a:cubicBezTo>
                        <a:pt x="235480" y="33880"/>
                        <a:pt x="230244" y="31234"/>
                        <a:pt x="224484" y="28060"/>
                      </a:cubicBezTo>
                      <a:close/>
                      <a:moveTo>
                        <a:pt x="101238" y="25309"/>
                      </a:moveTo>
                      <a:cubicBezTo>
                        <a:pt x="95940" y="27410"/>
                        <a:pt x="91172" y="30036"/>
                        <a:pt x="86933" y="32662"/>
                      </a:cubicBezTo>
                      <a:cubicBezTo>
                        <a:pt x="87993" y="34237"/>
                        <a:pt x="89582" y="35288"/>
                        <a:pt x="90642" y="36863"/>
                      </a:cubicBezTo>
                      <a:cubicBezTo>
                        <a:pt x="94350" y="32662"/>
                        <a:pt x="97529" y="28985"/>
                        <a:pt x="101238" y="25309"/>
                      </a:cubicBezTo>
                      <a:close/>
                      <a:moveTo>
                        <a:pt x="189546" y="16506"/>
                      </a:moveTo>
                      <a:cubicBezTo>
                        <a:pt x="195332" y="25959"/>
                        <a:pt x="202695" y="39614"/>
                        <a:pt x="209532" y="56946"/>
                      </a:cubicBezTo>
                      <a:cubicBezTo>
                        <a:pt x="215317" y="54845"/>
                        <a:pt x="220576" y="52219"/>
                        <a:pt x="225310" y="49068"/>
                      </a:cubicBezTo>
                      <a:cubicBezTo>
                        <a:pt x="210584" y="31736"/>
                        <a:pt x="197961" y="20707"/>
                        <a:pt x="194280" y="17556"/>
                      </a:cubicBezTo>
                      <a:cubicBezTo>
                        <a:pt x="192702" y="17031"/>
                        <a:pt x="191124" y="16506"/>
                        <a:pt x="189546" y="16506"/>
                      </a:cubicBezTo>
                      <a:close/>
                      <a:moveTo>
                        <a:pt x="132600" y="15955"/>
                      </a:moveTo>
                      <a:cubicBezTo>
                        <a:pt x="131554" y="15955"/>
                        <a:pt x="130507" y="15955"/>
                        <a:pt x="128938" y="16483"/>
                      </a:cubicBezTo>
                      <a:cubicBezTo>
                        <a:pt x="128938" y="17010"/>
                        <a:pt x="115859" y="27556"/>
                        <a:pt x="100688" y="46010"/>
                      </a:cubicBezTo>
                      <a:cubicBezTo>
                        <a:pt x="104873" y="48647"/>
                        <a:pt x="109058" y="51283"/>
                        <a:pt x="114290" y="53920"/>
                      </a:cubicBezTo>
                      <a:cubicBezTo>
                        <a:pt x="121091" y="37574"/>
                        <a:pt x="127892" y="24919"/>
                        <a:pt x="132600" y="15955"/>
                      </a:cubicBezTo>
                      <a:close/>
                      <a:moveTo>
                        <a:pt x="167974" y="13204"/>
                      </a:moveTo>
                      <a:cubicBezTo>
                        <a:pt x="167447" y="22704"/>
                        <a:pt x="166392" y="40647"/>
                        <a:pt x="165337" y="64924"/>
                      </a:cubicBezTo>
                      <a:cubicBezTo>
                        <a:pt x="176410" y="64924"/>
                        <a:pt x="186956" y="63341"/>
                        <a:pt x="196974" y="60702"/>
                      </a:cubicBezTo>
                      <a:cubicBezTo>
                        <a:pt x="187483" y="38009"/>
                        <a:pt x="177465" y="21121"/>
                        <a:pt x="173247" y="13732"/>
                      </a:cubicBezTo>
                      <a:cubicBezTo>
                        <a:pt x="171665" y="13732"/>
                        <a:pt x="169556" y="13732"/>
                        <a:pt x="167974" y="13204"/>
                      </a:cubicBezTo>
                      <a:close/>
                      <a:moveTo>
                        <a:pt x="149585" y="13204"/>
                      </a:moveTo>
                      <a:cubicBezTo>
                        <a:pt x="145346" y="20059"/>
                        <a:pt x="135810" y="36405"/>
                        <a:pt x="126273" y="58551"/>
                      </a:cubicBezTo>
                      <a:cubicBezTo>
                        <a:pt x="134220" y="61187"/>
                        <a:pt x="143227" y="63296"/>
                        <a:pt x="152764" y="63823"/>
                      </a:cubicBezTo>
                      <a:cubicBezTo>
                        <a:pt x="153294" y="40623"/>
                        <a:pt x="154354" y="22696"/>
                        <a:pt x="154883" y="13204"/>
                      </a:cubicBezTo>
                      <a:cubicBezTo>
                        <a:pt x="153294" y="13204"/>
                        <a:pt x="151175" y="13204"/>
                        <a:pt x="149585" y="13204"/>
                      </a:cubicBezTo>
                      <a:close/>
                      <a:moveTo>
                        <a:pt x="160099" y="0"/>
                      </a:moveTo>
                      <a:cubicBezTo>
                        <a:pt x="192750" y="0"/>
                        <a:pt x="222769" y="10024"/>
                        <a:pt x="248047" y="26906"/>
                      </a:cubicBezTo>
                      <a:cubicBezTo>
                        <a:pt x="251734" y="29017"/>
                        <a:pt x="255420" y="31655"/>
                        <a:pt x="259107" y="34293"/>
                      </a:cubicBezTo>
                      <a:cubicBezTo>
                        <a:pt x="269113" y="42206"/>
                        <a:pt x="278066" y="51703"/>
                        <a:pt x="285965" y="61727"/>
                      </a:cubicBezTo>
                      <a:cubicBezTo>
                        <a:pt x="288598" y="65420"/>
                        <a:pt x="291232" y="69113"/>
                        <a:pt x="293865" y="72806"/>
                      </a:cubicBezTo>
                      <a:cubicBezTo>
                        <a:pt x="299658" y="81775"/>
                        <a:pt x="304398" y="90744"/>
                        <a:pt x="308084" y="100768"/>
                      </a:cubicBezTo>
                      <a:cubicBezTo>
                        <a:pt x="310191" y="105516"/>
                        <a:pt x="311771" y="110264"/>
                        <a:pt x="313350" y="115013"/>
                      </a:cubicBezTo>
                      <a:cubicBezTo>
                        <a:pt x="317564" y="128730"/>
                        <a:pt x="319670" y="142975"/>
                        <a:pt x="319670" y="157747"/>
                      </a:cubicBezTo>
                      <a:cubicBezTo>
                        <a:pt x="319670" y="158275"/>
                        <a:pt x="319670" y="159330"/>
                        <a:pt x="319670" y="160385"/>
                      </a:cubicBezTo>
                      <a:cubicBezTo>
                        <a:pt x="319670" y="165661"/>
                        <a:pt x="319670" y="170937"/>
                        <a:pt x="319144" y="176212"/>
                      </a:cubicBezTo>
                      <a:cubicBezTo>
                        <a:pt x="317037" y="196260"/>
                        <a:pt x="311244" y="215253"/>
                        <a:pt x="302291" y="232664"/>
                      </a:cubicBezTo>
                      <a:cubicBezTo>
                        <a:pt x="298605" y="240577"/>
                        <a:pt x="293865" y="247964"/>
                        <a:pt x="288598" y="254822"/>
                      </a:cubicBezTo>
                      <a:cubicBezTo>
                        <a:pt x="259633" y="294391"/>
                        <a:pt x="212763" y="320242"/>
                        <a:pt x="160099" y="320242"/>
                      </a:cubicBezTo>
                      <a:cubicBezTo>
                        <a:pt x="159572" y="320242"/>
                        <a:pt x="159572" y="320242"/>
                        <a:pt x="159572" y="320242"/>
                      </a:cubicBezTo>
                      <a:cubicBezTo>
                        <a:pt x="159572" y="320242"/>
                        <a:pt x="159572" y="320242"/>
                        <a:pt x="155359" y="320770"/>
                      </a:cubicBezTo>
                      <a:cubicBezTo>
                        <a:pt x="155359" y="320770"/>
                        <a:pt x="155359" y="320242"/>
                        <a:pt x="155359" y="320242"/>
                      </a:cubicBezTo>
                      <a:cubicBezTo>
                        <a:pt x="101642" y="318660"/>
                        <a:pt x="54244" y="290698"/>
                        <a:pt x="26332" y="248491"/>
                      </a:cubicBezTo>
                      <a:cubicBezTo>
                        <a:pt x="21593" y="241105"/>
                        <a:pt x="17379" y="233191"/>
                        <a:pt x="13693" y="225278"/>
                      </a:cubicBezTo>
                      <a:cubicBezTo>
                        <a:pt x="6847" y="209450"/>
                        <a:pt x="2107" y="192567"/>
                        <a:pt x="527" y="174630"/>
                      </a:cubicBezTo>
                      <a:cubicBezTo>
                        <a:pt x="0" y="169881"/>
                        <a:pt x="0" y="165133"/>
                        <a:pt x="0" y="160385"/>
                      </a:cubicBezTo>
                      <a:cubicBezTo>
                        <a:pt x="0" y="158802"/>
                        <a:pt x="0" y="157219"/>
                        <a:pt x="0" y="156164"/>
                      </a:cubicBezTo>
                      <a:cubicBezTo>
                        <a:pt x="527" y="141392"/>
                        <a:pt x="2634" y="127147"/>
                        <a:pt x="6847" y="113958"/>
                      </a:cubicBezTo>
                      <a:cubicBezTo>
                        <a:pt x="8427" y="108682"/>
                        <a:pt x="10006" y="103934"/>
                        <a:pt x="12113" y="99185"/>
                      </a:cubicBezTo>
                      <a:cubicBezTo>
                        <a:pt x="17379" y="86523"/>
                        <a:pt x="23699" y="74916"/>
                        <a:pt x="32125" y="64365"/>
                      </a:cubicBezTo>
                      <a:cubicBezTo>
                        <a:pt x="34758" y="60144"/>
                        <a:pt x="37918" y="56451"/>
                        <a:pt x="41078" y="52758"/>
                      </a:cubicBezTo>
                      <a:cubicBezTo>
                        <a:pt x="49505" y="43789"/>
                        <a:pt x="58984" y="35348"/>
                        <a:pt x="68990" y="28489"/>
                      </a:cubicBezTo>
                      <a:cubicBezTo>
                        <a:pt x="72677" y="25851"/>
                        <a:pt x="76363" y="23213"/>
                        <a:pt x="80576" y="21103"/>
                      </a:cubicBezTo>
                      <a:cubicBezTo>
                        <a:pt x="103748" y="7913"/>
                        <a:pt x="131133" y="0"/>
                        <a:pt x="160099" y="0"/>
                      </a:cubicBezTo>
                      <a:close/>
                    </a:path>
                  </a:pathLst>
                </a:custGeom>
                <a:grpFill/>
                <a:ln>
                  <a:noFill/>
                </a:ln>
                <a:extLst/>
              </p:spPr>
              <p:txBody>
                <a:bodyPr vert="horz" wrap="square" lIns="84006" tIns="42003" rIns="84006" bIns="42003" numCol="1" anchor="t" anchorCtr="0" compatLnSpc="1">
                  <a:prstTxWarp prst="textNoShape">
                    <a:avLst/>
                  </a:prstTxWarp>
                  <a:noAutofit/>
                </a:bodyPr>
                <a:lstStyle/>
                <a:p>
                  <a:pPr defTabSz="839987">
                    <a:defRPr/>
                  </a:pPr>
                  <a:endParaRPr lang="en-US" sz="1654" kern="0" dirty="0">
                    <a:solidFill>
                      <a:srgbClr val="FFFFFF"/>
                    </a:solidFill>
                    <a:latin typeface="Segoe UI"/>
                  </a:endParaRPr>
                </a:p>
              </p:txBody>
            </p:sp>
            <p:sp>
              <p:nvSpPr>
                <p:cNvPr id="384" name="Freeform 383"/>
                <p:cNvSpPr>
                  <a:spLocks/>
                </p:cNvSpPr>
                <p:nvPr/>
              </p:nvSpPr>
              <p:spPr bwMode="auto">
                <a:xfrm>
                  <a:off x="5007615" y="2323753"/>
                  <a:ext cx="649029" cy="502032"/>
                </a:xfrm>
                <a:custGeom>
                  <a:avLst/>
                  <a:gdLst>
                    <a:gd name="connsiteX0" fmla="*/ 33287 w 649029"/>
                    <a:gd name="connsiteY0" fmla="*/ 88963 h 502032"/>
                    <a:gd name="connsiteX1" fmla="*/ 21098 w 649029"/>
                    <a:gd name="connsiteY1" fmla="*/ 102250 h 502032"/>
                    <a:gd name="connsiteX2" fmla="*/ 21098 w 649029"/>
                    <a:gd name="connsiteY2" fmla="*/ 467370 h 502032"/>
                    <a:gd name="connsiteX3" fmla="*/ 33287 w 649029"/>
                    <a:gd name="connsiteY3" fmla="*/ 480657 h 502032"/>
                    <a:gd name="connsiteX4" fmla="*/ 615742 w 649029"/>
                    <a:gd name="connsiteY4" fmla="*/ 480657 h 502032"/>
                    <a:gd name="connsiteX5" fmla="*/ 627932 w 649029"/>
                    <a:gd name="connsiteY5" fmla="*/ 467370 h 502032"/>
                    <a:gd name="connsiteX6" fmla="*/ 627932 w 649029"/>
                    <a:gd name="connsiteY6" fmla="*/ 102250 h 502032"/>
                    <a:gd name="connsiteX7" fmla="*/ 615742 w 649029"/>
                    <a:gd name="connsiteY7" fmla="*/ 88963 h 502032"/>
                    <a:gd name="connsiteX8" fmla="*/ 71744 w 649029"/>
                    <a:gd name="connsiteY8" fmla="*/ 21375 h 502032"/>
                    <a:gd name="connsiteX9" fmla="*/ 61676 w 649029"/>
                    <a:gd name="connsiteY9" fmla="*/ 31460 h 502032"/>
                    <a:gd name="connsiteX10" fmla="*/ 61676 w 649029"/>
                    <a:gd name="connsiteY10" fmla="*/ 67588 h 502032"/>
                    <a:gd name="connsiteX11" fmla="*/ 281061 w 649029"/>
                    <a:gd name="connsiteY11" fmla="*/ 67588 h 502032"/>
                    <a:gd name="connsiteX12" fmla="*/ 281061 w 649029"/>
                    <a:gd name="connsiteY12" fmla="*/ 31460 h 502032"/>
                    <a:gd name="connsiteX13" fmla="*/ 270993 w 649029"/>
                    <a:gd name="connsiteY13" fmla="*/ 21375 h 502032"/>
                    <a:gd name="connsiteX14" fmla="*/ 71826 w 649029"/>
                    <a:gd name="connsiteY14" fmla="*/ 0 h 502032"/>
                    <a:gd name="connsiteX15" fmla="*/ 271010 w 649029"/>
                    <a:gd name="connsiteY15" fmla="*/ 0 h 502032"/>
                    <a:gd name="connsiteX16" fmla="*/ 302265 w 649029"/>
                    <a:gd name="connsiteY16" fmla="*/ 31399 h 502032"/>
                    <a:gd name="connsiteX17" fmla="*/ 302265 w 649029"/>
                    <a:gd name="connsiteY17" fmla="*/ 59604 h 502032"/>
                    <a:gd name="connsiteX18" fmla="*/ 614285 w 649029"/>
                    <a:gd name="connsiteY18" fmla="*/ 59604 h 502032"/>
                    <a:gd name="connsiteX19" fmla="*/ 625873 w 649029"/>
                    <a:gd name="connsiteY19" fmla="*/ 64461 h 502032"/>
                    <a:gd name="connsiteX20" fmla="*/ 629657 w 649029"/>
                    <a:gd name="connsiteY20" fmla="*/ 73573 h 502032"/>
                    <a:gd name="connsiteX21" fmla="*/ 639294 w 649029"/>
                    <a:gd name="connsiteY21" fmla="*/ 77692 h 502032"/>
                    <a:gd name="connsiteX22" fmla="*/ 649029 w 649029"/>
                    <a:gd name="connsiteY22" fmla="*/ 102152 h 502032"/>
                    <a:gd name="connsiteX23" fmla="*/ 649029 w 649029"/>
                    <a:gd name="connsiteY23" fmla="*/ 467468 h 502032"/>
                    <a:gd name="connsiteX24" fmla="*/ 615651 w 649029"/>
                    <a:gd name="connsiteY24" fmla="*/ 502032 h 502032"/>
                    <a:gd name="connsiteX25" fmla="*/ 33379 w 649029"/>
                    <a:gd name="connsiteY25" fmla="*/ 502032 h 502032"/>
                    <a:gd name="connsiteX26" fmla="*/ 0 w 649029"/>
                    <a:gd name="connsiteY26" fmla="*/ 467468 h 502032"/>
                    <a:gd name="connsiteX27" fmla="*/ 0 w 649029"/>
                    <a:gd name="connsiteY27" fmla="*/ 102152 h 502032"/>
                    <a:gd name="connsiteX28" fmla="*/ 9735 w 649029"/>
                    <a:gd name="connsiteY28" fmla="*/ 77692 h 502032"/>
                    <a:gd name="connsiteX29" fmla="*/ 19371 w 649029"/>
                    <a:gd name="connsiteY29" fmla="*/ 73574 h 502032"/>
                    <a:gd name="connsiteX30" fmla="*/ 23155 w 649029"/>
                    <a:gd name="connsiteY30" fmla="*/ 64461 h 502032"/>
                    <a:gd name="connsiteX31" fmla="*/ 34744 w 649029"/>
                    <a:gd name="connsiteY31" fmla="*/ 59604 h 502032"/>
                    <a:gd name="connsiteX32" fmla="*/ 40571 w 649029"/>
                    <a:gd name="connsiteY32" fmla="*/ 59604 h 502032"/>
                    <a:gd name="connsiteX33" fmla="*/ 40571 w 649029"/>
                    <a:gd name="connsiteY33" fmla="*/ 31399 h 502032"/>
                    <a:gd name="connsiteX34" fmla="*/ 71826 w 649029"/>
                    <a:gd name="connsiteY34" fmla="*/ 0 h 50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9029" h="502032">
                      <a:moveTo>
                        <a:pt x="33287" y="88963"/>
                      </a:moveTo>
                      <a:cubicBezTo>
                        <a:pt x="26398" y="88963"/>
                        <a:pt x="21098" y="94809"/>
                        <a:pt x="21098" y="102250"/>
                      </a:cubicBezTo>
                      <a:lnTo>
                        <a:pt x="21098" y="467370"/>
                      </a:lnTo>
                      <a:cubicBezTo>
                        <a:pt x="21098" y="474811"/>
                        <a:pt x="26398" y="480657"/>
                        <a:pt x="33287" y="480657"/>
                      </a:cubicBezTo>
                      <a:lnTo>
                        <a:pt x="615742" y="480657"/>
                      </a:lnTo>
                      <a:cubicBezTo>
                        <a:pt x="622632" y="480657"/>
                        <a:pt x="627932" y="474811"/>
                        <a:pt x="627932" y="467370"/>
                      </a:cubicBezTo>
                      <a:lnTo>
                        <a:pt x="627932" y="102250"/>
                      </a:lnTo>
                      <a:cubicBezTo>
                        <a:pt x="627932" y="94809"/>
                        <a:pt x="622632" y="88963"/>
                        <a:pt x="615742" y="88963"/>
                      </a:cubicBezTo>
                      <a:close/>
                      <a:moveTo>
                        <a:pt x="71744" y="21375"/>
                      </a:moveTo>
                      <a:cubicBezTo>
                        <a:pt x="66445" y="21375"/>
                        <a:pt x="61676" y="26152"/>
                        <a:pt x="61676" y="31460"/>
                      </a:cubicBezTo>
                      <a:lnTo>
                        <a:pt x="61676" y="67588"/>
                      </a:lnTo>
                      <a:lnTo>
                        <a:pt x="281061" y="67588"/>
                      </a:lnTo>
                      <a:lnTo>
                        <a:pt x="281061" y="31460"/>
                      </a:lnTo>
                      <a:cubicBezTo>
                        <a:pt x="281061" y="26152"/>
                        <a:pt x="276292" y="21375"/>
                        <a:pt x="270993" y="21375"/>
                      </a:cubicBezTo>
                      <a:close/>
                      <a:moveTo>
                        <a:pt x="71826" y="0"/>
                      </a:moveTo>
                      <a:lnTo>
                        <a:pt x="271010" y="0"/>
                      </a:lnTo>
                      <a:cubicBezTo>
                        <a:pt x="287962" y="0"/>
                        <a:pt x="302265" y="14369"/>
                        <a:pt x="302265" y="31399"/>
                      </a:cubicBezTo>
                      <a:lnTo>
                        <a:pt x="302265" y="59604"/>
                      </a:lnTo>
                      <a:lnTo>
                        <a:pt x="614285" y="59604"/>
                      </a:lnTo>
                      <a:cubicBezTo>
                        <a:pt x="618788" y="59604"/>
                        <a:pt x="622894" y="61467"/>
                        <a:pt x="625873" y="64461"/>
                      </a:cubicBezTo>
                      <a:lnTo>
                        <a:pt x="629657" y="73573"/>
                      </a:lnTo>
                      <a:lnTo>
                        <a:pt x="639294" y="77692"/>
                      </a:lnTo>
                      <a:cubicBezTo>
                        <a:pt x="645320" y="83940"/>
                        <a:pt x="649029" y="92581"/>
                        <a:pt x="649029" y="102152"/>
                      </a:cubicBezTo>
                      <a:lnTo>
                        <a:pt x="649029" y="467468"/>
                      </a:lnTo>
                      <a:cubicBezTo>
                        <a:pt x="649029" y="486611"/>
                        <a:pt x="634194" y="502032"/>
                        <a:pt x="615651" y="502032"/>
                      </a:cubicBezTo>
                      <a:lnTo>
                        <a:pt x="33379" y="502032"/>
                      </a:lnTo>
                      <a:cubicBezTo>
                        <a:pt x="14835" y="502032"/>
                        <a:pt x="0" y="486611"/>
                        <a:pt x="0" y="467468"/>
                      </a:cubicBezTo>
                      <a:lnTo>
                        <a:pt x="0" y="102152"/>
                      </a:lnTo>
                      <a:cubicBezTo>
                        <a:pt x="0" y="92581"/>
                        <a:pt x="3709" y="83940"/>
                        <a:pt x="9735" y="77692"/>
                      </a:cubicBezTo>
                      <a:lnTo>
                        <a:pt x="19371" y="73574"/>
                      </a:lnTo>
                      <a:lnTo>
                        <a:pt x="23155" y="64461"/>
                      </a:lnTo>
                      <a:cubicBezTo>
                        <a:pt x="26135" y="61467"/>
                        <a:pt x="30241" y="59604"/>
                        <a:pt x="34744" y="59604"/>
                      </a:cubicBezTo>
                      <a:lnTo>
                        <a:pt x="40571" y="59604"/>
                      </a:lnTo>
                      <a:lnTo>
                        <a:pt x="40571" y="31399"/>
                      </a:lnTo>
                      <a:cubicBezTo>
                        <a:pt x="40571" y="14369"/>
                        <a:pt x="54344" y="0"/>
                        <a:pt x="718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noAutofit/>
                </a:bodyPr>
                <a:lstStyle/>
                <a:p>
                  <a:pPr defTabSz="839987">
                    <a:defRPr/>
                  </a:pPr>
                  <a:endParaRPr lang="en-US" sz="1654" kern="0" dirty="0">
                    <a:solidFill>
                      <a:srgbClr val="FFFFFF"/>
                    </a:solidFill>
                    <a:latin typeface="Segoe UI"/>
                  </a:endParaRPr>
                </a:p>
              </p:txBody>
            </p:sp>
          </p:grpSp>
          <p:grpSp>
            <p:nvGrpSpPr>
              <p:cNvPr id="374" name="Group 373"/>
              <p:cNvGrpSpPr/>
              <p:nvPr/>
            </p:nvGrpSpPr>
            <p:grpSpPr>
              <a:xfrm>
                <a:off x="10486805" y="2434267"/>
                <a:ext cx="1302888" cy="1542780"/>
                <a:chOff x="10486805" y="2923046"/>
                <a:chExt cx="1302888" cy="1542780"/>
              </a:xfrm>
            </p:grpSpPr>
            <p:sp>
              <p:nvSpPr>
                <p:cNvPr id="375" name="Rectangle 374"/>
                <p:cNvSpPr/>
                <p:nvPr/>
              </p:nvSpPr>
              <p:spPr bwMode="auto">
                <a:xfrm>
                  <a:off x="10802824" y="2923046"/>
                  <a:ext cx="986869" cy="1542780"/>
                </a:xfrm>
                <a:prstGeom prst="rect">
                  <a:avLst/>
                </a:prstGeom>
                <a:noFill/>
                <a:ln w="9525" cap="flat" cmpd="sng" algn="ctr">
                  <a:solidFill>
                    <a:srgbClr val="FFFFFF">
                      <a:lumMod val="65000"/>
                    </a:srgbClr>
                  </a:solidFill>
                  <a:prstDash val="dash"/>
                  <a:headEnd type="none" w="med" len="med"/>
                  <a:tailEnd type="none" w="med" len="med"/>
                </a:ln>
                <a:effectLst/>
              </p:spPr>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algn="ctr" defTabSz="856588" fontAlgn="base">
                    <a:lnSpc>
                      <a:spcPct val="90000"/>
                    </a:lnSpc>
                    <a:spcBef>
                      <a:spcPct val="0"/>
                    </a:spcBef>
                    <a:spcAft>
                      <a:spcPct val="0"/>
                    </a:spcAft>
                    <a:defRPr/>
                  </a:pPr>
                  <a:endParaRPr lang="en-US" sz="220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6" name="TextBox 375"/>
                <p:cNvSpPr txBox="1"/>
                <p:nvPr/>
              </p:nvSpPr>
              <p:spPr>
                <a:xfrm>
                  <a:off x="11212738" y="3022354"/>
                  <a:ext cx="473389" cy="161614"/>
                </a:xfrm>
                <a:prstGeom prst="rect">
                  <a:avLst/>
                </a:prstGeom>
                <a:noFill/>
              </p:spPr>
              <p:txBody>
                <a:bodyPr wrap="square" lIns="0" tIns="0" rIns="0" bIns="0" rtlCol="0">
                  <a:spAutoFit/>
                </a:bodyPr>
                <a:lstStyle/>
                <a:p>
                  <a:pPr defTabSz="856672">
                    <a:spcBef>
                      <a:spcPct val="0"/>
                    </a:spcBef>
                    <a:spcAft>
                      <a:spcPts val="551"/>
                    </a:spcAft>
                    <a:defRPr/>
                  </a:pPr>
                  <a:r>
                    <a:rPr lang="en-US" sz="965" kern="0" dirty="0">
                      <a:solidFill>
                        <a:srgbClr val="505050"/>
                      </a:solidFill>
                      <a:latin typeface="Segoe UI"/>
                      <a:cs typeface="Segoe UI Semilight" panose="020B0402040204020203" pitchFamily="34" charset="0"/>
                    </a:rPr>
                    <a:t>Web</a:t>
                  </a:r>
                </a:p>
              </p:txBody>
            </p:sp>
            <p:sp>
              <p:nvSpPr>
                <p:cNvPr id="377" name="TextBox 376"/>
                <p:cNvSpPr txBox="1"/>
                <p:nvPr/>
              </p:nvSpPr>
              <p:spPr>
                <a:xfrm>
                  <a:off x="11212738" y="3571986"/>
                  <a:ext cx="473389" cy="161614"/>
                </a:xfrm>
                <a:prstGeom prst="rect">
                  <a:avLst/>
                </a:prstGeom>
                <a:noFill/>
              </p:spPr>
              <p:txBody>
                <a:bodyPr wrap="square" lIns="0" tIns="0" rIns="0" bIns="0" rtlCol="0">
                  <a:spAutoFit/>
                </a:bodyPr>
                <a:lstStyle/>
                <a:p>
                  <a:pPr defTabSz="856672">
                    <a:spcBef>
                      <a:spcPct val="0"/>
                    </a:spcBef>
                    <a:spcAft>
                      <a:spcPts val="551"/>
                    </a:spcAft>
                    <a:defRPr/>
                  </a:pPr>
                  <a:r>
                    <a:rPr lang="en-US" sz="965" kern="0" dirty="0">
                      <a:solidFill>
                        <a:srgbClr val="505050"/>
                      </a:solidFill>
                      <a:latin typeface="Segoe UI"/>
                      <a:cs typeface="Segoe UI Semilight" panose="020B0402040204020203" pitchFamily="34" charset="0"/>
                    </a:rPr>
                    <a:t>Mobile</a:t>
                  </a:r>
                </a:p>
              </p:txBody>
            </p:sp>
            <p:sp>
              <p:nvSpPr>
                <p:cNvPr id="378" name="TextBox 377"/>
                <p:cNvSpPr txBox="1"/>
                <p:nvPr/>
              </p:nvSpPr>
              <p:spPr>
                <a:xfrm>
                  <a:off x="11212738" y="4160203"/>
                  <a:ext cx="473389" cy="161614"/>
                </a:xfrm>
                <a:prstGeom prst="rect">
                  <a:avLst/>
                </a:prstGeom>
                <a:noFill/>
              </p:spPr>
              <p:txBody>
                <a:bodyPr wrap="square" lIns="0" tIns="0" rIns="0" bIns="0" rtlCol="0">
                  <a:spAutoFit/>
                </a:bodyPr>
                <a:lstStyle/>
                <a:p>
                  <a:pPr defTabSz="856672">
                    <a:spcBef>
                      <a:spcPct val="0"/>
                    </a:spcBef>
                    <a:spcAft>
                      <a:spcPts val="551"/>
                    </a:spcAft>
                    <a:defRPr/>
                  </a:pPr>
                  <a:r>
                    <a:rPr lang="en-US" sz="965" kern="0" dirty="0">
                      <a:solidFill>
                        <a:srgbClr val="505050"/>
                      </a:solidFill>
                      <a:latin typeface="Segoe UI"/>
                      <a:cs typeface="Segoe UI Semilight" panose="020B0402040204020203" pitchFamily="34" charset="0"/>
                    </a:rPr>
                    <a:t>Bots</a:t>
                  </a:r>
                </a:p>
              </p:txBody>
            </p:sp>
            <p:sp>
              <p:nvSpPr>
                <p:cNvPr id="379" name="Freeform 378"/>
                <p:cNvSpPr>
                  <a:spLocks noChangeArrowheads="1"/>
                </p:cNvSpPr>
                <p:nvPr/>
              </p:nvSpPr>
              <p:spPr bwMode="auto">
                <a:xfrm>
                  <a:off x="10907711" y="3020740"/>
                  <a:ext cx="187689" cy="187689"/>
                </a:xfrm>
                <a:custGeom>
                  <a:avLst/>
                  <a:gdLst>
                    <a:gd name="connsiteX0" fmla="*/ 2240514 w 3214688"/>
                    <a:gd name="connsiteY0" fmla="*/ 2452692 h 3214688"/>
                    <a:gd name="connsiteX1" fmla="*/ 2164154 w 3214688"/>
                    <a:gd name="connsiteY1" fmla="*/ 2577661 h 3214688"/>
                    <a:gd name="connsiteX2" fmla="*/ 2066550 w 3214688"/>
                    <a:gd name="connsiteY2" fmla="*/ 2716118 h 3214688"/>
                    <a:gd name="connsiteX3" fmla="*/ 1754615 w 3214688"/>
                    <a:gd name="connsiteY3" fmla="*/ 3074168 h 3214688"/>
                    <a:gd name="connsiteX4" fmla="*/ 1740871 w 3214688"/>
                    <a:gd name="connsiteY4" fmla="*/ 3087292 h 3214688"/>
                    <a:gd name="connsiteX5" fmla="*/ 1759187 w 3214688"/>
                    <a:gd name="connsiteY5" fmla="*/ 3086367 h 3214688"/>
                    <a:gd name="connsiteX6" fmla="*/ 2552008 w 3214688"/>
                    <a:gd name="connsiteY6" fmla="*/ 2754731 h 3214688"/>
                    <a:gd name="connsiteX7" fmla="*/ 2647815 w 3214688"/>
                    <a:gd name="connsiteY7" fmla="*/ 2667609 h 3214688"/>
                    <a:gd name="connsiteX8" fmla="*/ 2533366 w 3214688"/>
                    <a:gd name="connsiteY8" fmla="*/ 2587696 h 3214688"/>
                    <a:gd name="connsiteX9" fmla="*/ 2342448 w 3214688"/>
                    <a:gd name="connsiteY9" fmla="*/ 2491033 h 3214688"/>
                    <a:gd name="connsiteX10" fmla="*/ 974642 w 3214688"/>
                    <a:gd name="connsiteY10" fmla="*/ 2452516 h 3214688"/>
                    <a:gd name="connsiteX11" fmla="*/ 872242 w 3214688"/>
                    <a:gd name="connsiteY11" fmla="*/ 2491033 h 3214688"/>
                    <a:gd name="connsiteX12" fmla="*/ 681324 w 3214688"/>
                    <a:gd name="connsiteY12" fmla="*/ 2587696 h 3214688"/>
                    <a:gd name="connsiteX13" fmla="*/ 566873 w 3214688"/>
                    <a:gd name="connsiteY13" fmla="*/ 2667611 h 3214688"/>
                    <a:gd name="connsiteX14" fmla="*/ 662678 w 3214688"/>
                    <a:gd name="connsiteY14" fmla="*/ 2754731 h 3214688"/>
                    <a:gd name="connsiteX15" fmla="*/ 1455500 w 3214688"/>
                    <a:gd name="connsiteY15" fmla="*/ 3086367 h 3214688"/>
                    <a:gd name="connsiteX16" fmla="*/ 1473960 w 3214688"/>
                    <a:gd name="connsiteY16" fmla="*/ 3087299 h 3214688"/>
                    <a:gd name="connsiteX17" fmla="*/ 1460208 w 3214688"/>
                    <a:gd name="connsiteY17" fmla="*/ 3074168 h 3214688"/>
                    <a:gd name="connsiteX18" fmla="*/ 1148273 w 3214688"/>
                    <a:gd name="connsiteY18" fmla="*/ 2716118 h 3214688"/>
                    <a:gd name="connsiteX19" fmla="*/ 1050800 w 3214688"/>
                    <a:gd name="connsiteY19" fmla="*/ 2577661 h 3214688"/>
                    <a:gd name="connsiteX20" fmla="*/ 1668463 w 3214688"/>
                    <a:gd name="connsiteY20" fmla="*/ 2349078 h 3214688"/>
                    <a:gd name="connsiteX21" fmla="*/ 1668463 w 3214688"/>
                    <a:gd name="connsiteY21" fmla="*/ 2987045 h 3214688"/>
                    <a:gd name="connsiteX22" fmla="*/ 1686282 w 3214688"/>
                    <a:gd name="connsiteY22" fmla="*/ 2969732 h 3214688"/>
                    <a:gd name="connsiteX23" fmla="*/ 2047573 w 3214688"/>
                    <a:gd name="connsiteY23" fmla="*/ 2532767 h 3214688"/>
                    <a:gd name="connsiteX24" fmla="*/ 2118389 w 3214688"/>
                    <a:gd name="connsiteY24" fmla="*/ 2414793 h 3214688"/>
                    <a:gd name="connsiteX25" fmla="*/ 2062644 w 3214688"/>
                    <a:gd name="connsiteY25" fmla="*/ 2398957 h 3214688"/>
                    <a:gd name="connsiteX26" fmla="*/ 1838838 w 3214688"/>
                    <a:gd name="connsiteY26" fmla="*/ 2359062 h 3214688"/>
                    <a:gd name="connsiteX27" fmla="*/ 1546226 w 3214688"/>
                    <a:gd name="connsiteY27" fmla="*/ 2349078 h 3214688"/>
                    <a:gd name="connsiteX28" fmla="*/ 1375851 w 3214688"/>
                    <a:gd name="connsiteY28" fmla="*/ 2359062 h 3214688"/>
                    <a:gd name="connsiteX29" fmla="*/ 1152046 w 3214688"/>
                    <a:gd name="connsiteY29" fmla="*/ 2398957 h 3214688"/>
                    <a:gd name="connsiteX30" fmla="*/ 1097994 w 3214688"/>
                    <a:gd name="connsiteY30" fmla="*/ 2414312 h 3214688"/>
                    <a:gd name="connsiteX31" fmla="*/ 1168773 w 3214688"/>
                    <a:gd name="connsiteY31" fmla="*/ 2532767 h 3214688"/>
                    <a:gd name="connsiteX32" fmla="*/ 1528675 w 3214688"/>
                    <a:gd name="connsiteY32" fmla="*/ 2969732 h 3214688"/>
                    <a:gd name="connsiteX33" fmla="*/ 1546226 w 3214688"/>
                    <a:gd name="connsiteY33" fmla="*/ 2986822 h 3214688"/>
                    <a:gd name="connsiteX34" fmla="*/ 2486262 w 3214688"/>
                    <a:gd name="connsiteY34" fmla="*/ 1668463 h 3214688"/>
                    <a:gd name="connsiteX35" fmla="*/ 2482389 w 3214688"/>
                    <a:gd name="connsiteY35" fmla="*/ 1744921 h 3214688"/>
                    <a:gd name="connsiteX36" fmla="*/ 2321876 w 3214688"/>
                    <a:gd name="connsiteY36" fmla="*/ 2298467 h 3214688"/>
                    <a:gd name="connsiteX37" fmla="*/ 2297383 w 3214688"/>
                    <a:gd name="connsiteY37" fmla="*/ 2345664 h 3214688"/>
                    <a:gd name="connsiteX38" fmla="*/ 2392218 w 3214688"/>
                    <a:gd name="connsiteY38" fmla="*/ 2381629 h 3214688"/>
                    <a:gd name="connsiteX39" fmla="*/ 2596737 w 3214688"/>
                    <a:gd name="connsiteY39" fmla="*/ 2485449 h 3214688"/>
                    <a:gd name="connsiteX40" fmla="*/ 2730520 w 3214688"/>
                    <a:gd name="connsiteY40" fmla="*/ 2578412 h 3214688"/>
                    <a:gd name="connsiteX41" fmla="*/ 2753323 w 3214688"/>
                    <a:gd name="connsiteY41" fmla="*/ 2553309 h 3214688"/>
                    <a:gd name="connsiteX42" fmla="*/ 3084782 w 3214688"/>
                    <a:gd name="connsiteY42" fmla="*/ 1760063 h 3214688"/>
                    <a:gd name="connsiteX43" fmla="*/ 3089405 w 3214688"/>
                    <a:gd name="connsiteY43" fmla="*/ 1668463 h 3214688"/>
                    <a:gd name="connsiteX44" fmla="*/ 1668463 w 3214688"/>
                    <a:gd name="connsiteY44" fmla="*/ 1668463 h 3214688"/>
                    <a:gd name="connsiteX45" fmla="*/ 1668463 w 3214688"/>
                    <a:gd name="connsiteY45" fmla="*/ 2227749 h 3214688"/>
                    <a:gd name="connsiteX46" fmla="*/ 1854174 w 3214688"/>
                    <a:gd name="connsiteY46" fmla="*/ 2238874 h 3214688"/>
                    <a:gd name="connsiteX47" fmla="*/ 2093075 w 3214688"/>
                    <a:gd name="connsiteY47" fmla="*/ 2282190 h 3214688"/>
                    <a:gd name="connsiteX48" fmla="*/ 2180461 w 3214688"/>
                    <a:gd name="connsiteY48" fmla="*/ 2307322 h 3214688"/>
                    <a:gd name="connsiteX49" fmla="*/ 2223231 w 3214688"/>
                    <a:gd name="connsiteY49" fmla="*/ 2220775 h 3214688"/>
                    <a:gd name="connsiteX50" fmla="*/ 2360202 w 3214688"/>
                    <a:gd name="connsiteY50" fmla="*/ 1739141 h 3214688"/>
                    <a:gd name="connsiteX51" fmla="*/ 2363915 w 3214688"/>
                    <a:gd name="connsiteY51" fmla="*/ 1668463 h 3214688"/>
                    <a:gd name="connsiteX52" fmla="*/ 853934 w 3214688"/>
                    <a:gd name="connsiteY52" fmla="*/ 1668463 h 3214688"/>
                    <a:gd name="connsiteX53" fmla="*/ 857628 w 3214688"/>
                    <a:gd name="connsiteY53" fmla="*/ 1739141 h 3214688"/>
                    <a:gd name="connsiteX54" fmla="*/ 993929 w 3214688"/>
                    <a:gd name="connsiteY54" fmla="*/ 2220775 h 3214688"/>
                    <a:gd name="connsiteX55" fmla="*/ 1036215 w 3214688"/>
                    <a:gd name="connsiteY55" fmla="*/ 2306750 h 3214688"/>
                    <a:gd name="connsiteX56" fmla="*/ 1121614 w 3214688"/>
                    <a:gd name="connsiteY56" fmla="*/ 2282190 h 3214688"/>
                    <a:gd name="connsiteX57" fmla="*/ 1360516 w 3214688"/>
                    <a:gd name="connsiteY57" fmla="*/ 2238874 h 3214688"/>
                    <a:gd name="connsiteX58" fmla="*/ 1546226 w 3214688"/>
                    <a:gd name="connsiteY58" fmla="*/ 2227749 h 3214688"/>
                    <a:gd name="connsiteX59" fmla="*/ 1546226 w 3214688"/>
                    <a:gd name="connsiteY59" fmla="*/ 1668463 h 3214688"/>
                    <a:gd name="connsiteX60" fmla="*/ 125282 w 3214688"/>
                    <a:gd name="connsiteY60" fmla="*/ 1668463 h 3214688"/>
                    <a:gd name="connsiteX61" fmla="*/ 129905 w 3214688"/>
                    <a:gd name="connsiteY61" fmla="*/ 1760063 h 3214688"/>
                    <a:gd name="connsiteX62" fmla="*/ 461363 w 3214688"/>
                    <a:gd name="connsiteY62" fmla="*/ 2553309 h 3214688"/>
                    <a:gd name="connsiteX63" fmla="*/ 484168 w 3214688"/>
                    <a:gd name="connsiteY63" fmla="*/ 2578414 h 3214688"/>
                    <a:gd name="connsiteX64" fmla="*/ 617953 w 3214688"/>
                    <a:gd name="connsiteY64" fmla="*/ 2485449 h 3214688"/>
                    <a:gd name="connsiteX65" fmla="*/ 822472 w 3214688"/>
                    <a:gd name="connsiteY65" fmla="*/ 2381629 h 3214688"/>
                    <a:gd name="connsiteX66" fmla="*/ 918086 w 3214688"/>
                    <a:gd name="connsiteY66" fmla="*/ 2345368 h 3214688"/>
                    <a:gd name="connsiteX67" fmla="*/ 893910 w 3214688"/>
                    <a:gd name="connsiteY67" fmla="*/ 2298467 h 3214688"/>
                    <a:gd name="connsiteX68" fmla="*/ 735344 w 3214688"/>
                    <a:gd name="connsiteY68" fmla="*/ 1744921 h 3214688"/>
                    <a:gd name="connsiteX69" fmla="*/ 731546 w 3214688"/>
                    <a:gd name="connsiteY69" fmla="*/ 1668463 h 3214688"/>
                    <a:gd name="connsiteX70" fmla="*/ 1036436 w 3214688"/>
                    <a:gd name="connsiteY70" fmla="*/ 911460 h 3214688"/>
                    <a:gd name="connsiteX71" fmla="*/ 993929 w 3214688"/>
                    <a:gd name="connsiteY71" fmla="*/ 998077 h 3214688"/>
                    <a:gd name="connsiteX72" fmla="*/ 857628 w 3214688"/>
                    <a:gd name="connsiteY72" fmla="*/ 1481228 h 3214688"/>
                    <a:gd name="connsiteX73" fmla="*/ 854245 w 3214688"/>
                    <a:gd name="connsiteY73" fmla="*/ 1546225 h 3214688"/>
                    <a:gd name="connsiteX74" fmla="*/ 1546226 w 3214688"/>
                    <a:gd name="connsiteY74" fmla="*/ 1546225 h 3214688"/>
                    <a:gd name="connsiteX75" fmla="*/ 1546226 w 3214688"/>
                    <a:gd name="connsiteY75" fmla="*/ 990118 h 3214688"/>
                    <a:gd name="connsiteX76" fmla="*/ 1360255 w 3214688"/>
                    <a:gd name="connsiteY76" fmla="*/ 978989 h 3214688"/>
                    <a:gd name="connsiteX77" fmla="*/ 1120814 w 3214688"/>
                    <a:gd name="connsiteY77" fmla="*/ 935673 h 3214688"/>
                    <a:gd name="connsiteX78" fmla="*/ 2180241 w 3214688"/>
                    <a:gd name="connsiteY78" fmla="*/ 910890 h 3214688"/>
                    <a:gd name="connsiteX79" fmla="*/ 2093876 w 3214688"/>
                    <a:gd name="connsiteY79" fmla="*/ 935673 h 3214688"/>
                    <a:gd name="connsiteX80" fmla="*/ 1854434 w 3214688"/>
                    <a:gd name="connsiteY80" fmla="*/ 978989 h 3214688"/>
                    <a:gd name="connsiteX81" fmla="*/ 1668463 w 3214688"/>
                    <a:gd name="connsiteY81" fmla="*/ 990118 h 3214688"/>
                    <a:gd name="connsiteX82" fmla="*/ 1668463 w 3214688"/>
                    <a:gd name="connsiteY82" fmla="*/ 1546225 h 3214688"/>
                    <a:gd name="connsiteX83" fmla="*/ 2363603 w 3214688"/>
                    <a:gd name="connsiteY83" fmla="*/ 1546225 h 3214688"/>
                    <a:gd name="connsiteX84" fmla="*/ 2360202 w 3214688"/>
                    <a:gd name="connsiteY84" fmla="*/ 1481228 h 3214688"/>
                    <a:gd name="connsiteX85" fmla="*/ 2223231 w 3214688"/>
                    <a:gd name="connsiteY85" fmla="*/ 998077 h 3214688"/>
                    <a:gd name="connsiteX86" fmla="*/ 2731519 w 3214688"/>
                    <a:gd name="connsiteY86" fmla="*/ 638964 h 3214688"/>
                    <a:gd name="connsiteX87" fmla="*/ 2597865 w 3214688"/>
                    <a:gd name="connsiteY87" fmla="*/ 732415 h 3214688"/>
                    <a:gd name="connsiteX88" fmla="*/ 2393553 w 3214688"/>
                    <a:gd name="connsiteY88" fmla="*/ 836234 h 3214688"/>
                    <a:gd name="connsiteX89" fmla="*/ 2297528 w 3214688"/>
                    <a:gd name="connsiteY89" fmla="*/ 872602 h 3214688"/>
                    <a:gd name="connsiteX90" fmla="*/ 2321876 w 3214688"/>
                    <a:gd name="connsiteY90" fmla="*/ 919557 h 3214688"/>
                    <a:gd name="connsiteX91" fmla="*/ 2482389 w 3214688"/>
                    <a:gd name="connsiteY91" fmla="*/ 1474977 h 3214688"/>
                    <a:gd name="connsiteX92" fmla="*/ 2485971 w 3214688"/>
                    <a:gd name="connsiteY92" fmla="*/ 1546225 h 3214688"/>
                    <a:gd name="connsiteX93" fmla="*/ 3089325 w 3214688"/>
                    <a:gd name="connsiteY93" fmla="*/ 1546225 h 3214688"/>
                    <a:gd name="connsiteX94" fmla="*/ 3084782 w 3214688"/>
                    <a:gd name="connsiteY94" fmla="*/ 1456213 h 3214688"/>
                    <a:gd name="connsiteX95" fmla="*/ 2753323 w 3214688"/>
                    <a:gd name="connsiteY95" fmla="*/ 662968 h 3214688"/>
                    <a:gd name="connsiteX96" fmla="*/ 483169 w 3214688"/>
                    <a:gd name="connsiteY96" fmla="*/ 638963 h 3214688"/>
                    <a:gd name="connsiteX97" fmla="*/ 461363 w 3214688"/>
                    <a:gd name="connsiteY97" fmla="*/ 662968 h 3214688"/>
                    <a:gd name="connsiteX98" fmla="*/ 129905 w 3214688"/>
                    <a:gd name="connsiteY98" fmla="*/ 1456213 h 3214688"/>
                    <a:gd name="connsiteX99" fmla="*/ 125362 w 3214688"/>
                    <a:gd name="connsiteY99" fmla="*/ 1546225 h 3214688"/>
                    <a:gd name="connsiteX100" fmla="*/ 731831 w 3214688"/>
                    <a:gd name="connsiteY100" fmla="*/ 1546225 h 3214688"/>
                    <a:gd name="connsiteX101" fmla="*/ 735344 w 3214688"/>
                    <a:gd name="connsiteY101" fmla="*/ 1474977 h 3214688"/>
                    <a:gd name="connsiteX102" fmla="*/ 893910 w 3214688"/>
                    <a:gd name="connsiteY102" fmla="*/ 919557 h 3214688"/>
                    <a:gd name="connsiteX103" fmla="*/ 917942 w 3214688"/>
                    <a:gd name="connsiteY103" fmla="*/ 872897 h 3214688"/>
                    <a:gd name="connsiteX104" fmla="*/ 821137 w 3214688"/>
                    <a:gd name="connsiteY104" fmla="*/ 836234 h 3214688"/>
                    <a:gd name="connsiteX105" fmla="*/ 616825 w 3214688"/>
                    <a:gd name="connsiteY105" fmla="*/ 732415 h 3214688"/>
                    <a:gd name="connsiteX106" fmla="*/ 1546226 w 3214688"/>
                    <a:gd name="connsiteY106" fmla="*/ 231046 h 3214688"/>
                    <a:gd name="connsiteX107" fmla="*/ 1528675 w 3214688"/>
                    <a:gd name="connsiteY107" fmla="*/ 248139 h 3214688"/>
                    <a:gd name="connsiteX108" fmla="*/ 1168773 w 3214688"/>
                    <a:gd name="connsiteY108" fmla="*/ 685478 h 3214688"/>
                    <a:gd name="connsiteX109" fmla="*/ 1098769 w 3214688"/>
                    <a:gd name="connsiteY109" fmla="*/ 802845 h 3214688"/>
                    <a:gd name="connsiteX110" fmla="*/ 1152046 w 3214688"/>
                    <a:gd name="connsiteY110" fmla="*/ 818106 h 3214688"/>
                    <a:gd name="connsiteX111" fmla="*/ 1375851 w 3214688"/>
                    <a:gd name="connsiteY111" fmla="*/ 858541 h 3214688"/>
                    <a:gd name="connsiteX112" fmla="*/ 1546226 w 3214688"/>
                    <a:gd name="connsiteY112" fmla="*/ 868716 h 3214688"/>
                    <a:gd name="connsiteX113" fmla="*/ 1668463 w 3214688"/>
                    <a:gd name="connsiteY113" fmla="*/ 230823 h 3214688"/>
                    <a:gd name="connsiteX114" fmla="*/ 1668463 w 3214688"/>
                    <a:gd name="connsiteY114" fmla="*/ 868716 h 3214688"/>
                    <a:gd name="connsiteX115" fmla="*/ 1838838 w 3214688"/>
                    <a:gd name="connsiteY115" fmla="*/ 858541 h 3214688"/>
                    <a:gd name="connsiteX116" fmla="*/ 2062644 w 3214688"/>
                    <a:gd name="connsiteY116" fmla="*/ 818106 h 3214688"/>
                    <a:gd name="connsiteX117" fmla="*/ 2117610 w 3214688"/>
                    <a:gd name="connsiteY117" fmla="*/ 802362 h 3214688"/>
                    <a:gd name="connsiteX118" fmla="*/ 2047573 w 3214688"/>
                    <a:gd name="connsiteY118" fmla="*/ 685478 h 3214688"/>
                    <a:gd name="connsiteX119" fmla="*/ 1686282 w 3214688"/>
                    <a:gd name="connsiteY119" fmla="*/ 248139 h 3214688"/>
                    <a:gd name="connsiteX120" fmla="*/ 1739116 w 3214688"/>
                    <a:gd name="connsiteY120" fmla="*/ 128896 h 3214688"/>
                    <a:gd name="connsiteX121" fmla="*/ 1754615 w 3214688"/>
                    <a:gd name="connsiteY121" fmla="*/ 143696 h 3214688"/>
                    <a:gd name="connsiteX122" fmla="*/ 2066550 w 3214688"/>
                    <a:gd name="connsiteY122" fmla="*/ 501745 h 3214688"/>
                    <a:gd name="connsiteX123" fmla="*/ 2164154 w 3214688"/>
                    <a:gd name="connsiteY123" fmla="*/ 640209 h 3214688"/>
                    <a:gd name="connsiteX124" fmla="*/ 2239903 w 3214688"/>
                    <a:gd name="connsiteY124" fmla="*/ 764214 h 3214688"/>
                    <a:gd name="connsiteX125" fmla="*/ 2342448 w 3214688"/>
                    <a:gd name="connsiteY125" fmla="*/ 725496 h 3214688"/>
                    <a:gd name="connsiteX126" fmla="*/ 2533366 w 3214688"/>
                    <a:gd name="connsiteY126" fmla="*/ 629040 h 3214688"/>
                    <a:gd name="connsiteX127" fmla="*/ 2648575 w 3214688"/>
                    <a:gd name="connsiteY127" fmla="*/ 549358 h 3214688"/>
                    <a:gd name="connsiteX128" fmla="*/ 2552008 w 3214688"/>
                    <a:gd name="connsiteY128" fmla="*/ 461545 h 3214688"/>
                    <a:gd name="connsiteX129" fmla="*/ 1759187 w 3214688"/>
                    <a:gd name="connsiteY129" fmla="*/ 129910 h 3214688"/>
                    <a:gd name="connsiteX130" fmla="*/ 1475715 w 3214688"/>
                    <a:gd name="connsiteY130" fmla="*/ 128888 h 3214688"/>
                    <a:gd name="connsiteX131" fmla="*/ 1455500 w 3214688"/>
                    <a:gd name="connsiteY131" fmla="*/ 129910 h 3214688"/>
                    <a:gd name="connsiteX132" fmla="*/ 662678 w 3214688"/>
                    <a:gd name="connsiteY132" fmla="*/ 461545 h 3214688"/>
                    <a:gd name="connsiteX133" fmla="*/ 566113 w 3214688"/>
                    <a:gd name="connsiteY133" fmla="*/ 549357 h 3214688"/>
                    <a:gd name="connsiteX134" fmla="*/ 681324 w 3214688"/>
                    <a:gd name="connsiteY134" fmla="*/ 629040 h 3214688"/>
                    <a:gd name="connsiteX135" fmla="*/ 872242 w 3214688"/>
                    <a:gd name="connsiteY135" fmla="*/ 725496 h 3214688"/>
                    <a:gd name="connsiteX136" fmla="*/ 975251 w 3214688"/>
                    <a:gd name="connsiteY136" fmla="*/ 764389 h 3214688"/>
                    <a:gd name="connsiteX137" fmla="*/ 1050800 w 3214688"/>
                    <a:gd name="connsiteY137" fmla="*/ 640209 h 3214688"/>
                    <a:gd name="connsiteX138" fmla="*/ 1148273 w 3214688"/>
                    <a:gd name="connsiteY138" fmla="*/ 501745 h 3214688"/>
                    <a:gd name="connsiteX139" fmla="*/ 1460208 w 3214688"/>
                    <a:gd name="connsiteY139" fmla="*/ 143696 h 3214688"/>
                    <a:gd name="connsiteX140" fmla="*/ 1607344 w 3214688"/>
                    <a:gd name="connsiteY140" fmla="*/ 0 h 3214688"/>
                    <a:gd name="connsiteX141" fmla="*/ 3214688 w 3214688"/>
                    <a:gd name="connsiteY141" fmla="*/ 1607344 h 3214688"/>
                    <a:gd name="connsiteX142" fmla="*/ 1607344 w 3214688"/>
                    <a:gd name="connsiteY142" fmla="*/ 3214688 h 3214688"/>
                    <a:gd name="connsiteX143" fmla="*/ 0 w 3214688"/>
                    <a:gd name="connsiteY143" fmla="*/ 1607344 h 3214688"/>
                    <a:gd name="connsiteX144" fmla="*/ 1607344 w 3214688"/>
                    <a:gd name="connsiteY144" fmla="*/ 0 h 321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3214688" h="3214688">
                      <a:moveTo>
                        <a:pt x="2240514" y="2452692"/>
                      </a:moveTo>
                      <a:lnTo>
                        <a:pt x="2164154" y="2577661"/>
                      </a:lnTo>
                      <a:cubicBezTo>
                        <a:pt x="2133682" y="2623995"/>
                        <a:pt x="2101138" y="2670175"/>
                        <a:pt x="2066550" y="2716118"/>
                      </a:cubicBezTo>
                      <a:cubicBezTo>
                        <a:pt x="1950245" y="2873312"/>
                        <a:pt x="1834903" y="2995905"/>
                        <a:pt x="1754615" y="3074168"/>
                      </a:cubicBezTo>
                      <a:lnTo>
                        <a:pt x="1740871" y="3087292"/>
                      </a:lnTo>
                      <a:lnTo>
                        <a:pt x="1759187" y="3086367"/>
                      </a:lnTo>
                      <a:cubicBezTo>
                        <a:pt x="2058736" y="3055930"/>
                        <a:pt x="2331968" y="2936422"/>
                        <a:pt x="2552008" y="2754731"/>
                      </a:cubicBezTo>
                      <a:lnTo>
                        <a:pt x="2647815" y="2667609"/>
                      </a:lnTo>
                      <a:lnTo>
                        <a:pt x="2533366" y="2587696"/>
                      </a:lnTo>
                      <a:cubicBezTo>
                        <a:pt x="2472930" y="2551687"/>
                        <a:pt x="2409077" y="2519400"/>
                        <a:pt x="2342448" y="2491033"/>
                      </a:cubicBezTo>
                      <a:close/>
                      <a:moveTo>
                        <a:pt x="974642" y="2452516"/>
                      </a:moveTo>
                      <a:lnTo>
                        <a:pt x="872242" y="2491033"/>
                      </a:lnTo>
                      <a:cubicBezTo>
                        <a:pt x="805613" y="2519400"/>
                        <a:pt x="741760" y="2551687"/>
                        <a:pt x="681324" y="2587696"/>
                      </a:cubicBezTo>
                      <a:lnTo>
                        <a:pt x="566873" y="2667611"/>
                      </a:lnTo>
                      <a:lnTo>
                        <a:pt x="662678" y="2754731"/>
                      </a:lnTo>
                      <a:cubicBezTo>
                        <a:pt x="882719" y="2936422"/>
                        <a:pt x="1155951" y="3055930"/>
                        <a:pt x="1455500" y="3086367"/>
                      </a:cubicBezTo>
                      <a:lnTo>
                        <a:pt x="1473960" y="3087299"/>
                      </a:lnTo>
                      <a:lnTo>
                        <a:pt x="1460208" y="3074168"/>
                      </a:lnTo>
                      <a:cubicBezTo>
                        <a:pt x="1379921" y="2995905"/>
                        <a:pt x="1264578" y="2873312"/>
                        <a:pt x="1148273" y="2716118"/>
                      </a:cubicBezTo>
                      <a:cubicBezTo>
                        <a:pt x="1113686" y="2670175"/>
                        <a:pt x="1081189" y="2623995"/>
                        <a:pt x="1050800" y="2577661"/>
                      </a:cubicBezTo>
                      <a:close/>
                      <a:moveTo>
                        <a:pt x="1668463" y="2349078"/>
                      </a:moveTo>
                      <a:lnTo>
                        <a:pt x="1668463" y="2987045"/>
                      </a:lnTo>
                      <a:lnTo>
                        <a:pt x="1686282" y="2969732"/>
                      </a:lnTo>
                      <a:cubicBezTo>
                        <a:pt x="1781612" y="2874931"/>
                        <a:pt x="1920253" y="2723080"/>
                        <a:pt x="2047573" y="2532767"/>
                      </a:cubicBezTo>
                      <a:lnTo>
                        <a:pt x="2118389" y="2414793"/>
                      </a:lnTo>
                      <a:lnTo>
                        <a:pt x="2062644" y="2398957"/>
                      </a:lnTo>
                      <a:cubicBezTo>
                        <a:pt x="1989750" y="2381404"/>
                        <a:pt x="1914935" y="2368039"/>
                        <a:pt x="1838838" y="2359062"/>
                      </a:cubicBezTo>
                      <a:close/>
                      <a:moveTo>
                        <a:pt x="1546226" y="2349078"/>
                      </a:moveTo>
                      <a:lnTo>
                        <a:pt x="1375851" y="2359062"/>
                      </a:lnTo>
                      <a:cubicBezTo>
                        <a:pt x="1299755" y="2368039"/>
                        <a:pt x="1224940" y="2381404"/>
                        <a:pt x="1152046" y="2398957"/>
                      </a:cubicBezTo>
                      <a:lnTo>
                        <a:pt x="1097994" y="2414312"/>
                      </a:lnTo>
                      <a:lnTo>
                        <a:pt x="1168773" y="2532767"/>
                      </a:lnTo>
                      <a:cubicBezTo>
                        <a:pt x="1295523" y="2723080"/>
                        <a:pt x="1433595" y="2874931"/>
                        <a:pt x="1528675" y="2969732"/>
                      </a:cubicBezTo>
                      <a:lnTo>
                        <a:pt x="1546226" y="2986822"/>
                      </a:lnTo>
                      <a:close/>
                      <a:moveTo>
                        <a:pt x="2486262" y="1668463"/>
                      </a:moveTo>
                      <a:lnTo>
                        <a:pt x="2482389" y="1744921"/>
                      </a:lnTo>
                      <a:cubicBezTo>
                        <a:pt x="2464263" y="1925703"/>
                        <a:pt x="2410126" y="2111990"/>
                        <a:pt x="2321876" y="2298467"/>
                      </a:cubicBezTo>
                      <a:lnTo>
                        <a:pt x="2297383" y="2345664"/>
                      </a:lnTo>
                      <a:lnTo>
                        <a:pt x="2392218" y="2381629"/>
                      </a:lnTo>
                      <a:cubicBezTo>
                        <a:pt x="2463528" y="2412174"/>
                        <a:pt x="2531927" y="2446867"/>
                        <a:pt x="2596737" y="2485449"/>
                      </a:cubicBezTo>
                      <a:lnTo>
                        <a:pt x="2730520" y="2578412"/>
                      </a:lnTo>
                      <a:lnTo>
                        <a:pt x="2753323" y="2553309"/>
                      </a:lnTo>
                      <a:cubicBezTo>
                        <a:pt x="2934917" y="2333150"/>
                        <a:pt x="3054361" y="2059772"/>
                        <a:pt x="3084782" y="1760063"/>
                      </a:cubicBezTo>
                      <a:lnTo>
                        <a:pt x="3089405" y="1668463"/>
                      </a:lnTo>
                      <a:close/>
                      <a:moveTo>
                        <a:pt x="1668463" y="1668463"/>
                      </a:moveTo>
                      <a:lnTo>
                        <a:pt x="1668463" y="2227749"/>
                      </a:lnTo>
                      <a:lnTo>
                        <a:pt x="1854174" y="2238874"/>
                      </a:lnTo>
                      <a:cubicBezTo>
                        <a:pt x="1935356" y="2248644"/>
                        <a:pt x="2015217" y="2263170"/>
                        <a:pt x="2093075" y="2282190"/>
                      </a:cubicBezTo>
                      <a:lnTo>
                        <a:pt x="2180461" y="2307322"/>
                      </a:lnTo>
                      <a:lnTo>
                        <a:pt x="2223231" y="2220775"/>
                      </a:lnTo>
                      <a:cubicBezTo>
                        <a:pt x="2291457" y="2071357"/>
                        <a:pt x="2342510" y="1908976"/>
                        <a:pt x="2360202" y="1739141"/>
                      </a:cubicBezTo>
                      <a:lnTo>
                        <a:pt x="2363915" y="1668463"/>
                      </a:lnTo>
                      <a:close/>
                      <a:moveTo>
                        <a:pt x="853934" y="1668463"/>
                      </a:moveTo>
                      <a:lnTo>
                        <a:pt x="857628" y="1739141"/>
                      </a:lnTo>
                      <a:cubicBezTo>
                        <a:pt x="875231" y="1908976"/>
                        <a:pt x="926029" y="2071357"/>
                        <a:pt x="993929" y="2220775"/>
                      </a:cubicBezTo>
                      <a:lnTo>
                        <a:pt x="1036215" y="2306750"/>
                      </a:lnTo>
                      <a:lnTo>
                        <a:pt x="1121614" y="2282190"/>
                      </a:lnTo>
                      <a:cubicBezTo>
                        <a:pt x="1199473" y="2263170"/>
                        <a:pt x="1279334" y="2248644"/>
                        <a:pt x="1360516" y="2238874"/>
                      </a:cubicBezTo>
                      <a:lnTo>
                        <a:pt x="1546226" y="2227749"/>
                      </a:lnTo>
                      <a:lnTo>
                        <a:pt x="1546226" y="1668463"/>
                      </a:lnTo>
                      <a:close/>
                      <a:moveTo>
                        <a:pt x="125282" y="1668463"/>
                      </a:moveTo>
                      <a:lnTo>
                        <a:pt x="129905" y="1760063"/>
                      </a:lnTo>
                      <a:cubicBezTo>
                        <a:pt x="160326" y="2059772"/>
                        <a:pt x="279770" y="2333150"/>
                        <a:pt x="461363" y="2553309"/>
                      </a:cubicBezTo>
                      <a:lnTo>
                        <a:pt x="484168" y="2578414"/>
                      </a:lnTo>
                      <a:lnTo>
                        <a:pt x="617953" y="2485449"/>
                      </a:lnTo>
                      <a:cubicBezTo>
                        <a:pt x="682763" y="2446867"/>
                        <a:pt x="751163" y="2412174"/>
                        <a:pt x="822472" y="2381629"/>
                      </a:cubicBezTo>
                      <a:lnTo>
                        <a:pt x="918086" y="2345368"/>
                      </a:lnTo>
                      <a:lnTo>
                        <a:pt x="893910" y="2298467"/>
                      </a:lnTo>
                      <a:cubicBezTo>
                        <a:pt x="806372" y="2111990"/>
                        <a:pt x="753137" y="1925703"/>
                        <a:pt x="735344" y="1744921"/>
                      </a:cubicBezTo>
                      <a:lnTo>
                        <a:pt x="731546" y="1668463"/>
                      </a:lnTo>
                      <a:close/>
                      <a:moveTo>
                        <a:pt x="1036436" y="911460"/>
                      </a:moveTo>
                      <a:lnTo>
                        <a:pt x="993929" y="998077"/>
                      </a:lnTo>
                      <a:cubicBezTo>
                        <a:pt x="926029" y="1147854"/>
                        <a:pt x="875231" y="1310725"/>
                        <a:pt x="857628" y="1481228"/>
                      </a:cubicBezTo>
                      <a:lnTo>
                        <a:pt x="854245" y="1546225"/>
                      </a:lnTo>
                      <a:lnTo>
                        <a:pt x="1546226" y="1546225"/>
                      </a:lnTo>
                      <a:lnTo>
                        <a:pt x="1546226" y="990118"/>
                      </a:lnTo>
                      <a:lnTo>
                        <a:pt x="1360255" y="978989"/>
                      </a:lnTo>
                      <a:cubicBezTo>
                        <a:pt x="1278920" y="969219"/>
                        <a:pt x="1198859" y="954694"/>
                        <a:pt x="1120814" y="935673"/>
                      </a:cubicBezTo>
                      <a:close/>
                      <a:moveTo>
                        <a:pt x="2180241" y="910890"/>
                      </a:moveTo>
                      <a:lnTo>
                        <a:pt x="2093876" y="935673"/>
                      </a:lnTo>
                      <a:cubicBezTo>
                        <a:pt x="2015831" y="954694"/>
                        <a:pt x="1935770" y="969219"/>
                        <a:pt x="1854434" y="978989"/>
                      </a:cubicBezTo>
                      <a:lnTo>
                        <a:pt x="1668463" y="990118"/>
                      </a:lnTo>
                      <a:lnTo>
                        <a:pt x="1668463" y="1546225"/>
                      </a:lnTo>
                      <a:lnTo>
                        <a:pt x="2363603" y="1546225"/>
                      </a:lnTo>
                      <a:lnTo>
                        <a:pt x="2360202" y="1481228"/>
                      </a:lnTo>
                      <a:cubicBezTo>
                        <a:pt x="2342510" y="1310725"/>
                        <a:pt x="2291457" y="1147854"/>
                        <a:pt x="2223231" y="998077"/>
                      </a:cubicBezTo>
                      <a:close/>
                      <a:moveTo>
                        <a:pt x="2731519" y="638964"/>
                      </a:moveTo>
                      <a:lnTo>
                        <a:pt x="2597865" y="732415"/>
                      </a:lnTo>
                      <a:cubicBezTo>
                        <a:pt x="2533258" y="770996"/>
                        <a:pt x="2464907" y="805689"/>
                        <a:pt x="2393553" y="836234"/>
                      </a:cubicBezTo>
                      <a:lnTo>
                        <a:pt x="2297528" y="872602"/>
                      </a:lnTo>
                      <a:lnTo>
                        <a:pt x="2321876" y="919557"/>
                      </a:lnTo>
                      <a:cubicBezTo>
                        <a:pt x="2410126" y="1106247"/>
                        <a:pt x="2464263" y="1293033"/>
                        <a:pt x="2482389" y="1474977"/>
                      </a:cubicBezTo>
                      <a:lnTo>
                        <a:pt x="2485971" y="1546225"/>
                      </a:lnTo>
                      <a:lnTo>
                        <a:pt x="3089325" y="1546225"/>
                      </a:lnTo>
                      <a:lnTo>
                        <a:pt x="3084782" y="1456213"/>
                      </a:lnTo>
                      <a:cubicBezTo>
                        <a:pt x="3054361" y="1156504"/>
                        <a:pt x="2934917" y="883126"/>
                        <a:pt x="2753323" y="662968"/>
                      </a:cubicBezTo>
                      <a:close/>
                      <a:moveTo>
                        <a:pt x="483169" y="638963"/>
                      </a:moveTo>
                      <a:lnTo>
                        <a:pt x="461363" y="662968"/>
                      </a:lnTo>
                      <a:cubicBezTo>
                        <a:pt x="279770" y="883126"/>
                        <a:pt x="160326" y="1156504"/>
                        <a:pt x="129905" y="1456213"/>
                      </a:cubicBezTo>
                      <a:lnTo>
                        <a:pt x="125362" y="1546225"/>
                      </a:lnTo>
                      <a:lnTo>
                        <a:pt x="731831" y="1546225"/>
                      </a:lnTo>
                      <a:lnTo>
                        <a:pt x="735344" y="1474977"/>
                      </a:lnTo>
                      <a:cubicBezTo>
                        <a:pt x="753137" y="1293033"/>
                        <a:pt x="806372" y="1106247"/>
                        <a:pt x="893910" y="919557"/>
                      </a:cubicBezTo>
                      <a:lnTo>
                        <a:pt x="917942" y="872897"/>
                      </a:lnTo>
                      <a:lnTo>
                        <a:pt x="821137" y="836234"/>
                      </a:lnTo>
                      <a:cubicBezTo>
                        <a:pt x="749783" y="805689"/>
                        <a:pt x="681432" y="770996"/>
                        <a:pt x="616825" y="732415"/>
                      </a:cubicBezTo>
                      <a:close/>
                      <a:moveTo>
                        <a:pt x="1546226" y="231046"/>
                      </a:moveTo>
                      <a:lnTo>
                        <a:pt x="1528675" y="248139"/>
                      </a:lnTo>
                      <a:cubicBezTo>
                        <a:pt x="1433595" y="342957"/>
                        <a:pt x="1295523" y="494880"/>
                        <a:pt x="1168773" y="685478"/>
                      </a:cubicBezTo>
                      <a:lnTo>
                        <a:pt x="1098769" y="802845"/>
                      </a:lnTo>
                      <a:lnTo>
                        <a:pt x="1152046" y="818106"/>
                      </a:lnTo>
                      <a:cubicBezTo>
                        <a:pt x="1224940" y="835846"/>
                        <a:pt x="1299755" y="849411"/>
                        <a:pt x="1375851" y="858541"/>
                      </a:cubicBezTo>
                      <a:lnTo>
                        <a:pt x="1546226" y="868716"/>
                      </a:lnTo>
                      <a:close/>
                      <a:moveTo>
                        <a:pt x="1668463" y="230823"/>
                      </a:moveTo>
                      <a:lnTo>
                        <a:pt x="1668463" y="868716"/>
                      </a:lnTo>
                      <a:lnTo>
                        <a:pt x="1838838" y="858541"/>
                      </a:lnTo>
                      <a:cubicBezTo>
                        <a:pt x="1914935" y="849411"/>
                        <a:pt x="1989750" y="835846"/>
                        <a:pt x="2062644" y="818106"/>
                      </a:cubicBezTo>
                      <a:lnTo>
                        <a:pt x="2117610" y="802362"/>
                      </a:lnTo>
                      <a:lnTo>
                        <a:pt x="2047573" y="685478"/>
                      </a:lnTo>
                      <a:cubicBezTo>
                        <a:pt x="1920253" y="494880"/>
                        <a:pt x="1781612" y="342957"/>
                        <a:pt x="1686282" y="248139"/>
                      </a:cubicBezTo>
                      <a:close/>
                      <a:moveTo>
                        <a:pt x="1739116" y="128896"/>
                      </a:moveTo>
                      <a:lnTo>
                        <a:pt x="1754615" y="143696"/>
                      </a:lnTo>
                      <a:cubicBezTo>
                        <a:pt x="1834903" y="221959"/>
                        <a:pt x="1950245" y="344552"/>
                        <a:pt x="2066550" y="501745"/>
                      </a:cubicBezTo>
                      <a:cubicBezTo>
                        <a:pt x="2101138" y="547688"/>
                        <a:pt x="2133682" y="593868"/>
                        <a:pt x="2164154" y="640209"/>
                      </a:cubicBezTo>
                      <a:lnTo>
                        <a:pt x="2239903" y="764214"/>
                      </a:lnTo>
                      <a:lnTo>
                        <a:pt x="2342448" y="725496"/>
                      </a:lnTo>
                      <a:cubicBezTo>
                        <a:pt x="2409077" y="697086"/>
                        <a:pt x="2472930" y="664847"/>
                        <a:pt x="2533366" y="629040"/>
                      </a:cubicBezTo>
                      <a:lnTo>
                        <a:pt x="2648575" y="549358"/>
                      </a:lnTo>
                      <a:lnTo>
                        <a:pt x="2552008" y="461545"/>
                      </a:lnTo>
                      <a:cubicBezTo>
                        <a:pt x="2331968" y="279855"/>
                        <a:pt x="2058736" y="160347"/>
                        <a:pt x="1759187" y="129910"/>
                      </a:cubicBezTo>
                      <a:close/>
                      <a:moveTo>
                        <a:pt x="1475715" y="128888"/>
                      </a:moveTo>
                      <a:lnTo>
                        <a:pt x="1455500" y="129910"/>
                      </a:lnTo>
                      <a:cubicBezTo>
                        <a:pt x="1155951" y="160347"/>
                        <a:pt x="882719" y="279855"/>
                        <a:pt x="662678" y="461545"/>
                      </a:cubicBezTo>
                      <a:lnTo>
                        <a:pt x="566113" y="549357"/>
                      </a:lnTo>
                      <a:lnTo>
                        <a:pt x="681324" y="629040"/>
                      </a:lnTo>
                      <a:cubicBezTo>
                        <a:pt x="741760" y="664847"/>
                        <a:pt x="805613" y="697086"/>
                        <a:pt x="872242" y="725496"/>
                      </a:cubicBezTo>
                      <a:lnTo>
                        <a:pt x="975251" y="764389"/>
                      </a:lnTo>
                      <a:lnTo>
                        <a:pt x="1050800" y="640209"/>
                      </a:lnTo>
                      <a:cubicBezTo>
                        <a:pt x="1081189" y="593868"/>
                        <a:pt x="1113686" y="547688"/>
                        <a:pt x="1148273" y="501745"/>
                      </a:cubicBezTo>
                      <a:cubicBezTo>
                        <a:pt x="1264578" y="344552"/>
                        <a:pt x="1379921" y="221959"/>
                        <a:pt x="1460208" y="143696"/>
                      </a:cubicBezTo>
                      <a:close/>
                      <a:moveTo>
                        <a:pt x="1607344" y="0"/>
                      </a:moveTo>
                      <a:cubicBezTo>
                        <a:pt x="2495056" y="0"/>
                        <a:pt x="3214688" y="719632"/>
                        <a:pt x="3214688" y="1607344"/>
                      </a:cubicBezTo>
                      <a:cubicBezTo>
                        <a:pt x="3214688" y="2495056"/>
                        <a:pt x="2495056" y="3214688"/>
                        <a:pt x="1607344" y="3214688"/>
                      </a:cubicBezTo>
                      <a:cubicBezTo>
                        <a:pt x="719632" y="3214688"/>
                        <a:pt x="0" y="2495056"/>
                        <a:pt x="0" y="1607344"/>
                      </a:cubicBezTo>
                      <a:cubicBezTo>
                        <a:pt x="0" y="719632"/>
                        <a:pt x="719632" y="0"/>
                        <a:pt x="1607344" y="0"/>
                      </a:cubicBezTo>
                      <a:close/>
                    </a:path>
                  </a:pathLst>
                </a:custGeom>
                <a:solidFill>
                  <a:srgbClr val="0078D7"/>
                </a:solidFill>
                <a:ln>
                  <a:noFill/>
                </a:ln>
              </p:spPr>
              <p:txBody>
                <a:bodyPr vert="horz" wrap="square" lIns="84006" tIns="42003" rIns="84006" bIns="42003" numCol="1" anchor="t" anchorCtr="0" compatLnSpc="1">
                  <a:prstTxWarp prst="textNoShape">
                    <a:avLst/>
                  </a:prstTxWarp>
                  <a:noAutofit/>
                </a:bodyPr>
                <a:lstStyle/>
                <a:p>
                  <a:pPr defTabSz="839987">
                    <a:defRPr/>
                  </a:pPr>
                  <a:endParaRPr lang="en-US" sz="1654" kern="0" dirty="0">
                    <a:solidFill>
                      <a:srgbClr val="FFFFFF"/>
                    </a:solidFill>
                    <a:latin typeface="Segoe UI"/>
                  </a:endParaRPr>
                </a:p>
              </p:txBody>
            </p:sp>
            <p:sp>
              <p:nvSpPr>
                <p:cNvPr id="380" name="Freeform 379"/>
                <p:cNvSpPr>
                  <a:spLocks/>
                </p:cNvSpPr>
                <p:nvPr/>
              </p:nvSpPr>
              <p:spPr bwMode="auto">
                <a:xfrm>
                  <a:off x="10935462" y="3576787"/>
                  <a:ext cx="131222" cy="235796"/>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rgbClr val="0078D7"/>
                </a:solidFill>
                <a:ln>
                  <a:noFill/>
                </a:ln>
              </p:spPr>
              <p:txBody>
                <a:bodyPr vert="horz" wrap="square" lIns="84006" tIns="42003" rIns="84006" bIns="42003" numCol="1" anchor="t" anchorCtr="0" compatLnSpc="1">
                  <a:prstTxWarp prst="textNoShape">
                    <a:avLst/>
                  </a:prstTxWarp>
                  <a:noAutofit/>
                </a:bodyPr>
                <a:lstStyle/>
                <a:p>
                  <a:pPr defTabSz="839987">
                    <a:defRPr/>
                  </a:pPr>
                  <a:endParaRPr lang="en-US" sz="1654" kern="0" dirty="0">
                    <a:solidFill>
                      <a:srgbClr val="FFFFFF"/>
                    </a:solidFill>
                    <a:latin typeface="Segoe UI"/>
                  </a:endParaRPr>
                </a:p>
              </p:txBody>
            </p:sp>
            <p:sp>
              <p:nvSpPr>
                <p:cNvPr id="381" name="Freeform 380"/>
                <p:cNvSpPr/>
                <p:nvPr/>
              </p:nvSpPr>
              <p:spPr bwMode="auto">
                <a:xfrm>
                  <a:off x="10884687" y="4165112"/>
                  <a:ext cx="248428" cy="140196"/>
                </a:xfrm>
                <a:custGeom>
                  <a:avLst/>
                  <a:gdLst>
                    <a:gd name="connsiteX0" fmla="*/ 5333671 w 7645936"/>
                    <a:gd name="connsiteY0" fmla="*/ 2643510 h 4314825"/>
                    <a:gd name="connsiteX1" fmla="*/ 5193195 w 7645936"/>
                    <a:gd name="connsiteY1" fmla="*/ 2783986 h 4314825"/>
                    <a:gd name="connsiteX2" fmla="*/ 5193195 w 7645936"/>
                    <a:gd name="connsiteY2" fmla="*/ 3723500 h 4314825"/>
                    <a:gd name="connsiteX3" fmla="*/ 5333671 w 7645936"/>
                    <a:gd name="connsiteY3" fmla="*/ 3863976 h 4314825"/>
                    <a:gd name="connsiteX4" fmla="*/ 5421017 w 7645936"/>
                    <a:gd name="connsiteY4" fmla="*/ 3863976 h 4314825"/>
                    <a:gd name="connsiteX5" fmla="*/ 5561493 w 7645936"/>
                    <a:gd name="connsiteY5" fmla="*/ 3723500 h 4314825"/>
                    <a:gd name="connsiteX6" fmla="*/ 5561493 w 7645936"/>
                    <a:gd name="connsiteY6" fmla="*/ 2783986 h 4314825"/>
                    <a:gd name="connsiteX7" fmla="*/ 5421017 w 7645936"/>
                    <a:gd name="connsiteY7" fmla="*/ 2643510 h 4314825"/>
                    <a:gd name="connsiteX8" fmla="*/ 4527329 w 7645936"/>
                    <a:gd name="connsiteY8" fmla="*/ 2643510 h 4314825"/>
                    <a:gd name="connsiteX9" fmla="*/ 4386853 w 7645936"/>
                    <a:gd name="connsiteY9" fmla="*/ 2783986 h 4314825"/>
                    <a:gd name="connsiteX10" fmla="*/ 4386853 w 7645936"/>
                    <a:gd name="connsiteY10" fmla="*/ 3723500 h 4314825"/>
                    <a:gd name="connsiteX11" fmla="*/ 4527329 w 7645936"/>
                    <a:gd name="connsiteY11" fmla="*/ 3863976 h 4314825"/>
                    <a:gd name="connsiteX12" fmla="*/ 4614675 w 7645936"/>
                    <a:gd name="connsiteY12" fmla="*/ 3863976 h 4314825"/>
                    <a:gd name="connsiteX13" fmla="*/ 4755151 w 7645936"/>
                    <a:gd name="connsiteY13" fmla="*/ 3723500 h 4314825"/>
                    <a:gd name="connsiteX14" fmla="*/ 4755151 w 7645936"/>
                    <a:gd name="connsiteY14" fmla="*/ 2783986 h 4314825"/>
                    <a:gd name="connsiteX15" fmla="*/ 4614675 w 7645936"/>
                    <a:gd name="connsiteY15" fmla="*/ 2643510 h 4314825"/>
                    <a:gd name="connsiteX16" fmla="*/ 3720987 w 7645936"/>
                    <a:gd name="connsiteY16" fmla="*/ 2643510 h 4314825"/>
                    <a:gd name="connsiteX17" fmla="*/ 3580511 w 7645936"/>
                    <a:gd name="connsiteY17" fmla="*/ 2783986 h 4314825"/>
                    <a:gd name="connsiteX18" fmla="*/ 3580511 w 7645936"/>
                    <a:gd name="connsiteY18" fmla="*/ 3723500 h 4314825"/>
                    <a:gd name="connsiteX19" fmla="*/ 3720987 w 7645936"/>
                    <a:gd name="connsiteY19" fmla="*/ 3863976 h 4314825"/>
                    <a:gd name="connsiteX20" fmla="*/ 3808333 w 7645936"/>
                    <a:gd name="connsiteY20" fmla="*/ 3863976 h 4314825"/>
                    <a:gd name="connsiteX21" fmla="*/ 3948809 w 7645936"/>
                    <a:gd name="connsiteY21" fmla="*/ 3723500 h 4314825"/>
                    <a:gd name="connsiteX22" fmla="*/ 3948809 w 7645936"/>
                    <a:gd name="connsiteY22" fmla="*/ 2783986 h 4314825"/>
                    <a:gd name="connsiteX23" fmla="*/ 3808333 w 7645936"/>
                    <a:gd name="connsiteY23" fmla="*/ 2643510 h 4314825"/>
                    <a:gd name="connsiteX24" fmla="*/ 2914644 w 7645936"/>
                    <a:gd name="connsiteY24" fmla="*/ 2643510 h 4314825"/>
                    <a:gd name="connsiteX25" fmla="*/ 2774168 w 7645936"/>
                    <a:gd name="connsiteY25" fmla="*/ 2783986 h 4314825"/>
                    <a:gd name="connsiteX26" fmla="*/ 2774168 w 7645936"/>
                    <a:gd name="connsiteY26" fmla="*/ 3723500 h 4314825"/>
                    <a:gd name="connsiteX27" fmla="*/ 2914644 w 7645936"/>
                    <a:gd name="connsiteY27" fmla="*/ 3863976 h 4314825"/>
                    <a:gd name="connsiteX28" fmla="*/ 3001990 w 7645936"/>
                    <a:gd name="connsiteY28" fmla="*/ 3863976 h 4314825"/>
                    <a:gd name="connsiteX29" fmla="*/ 3142466 w 7645936"/>
                    <a:gd name="connsiteY29" fmla="*/ 3723500 h 4314825"/>
                    <a:gd name="connsiteX30" fmla="*/ 3142466 w 7645936"/>
                    <a:gd name="connsiteY30" fmla="*/ 2783986 h 4314825"/>
                    <a:gd name="connsiteX31" fmla="*/ 3001990 w 7645936"/>
                    <a:gd name="connsiteY31" fmla="*/ 2643510 h 4314825"/>
                    <a:gd name="connsiteX32" fmla="*/ 2108301 w 7645936"/>
                    <a:gd name="connsiteY32" fmla="*/ 2643510 h 4314825"/>
                    <a:gd name="connsiteX33" fmla="*/ 1967825 w 7645936"/>
                    <a:gd name="connsiteY33" fmla="*/ 2783986 h 4314825"/>
                    <a:gd name="connsiteX34" fmla="*/ 1967825 w 7645936"/>
                    <a:gd name="connsiteY34" fmla="*/ 3723500 h 4314825"/>
                    <a:gd name="connsiteX35" fmla="*/ 2108301 w 7645936"/>
                    <a:gd name="connsiteY35" fmla="*/ 3863976 h 4314825"/>
                    <a:gd name="connsiteX36" fmla="*/ 2195647 w 7645936"/>
                    <a:gd name="connsiteY36" fmla="*/ 3863976 h 4314825"/>
                    <a:gd name="connsiteX37" fmla="*/ 2336123 w 7645936"/>
                    <a:gd name="connsiteY37" fmla="*/ 3723500 h 4314825"/>
                    <a:gd name="connsiteX38" fmla="*/ 2336123 w 7645936"/>
                    <a:gd name="connsiteY38" fmla="*/ 2783986 h 4314825"/>
                    <a:gd name="connsiteX39" fmla="*/ 2195647 w 7645936"/>
                    <a:gd name="connsiteY39" fmla="*/ 2643510 h 4314825"/>
                    <a:gd name="connsiteX40" fmla="*/ 5312536 w 7645936"/>
                    <a:gd name="connsiteY40" fmla="*/ 2564132 h 4314825"/>
                    <a:gd name="connsiteX41" fmla="*/ 5442152 w 7645936"/>
                    <a:gd name="connsiteY41" fmla="*/ 2564132 h 4314825"/>
                    <a:gd name="connsiteX42" fmla="*/ 5650609 w 7645936"/>
                    <a:gd name="connsiteY42" fmla="*/ 2772589 h 4314825"/>
                    <a:gd name="connsiteX43" fmla="*/ 5650609 w 7645936"/>
                    <a:gd name="connsiteY43" fmla="*/ 3734896 h 4314825"/>
                    <a:gd name="connsiteX44" fmla="*/ 5442152 w 7645936"/>
                    <a:gd name="connsiteY44" fmla="*/ 3943353 h 4314825"/>
                    <a:gd name="connsiteX45" fmla="*/ 5312536 w 7645936"/>
                    <a:gd name="connsiteY45" fmla="*/ 3943353 h 4314825"/>
                    <a:gd name="connsiteX46" fmla="*/ 5104079 w 7645936"/>
                    <a:gd name="connsiteY46" fmla="*/ 3734896 h 4314825"/>
                    <a:gd name="connsiteX47" fmla="*/ 5104079 w 7645936"/>
                    <a:gd name="connsiteY47" fmla="*/ 2772589 h 4314825"/>
                    <a:gd name="connsiteX48" fmla="*/ 5312536 w 7645936"/>
                    <a:gd name="connsiteY48" fmla="*/ 2564132 h 4314825"/>
                    <a:gd name="connsiteX49" fmla="*/ 4506194 w 7645936"/>
                    <a:gd name="connsiteY49" fmla="*/ 2564132 h 4314825"/>
                    <a:gd name="connsiteX50" fmla="*/ 4635810 w 7645936"/>
                    <a:gd name="connsiteY50" fmla="*/ 2564132 h 4314825"/>
                    <a:gd name="connsiteX51" fmla="*/ 4844267 w 7645936"/>
                    <a:gd name="connsiteY51" fmla="*/ 2772589 h 4314825"/>
                    <a:gd name="connsiteX52" fmla="*/ 4844267 w 7645936"/>
                    <a:gd name="connsiteY52" fmla="*/ 3734896 h 4314825"/>
                    <a:gd name="connsiteX53" fmla="*/ 4635810 w 7645936"/>
                    <a:gd name="connsiteY53" fmla="*/ 3943353 h 4314825"/>
                    <a:gd name="connsiteX54" fmla="*/ 4506194 w 7645936"/>
                    <a:gd name="connsiteY54" fmla="*/ 3943353 h 4314825"/>
                    <a:gd name="connsiteX55" fmla="*/ 4297737 w 7645936"/>
                    <a:gd name="connsiteY55" fmla="*/ 3734896 h 4314825"/>
                    <a:gd name="connsiteX56" fmla="*/ 4297737 w 7645936"/>
                    <a:gd name="connsiteY56" fmla="*/ 2772589 h 4314825"/>
                    <a:gd name="connsiteX57" fmla="*/ 4506194 w 7645936"/>
                    <a:gd name="connsiteY57" fmla="*/ 2564132 h 4314825"/>
                    <a:gd name="connsiteX58" fmla="*/ 3699852 w 7645936"/>
                    <a:gd name="connsiteY58" fmla="*/ 2564132 h 4314825"/>
                    <a:gd name="connsiteX59" fmla="*/ 3829468 w 7645936"/>
                    <a:gd name="connsiteY59" fmla="*/ 2564132 h 4314825"/>
                    <a:gd name="connsiteX60" fmla="*/ 4037925 w 7645936"/>
                    <a:gd name="connsiteY60" fmla="*/ 2772589 h 4314825"/>
                    <a:gd name="connsiteX61" fmla="*/ 4037925 w 7645936"/>
                    <a:gd name="connsiteY61" fmla="*/ 3734896 h 4314825"/>
                    <a:gd name="connsiteX62" fmla="*/ 3829468 w 7645936"/>
                    <a:gd name="connsiteY62" fmla="*/ 3943353 h 4314825"/>
                    <a:gd name="connsiteX63" fmla="*/ 3699852 w 7645936"/>
                    <a:gd name="connsiteY63" fmla="*/ 3943353 h 4314825"/>
                    <a:gd name="connsiteX64" fmla="*/ 3491395 w 7645936"/>
                    <a:gd name="connsiteY64" fmla="*/ 3734896 h 4314825"/>
                    <a:gd name="connsiteX65" fmla="*/ 3491395 w 7645936"/>
                    <a:gd name="connsiteY65" fmla="*/ 2772589 h 4314825"/>
                    <a:gd name="connsiteX66" fmla="*/ 3699852 w 7645936"/>
                    <a:gd name="connsiteY66" fmla="*/ 2564132 h 4314825"/>
                    <a:gd name="connsiteX67" fmla="*/ 2893509 w 7645936"/>
                    <a:gd name="connsiteY67" fmla="*/ 2564132 h 4314825"/>
                    <a:gd name="connsiteX68" fmla="*/ 3023125 w 7645936"/>
                    <a:gd name="connsiteY68" fmla="*/ 2564132 h 4314825"/>
                    <a:gd name="connsiteX69" fmla="*/ 3231582 w 7645936"/>
                    <a:gd name="connsiteY69" fmla="*/ 2772589 h 4314825"/>
                    <a:gd name="connsiteX70" fmla="*/ 3231582 w 7645936"/>
                    <a:gd name="connsiteY70" fmla="*/ 3734896 h 4314825"/>
                    <a:gd name="connsiteX71" fmla="*/ 3023125 w 7645936"/>
                    <a:gd name="connsiteY71" fmla="*/ 3943353 h 4314825"/>
                    <a:gd name="connsiteX72" fmla="*/ 2893509 w 7645936"/>
                    <a:gd name="connsiteY72" fmla="*/ 3943353 h 4314825"/>
                    <a:gd name="connsiteX73" fmla="*/ 2685052 w 7645936"/>
                    <a:gd name="connsiteY73" fmla="*/ 3734896 h 4314825"/>
                    <a:gd name="connsiteX74" fmla="*/ 2685052 w 7645936"/>
                    <a:gd name="connsiteY74" fmla="*/ 2772589 h 4314825"/>
                    <a:gd name="connsiteX75" fmla="*/ 2893509 w 7645936"/>
                    <a:gd name="connsiteY75" fmla="*/ 2564132 h 4314825"/>
                    <a:gd name="connsiteX76" fmla="*/ 2087166 w 7645936"/>
                    <a:gd name="connsiteY76" fmla="*/ 2564132 h 4314825"/>
                    <a:gd name="connsiteX77" fmla="*/ 2216782 w 7645936"/>
                    <a:gd name="connsiteY77" fmla="*/ 2564132 h 4314825"/>
                    <a:gd name="connsiteX78" fmla="*/ 2425239 w 7645936"/>
                    <a:gd name="connsiteY78" fmla="*/ 2772589 h 4314825"/>
                    <a:gd name="connsiteX79" fmla="*/ 2425239 w 7645936"/>
                    <a:gd name="connsiteY79" fmla="*/ 3734896 h 4314825"/>
                    <a:gd name="connsiteX80" fmla="*/ 2216782 w 7645936"/>
                    <a:gd name="connsiteY80" fmla="*/ 3943353 h 4314825"/>
                    <a:gd name="connsiteX81" fmla="*/ 2087166 w 7645936"/>
                    <a:gd name="connsiteY81" fmla="*/ 3943353 h 4314825"/>
                    <a:gd name="connsiteX82" fmla="*/ 1878709 w 7645936"/>
                    <a:gd name="connsiteY82" fmla="*/ 3734896 h 4314825"/>
                    <a:gd name="connsiteX83" fmla="*/ 1878709 w 7645936"/>
                    <a:gd name="connsiteY83" fmla="*/ 2772589 h 4314825"/>
                    <a:gd name="connsiteX84" fmla="*/ 2087166 w 7645936"/>
                    <a:gd name="connsiteY84" fmla="*/ 2564132 h 4314825"/>
                    <a:gd name="connsiteX85" fmla="*/ 5082919 w 7645936"/>
                    <a:gd name="connsiteY85" fmla="*/ 775812 h 4314825"/>
                    <a:gd name="connsiteX86" fmla="*/ 4576665 w 7645936"/>
                    <a:gd name="connsiteY86" fmla="*/ 1282066 h 4314825"/>
                    <a:gd name="connsiteX87" fmla="*/ 5082919 w 7645936"/>
                    <a:gd name="connsiteY87" fmla="*/ 1788320 h 4314825"/>
                    <a:gd name="connsiteX88" fmla="*/ 5589173 w 7645936"/>
                    <a:gd name="connsiteY88" fmla="*/ 1282066 h 4314825"/>
                    <a:gd name="connsiteX89" fmla="*/ 5082919 w 7645936"/>
                    <a:gd name="connsiteY89" fmla="*/ 775812 h 4314825"/>
                    <a:gd name="connsiteX90" fmla="*/ 2408299 w 7645936"/>
                    <a:gd name="connsiteY90" fmla="*/ 775812 h 4314825"/>
                    <a:gd name="connsiteX91" fmla="*/ 1902046 w 7645936"/>
                    <a:gd name="connsiteY91" fmla="*/ 1282066 h 4314825"/>
                    <a:gd name="connsiteX92" fmla="*/ 2408299 w 7645936"/>
                    <a:gd name="connsiteY92" fmla="*/ 1788320 h 4314825"/>
                    <a:gd name="connsiteX93" fmla="*/ 2914553 w 7645936"/>
                    <a:gd name="connsiteY93" fmla="*/ 1282066 h 4314825"/>
                    <a:gd name="connsiteX94" fmla="*/ 2408299 w 7645936"/>
                    <a:gd name="connsiteY94" fmla="*/ 775812 h 4314825"/>
                    <a:gd name="connsiteX95" fmla="*/ 5082919 w 7645936"/>
                    <a:gd name="connsiteY95" fmla="*/ 661036 h 4314825"/>
                    <a:gd name="connsiteX96" fmla="*/ 5703949 w 7645936"/>
                    <a:gd name="connsiteY96" fmla="*/ 1282066 h 4314825"/>
                    <a:gd name="connsiteX97" fmla="*/ 5082919 w 7645936"/>
                    <a:gd name="connsiteY97" fmla="*/ 1903096 h 4314825"/>
                    <a:gd name="connsiteX98" fmla="*/ 4461889 w 7645936"/>
                    <a:gd name="connsiteY98" fmla="*/ 1282066 h 4314825"/>
                    <a:gd name="connsiteX99" fmla="*/ 5082919 w 7645936"/>
                    <a:gd name="connsiteY99" fmla="*/ 661036 h 4314825"/>
                    <a:gd name="connsiteX100" fmla="*/ 2408299 w 7645936"/>
                    <a:gd name="connsiteY100" fmla="*/ 661036 h 4314825"/>
                    <a:gd name="connsiteX101" fmla="*/ 3029329 w 7645936"/>
                    <a:gd name="connsiteY101" fmla="*/ 1282066 h 4314825"/>
                    <a:gd name="connsiteX102" fmla="*/ 2408299 w 7645936"/>
                    <a:gd name="connsiteY102" fmla="*/ 1903096 h 4314825"/>
                    <a:gd name="connsiteX103" fmla="*/ 1787269 w 7645936"/>
                    <a:gd name="connsiteY103" fmla="*/ 1282066 h 4314825"/>
                    <a:gd name="connsiteX104" fmla="*/ 2408299 w 7645936"/>
                    <a:gd name="connsiteY104" fmla="*/ 661036 h 4314825"/>
                    <a:gd name="connsiteX105" fmla="*/ 1164182 w 7645936"/>
                    <a:gd name="connsiteY105" fmla="*/ 126434 h 4314825"/>
                    <a:gd name="connsiteX106" fmla="*/ 1034158 w 7645936"/>
                    <a:gd name="connsiteY106" fmla="*/ 256457 h 4314825"/>
                    <a:gd name="connsiteX107" fmla="*/ 1034158 w 7645936"/>
                    <a:gd name="connsiteY107" fmla="*/ 1603376 h 4314825"/>
                    <a:gd name="connsiteX108" fmla="*/ 879743 w 7645936"/>
                    <a:gd name="connsiteY108" fmla="*/ 1603376 h 4314825"/>
                    <a:gd name="connsiteX109" fmla="*/ 478976 w 7645936"/>
                    <a:gd name="connsiteY109" fmla="*/ 1603376 h 4314825"/>
                    <a:gd name="connsiteX110" fmla="*/ 478976 w 7645936"/>
                    <a:gd name="connsiteY110" fmla="*/ 1286475 h 4314825"/>
                    <a:gd name="connsiteX111" fmla="*/ 89830 w 7645936"/>
                    <a:gd name="connsiteY111" fmla="*/ 1286475 h 4314825"/>
                    <a:gd name="connsiteX112" fmla="*/ 89830 w 7645936"/>
                    <a:gd name="connsiteY112" fmla="*/ 2046729 h 4314825"/>
                    <a:gd name="connsiteX113" fmla="*/ 478976 w 7645936"/>
                    <a:gd name="connsiteY113" fmla="*/ 2046729 h 4314825"/>
                    <a:gd name="connsiteX114" fmla="*/ 478976 w 7645936"/>
                    <a:gd name="connsiteY114" fmla="*/ 1724026 h 4314825"/>
                    <a:gd name="connsiteX115" fmla="*/ 879743 w 7645936"/>
                    <a:gd name="connsiteY115" fmla="*/ 1724026 h 4314825"/>
                    <a:gd name="connsiteX116" fmla="*/ 1034158 w 7645936"/>
                    <a:gd name="connsiteY116" fmla="*/ 1724026 h 4314825"/>
                    <a:gd name="connsiteX117" fmla="*/ 1034158 w 7645936"/>
                    <a:gd name="connsiteY117" fmla="*/ 4058369 h 4314825"/>
                    <a:gd name="connsiteX118" fmla="*/ 1164182 w 7645936"/>
                    <a:gd name="connsiteY118" fmla="*/ 4188392 h 4314825"/>
                    <a:gd name="connsiteX119" fmla="*/ 6481755 w 7645936"/>
                    <a:gd name="connsiteY119" fmla="*/ 4188392 h 4314825"/>
                    <a:gd name="connsiteX120" fmla="*/ 6611778 w 7645936"/>
                    <a:gd name="connsiteY120" fmla="*/ 4058369 h 4314825"/>
                    <a:gd name="connsiteX121" fmla="*/ 6611778 w 7645936"/>
                    <a:gd name="connsiteY121" fmla="*/ 1724026 h 4314825"/>
                    <a:gd name="connsiteX122" fmla="*/ 6766193 w 7645936"/>
                    <a:gd name="connsiteY122" fmla="*/ 1724026 h 4314825"/>
                    <a:gd name="connsiteX123" fmla="*/ 7166960 w 7645936"/>
                    <a:gd name="connsiteY123" fmla="*/ 1724026 h 4314825"/>
                    <a:gd name="connsiteX124" fmla="*/ 7166960 w 7645936"/>
                    <a:gd name="connsiteY124" fmla="*/ 2046729 h 4314825"/>
                    <a:gd name="connsiteX125" fmla="*/ 7556106 w 7645936"/>
                    <a:gd name="connsiteY125" fmla="*/ 2046729 h 4314825"/>
                    <a:gd name="connsiteX126" fmla="*/ 7556106 w 7645936"/>
                    <a:gd name="connsiteY126" fmla="*/ 1286475 h 4314825"/>
                    <a:gd name="connsiteX127" fmla="*/ 7166960 w 7645936"/>
                    <a:gd name="connsiteY127" fmla="*/ 1286475 h 4314825"/>
                    <a:gd name="connsiteX128" fmla="*/ 7166960 w 7645936"/>
                    <a:gd name="connsiteY128" fmla="*/ 1603376 h 4314825"/>
                    <a:gd name="connsiteX129" fmla="*/ 6766193 w 7645936"/>
                    <a:gd name="connsiteY129" fmla="*/ 1603376 h 4314825"/>
                    <a:gd name="connsiteX130" fmla="*/ 6611778 w 7645936"/>
                    <a:gd name="connsiteY130" fmla="*/ 1603376 h 4314825"/>
                    <a:gd name="connsiteX131" fmla="*/ 6611778 w 7645936"/>
                    <a:gd name="connsiteY131" fmla="*/ 256457 h 4314825"/>
                    <a:gd name="connsiteX132" fmla="*/ 6481755 w 7645936"/>
                    <a:gd name="connsiteY132" fmla="*/ 126434 h 4314825"/>
                    <a:gd name="connsiteX133" fmla="*/ 1011518 w 7645936"/>
                    <a:gd name="connsiteY133" fmla="*/ 0 h 4314825"/>
                    <a:gd name="connsiteX134" fmla="*/ 6634418 w 7645936"/>
                    <a:gd name="connsiteY134" fmla="*/ 0 h 4314825"/>
                    <a:gd name="connsiteX135" fmla="*/ 6766193 w 7645936"/>
                    <a:gd name="connsiteY135" fmla="*/ 131775 h 4314825"/>
                    <a:gd name="connsiteX136" fmla="*/ 6766193 w 7645936"/>
                    <a:gd name="connsiteY136" fmla="*/ 1485987 h 4314825"/>
                    <a:gd name="connsiteX137" fmla="*/ 7077129 w 7645936"/>
                    <a:gd name="connsiteY137" fmla="*/ 1485987 h 4314825"/>
                    <a:gd name="connsiteX138" fmla="*/ 7077129 w 7645936"/>
                    <a:gd name="connsiteY138" fmla="*/ 1193887 h 4314825"/>
                    <a:gd name="connsiteX139" fmla="*/ 7645936 w 7645936"/>
                    <a:gd name="connsiteY139" fmla="*/ 1193887 h 4314825"/>
                    <a:gd name="connsiteX140" fmla="*/ 7645936 w 7645936"/>
                    <a:gd name="connsiteY140" fmla="*/ 2139317 h 4314825"/>
                    <a:gd name="connsiteX141" fmla="*/ 7077129 w 7645936"/>
                    <a:gd name="connsiteY141" fmla="*/ 2139317 h 4314825"/>
                    <a:gd name="connsiteX142" fmla="*/ 7077129 w 7645936"/>
                    <a:gd name="connsiteY142" fmla="*/ 1840719 h 4314825"/>
                    <a:gd name="connsiteX143" fmla="*/ 6766193 w 7645936"/>
                    <a:gd name="connsiteY143" fmla="*/ 1840719 h 4314825"/>
                    <a:gd name="connsiteX144" fmla="*/ 6766193 w 7645936"/>
                    <a:gd name="connsiteY144" fmla="*/ 4183050 h 4314825"/>
                    <a:gd name="connsiteX145" fmla="*/ 6634418 w 7645936"/>
                    <a:gd name="connsiteY145" fmla="*/ 4314825 h 4314825"/>
                    <a:gd name="connsiteX146" fmla="*/ 1011518 w 7645936"/>
                    <a:gd name="connsiteY146" fmla="*/ 4314825 h 4314825"/>
                    <a:gd name="connsiteX147" fmla="*/ 879743 w 7645936"/>
                    <a:gd name="connsiteY147" fmla="*/ 4183050 h 4314825"/>
                    <a:gd name="connsiteX148" fmla="*/ 879743 w 7645936"/>
                    <a:gd name="connsiteY148" fmla="*/ 1840719 h 4314825"/>
                    <a:gd name="connsiteX149" fmla="*/ 568807 w 7645936"/>
                    <a:gd name="connsiteY149" fmla="*/ 1840719 h 4314825"/>
                    <a:gd name="connsiteX150" fmla="*/ 568807 w 7645936"/>
                    <a:gd name="connsiteY150" fmla="*/ 2139317 h 4314825"/>
                    <a:gd name="connsiteX151" fmla="*/ 0 w 7645936"/>
                    <a:gd name="connsiteY151" fmla="*/ 2139317 h 4314825"/>
                    <a:gd name="connsiteX152" fmla="*/ 0 w 7645936"/>
                    <a:gd name="connsiteY152" fmla="*/ 1193887 h 4314825"/>
                    <a:gd name="connsiteX153" fmla="*/ 568807 w 7645936"/>
                    <a:gd name="connsiteY153" fmla="*/ 1193887 h 4314825"/>
                    <a:gd name="connsiteX154" fmla="*/ 568807 w 7645936"/>
                    <a:gd name="connsiteY154" fmla="*/ 1485987 h 4314825"/>
                    <a:gd name="connsiteX155" fmla="*/ 879743 w 7645936"/>
                    <a:gd name="connsiteY155" fmla="*/ 1485987 h 4314825"/>
                    <a:gd name="connsiteX156" fmla="*/ 879743 w 7645936"/>
                    <a:gd name="connsiteY156" fmla="*/ 131775 h 4314825"/>
                    <a:gd name="connsiteX157" fmla="*/ 1011518 w 7645936"/>
                    <a:gd name="connsiteY157" fmla="*/ 0 h 431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7645936" h="4314825">
                      <a:moveTo>
                        <a:pt x="5333671" y="2643510"/>
                      </a:moveTo>
                      <a:cubicBezTo>
                        <a:pt x="5256088" y="2643510"/>
                        <a:pt x="5193195" y="2706403"/>
                        <a:pt x="5193195" y="2783986"/>
                      </a:cubicBezTo>
                      <a:lnTo>
                        <a:pt x="5193195" y="3723500"/>
                      </a:lnTo>
                      <a:cubicBezTo>
                        <a:pt x="5193195" y="3801083"/>
                        <a:pt x="5256088" y="3863976"/>
                        <a:pt x="5333671" y="3863976"/>
                      </a:cubicBezTo>
                      <a:lnTo>
                        <a:pt x="5421017" y="3863976"/>
                      </a:lnTo>
                      <a:cubicBezTo>
                        <a:pt x="5498600" y="3863976"/>
                        <a:pt x="5561493" y="3801083"/>
                        <a:pt x="5561493" y="3723500"/>
                      </a:cubicBezTo>
                      <a:lnTo>
                        <a:pt x="5561493" y="2783986"/>
                      </a:lnTo>
                      <a:cubicBezTo>
                        <a:pt x="5561493" y="2706403"/>
                        <a:pt x="5498600" y="2643510"/>
                        <a:pt x="5421017" y="2643510"/>
                      </a:cubicBezTo>
                      <a:close/>
                      <a:moveTo>
                        <a:pt x="4527329" y="2643510"/>
                      </a:moveTo>
                      <a:cubicBezTo>
                        <a:pt x="4449746" y="2643510"/>
                        <a:pt x="4386853" y="2706403"/>
                        <a:pt x="4386853" y="2783986"/>
                      </a:cubicBezTo>
                      <a:lnTo>
                        <a:pt x="4386853" y="3723500"/>
                      </a:lnTo>
                      <a:cubicBezTo>
                        <a:pt x="4386853" y="3801083"/>
                        <a:pt x="4449746" y="3863976"/>
                        <a:pt x="4527329" y="3863976"/>
                      </a:cubicBezTo>
                      <a:lnTo>
                        <a:pt x="4614675" y="3863976"/>
                      </a:lnTo>
                      <a:cubicBezTo>
                        <a:pt x="4692258" y="3863976"/>
                        <a:pt x="4755151" y="3801083"/>
                        <a:pt x="4755151" y="3723500"/>
                      </a:cubicBezTo>
                      <a:lnTo>
                        <a:pt x="4755151" y="2783986"/>
                      </a:lnTo>
                      <a:cubicBezTo>
                        <a:pt x="4755151" y="2706403"/>
                        <a:pt x="4692258" y="2643510"/>
                        <a:pt x="4614675" y="2643510"/>
                      </a:cubicBezTo>
                      <a:close/>
                      <a:moveTo>
                        <a:pt x="3720987" y="2643510"/>
                      </a:moveTo>
                      <a:cubicBezTo>
                        <a:pt x="3643404" y="2643510"/>
                        <a:pt x="3580511" y="2706403"/>
                        <a:pt x="3580511" y="2783986"/>
                      </a:cubicBezTo>
                      <a:lnTo>
                        <a:pt x="3580511" y="3723500"/>
                      </a:lnTo>
                      <a:cubicBezTo>
                        <a:pt x="3580511" y="3801083"/>
                        <a:pt x="3643404" y="3863976"/>
                        <a:pt x="3720987" y="3863976"/>
                      </a:cubicBezTo>
                      <a:lnTo>
                        <a:pt x="3808333" y="3863976"/>
                      </a:lnTo>
                      <a:cubicBezTo>
                        <a:pt x="3885916" y="3863976"/>
                        <a:pt x="3948809" y="3801083"/>
                        <a:pt x="3948809" y="3723500"/>
                      </a:cubicBezTo>
                      <a:lnTo>
                        <a:pt x="3948809" y="2783986"/>
                      </a:lnTo>
                      <a:cubicBezTo>
                        <a:pt x="3948809" y="2706403"/>
                        <a:pt x="3885916" y="2643510"/>
                        <a:pt x="3808333" y="2643510"/>
                      </a:cubicBezTo>
                      <a:close/>
                      <a:moveTo>
                        <a:pt x="2914644" y="2643510"/>
                      </a:moveTo>
                      <a:cubicBezTo>
                        <a:pt x="2837061" y="2643510"/>
                        <a:pt x="2774168" y="2706403"/>
                        <a:pt x="2774168" y="2783986"/>
                      </a:cubicBezTo>
                      <a:lnTo>
                        <a:pt x="2774168" y="3723500"/>
                      </a:lnTo>
                      <a:cubicBezTo>
                        <a:pt x="2774168" y="3801083"/>
                        <a:pt x="2837061" y="3863976"/>
                        <a:pt x="2914644" y="3863976"/>
                      </a:cubicBezTo>
                      <a:lnTo>
                        <a:pt x="3001990" y="3863976"/>
                      </a:lnTo>
                      <a:cubicBezTo>
                        <a:pt x="3079573" y="3863976"/>
                        <a:pt x="3142466" y="3801083"/>
                        <a:pt x="3142466" y="3723500"/>
                      </a:cubicBezTo>
                      <a:lnTo>
                        <a:pt x="3142466" y="2783986"/>
                      </a:lnTo>
                      <a:cubicBezTo>
                        <a:pt x="3142466" y="2706403"/>
                        <a:pt x="3079573" y="2643510"/>
                        <a:pt x="3001990" y="2643510"/>
                      </a:cubicBezTo>
                      <a:close/>
                      <a:moveTo>
                        <a:pt x="2108301" y="2643510"/>
                      </a:moveTo>
                      <a:cubicBezTo>
                        <a:pt x="2030718" y="2643510"/>
                        <a:pt x="1967825" y="2706403"/>
                        <a:pt x="1967825" y="2783986"/>
                      </a:cubicBezTo>
                      <a:lnTo>
                        <a:pt x="1967825" y="3723500"/>
                      </a:lnTo>
                      <a:cubicBezTo>
                        <a:pt x="1967825" y="3801083"/>
                        <a:pt x="2030718" y="3863976"/>
                        <a:pt x="2108301" y="3863976"/>
                      </a:cubicBezTo>
                      <a:lnTo>
                        <a:pt x="2195647" y="3863976"/>
                      </a:lnTo>
                      <a:cubicBezTo>
                        <a:pt x="2273230" y="3863976"/>
                        <a:pt x="2336123" y="3801083"/>
                        <a:pt x="2336123" y="3723500"/>
                      </a:cubicBezTo>
                      <a:lnTo>
                        <a:pt x="2336123" y="2783986"/>
                      </a:lnTo>
                      <a:cubicBezTo>
                        <a:pt x="2336123" y="2706403"/>
                        <a:pt x="2273230" y="2643510"/>
                        <a:pt x="2195647" y="2643510"/>
                      </a:cubicBezTo>
                      <a:close/>
                      <a:moveTo>
                        <a:pt x="5312536" y="2564132"/>
                      </a:moveTo>
                      <a:lnTo>
                        <a:pt x="5442152" y="2564132"/>
                      </a:lnTo>
                      <a:cubicBezTo>
                        <a:pt x="5557280" y="2564132"/>
                        <a:pt x="5650609" y="2657461"/>
                        <a:pt x="5650609" y="2772589"/>
                      </a:cubicBezTo>
                      <a:lnTo>
                        <a:pt x="5650609" y="3734896"/>
                      </a:lnTo>
                      <a:cubicBezTo>
                        <a:pt x="5650609" y="3850024"/>
                        <a:pt x="5557280" y="3943353"/>
                        <a:pt x="5442152" y="3943353"/>
                      </a:cubicBezTo>
                      <a:lnTo>
                        <a:pt x="5312536" y="3943353"/>
                      </a:lnTo>
                      <a:cubicBezTo>
                        <a:pt x="5197408" y="3943353"/>
                        <a:pt x="5104079" y="3850024"/>
                        <a:pt x="5104079" y="3734896"/>
                      </a:cubicBezTo>
                      <a:lnTo>
                        <a:pt x="5104079" y="2772589"/>
                      </a:lnTo>
                      <a:cubicBezTo>
                        <a:pt x="5104079" y="2657461"/>
                        <a:pt x="5197408" y="2564132"/>
                        <a:pt x="5312536" y="2564132"/>
                      </a:cubicBezTo>
                      <a:close/>
                      <a:moveTo>
                        <a:pt x="4506194" y="2564132"/>
                      </a:moveTo>
                      <a:lnTo>
                        <a:pt x="4635810" y="2564132"/>
                      </a:lnTo>
                      <a:cubicBezTo>
                        <a:pt x="4750938" y="2564132"/>
                        <a:pt x="4844267" y="2657461"/>
                        <a:pt x="4844267" y="2772589"/>
                      </a:cubicBezTo>
                      <a:lnTo>
                        <a:pt x="4844267" y="3734896"/>
                      </a:lnTo>
                      <a:cubicBezTo>
                        <a:pt x="4844267" y="3850024"/>
                        <a:pt x="4750938" y="3943353"/>
                        <a:pt x="4635810" y="3943353"/>
                      </a:cubicBezTo>
                      <a:lnTo>
                        <a:pt x="4506194" y="3943353"/>
                      </a:lnTo>
                      <a:cubicBezTo>
                        <a:pt x="4391066" y="3943353"/>
                        <a:pt x="4297737" y="3850024"/>
                        <a:pt x="4297737" y="3734896"/>
                      </a:cubicBezTo>
                      <a:lnTo>
                        <a:pt x="4297737" y="2772589"/>
                      </a:lnTo>
                      <a:cubicBezTo>
                        <a:pt x="4297737" y="2657461"/>
                        <a:pt x="4391066" y="2564132"/>
                        <a:pt x="4506194" y="2564132"/>
                      </a:cubicBezTo>
                      <a:close/>
                      <a:moveTo>
                        <a:pt x="3699852" y="2564132"/>
                      </a:moveTo>
                      <a:lnTo>
                        <a:pt x="3829468" y="2564132"/>
                      </a:lnTo>
                      <a:cubicBezTo>
                        <a:pt x="3944596" y="2564132"/>
                        <a:pt x="4037925" y="2657461"/>
                        <a:pt x="4037925" y="2772589"/>
                      </a:cubicBezTo>
                      <a:lnTo>
                        <a:pt x="4037925" y="3734896"/>
                      </a:lnTo>
                      <a:cubicBezTo>
                        <a:pt x="4037925" y="3850024"/>
                        <a:pt x="3944596" y="3943353"/>
                        <a:pt x="3829468" y="3943353"/>
                      </a:cubicBezTo>
                      <a:lnTo>
                        <a:pt x="3699852" y="3943353"/>
                      </a:lnTo>
                      <a:cubicBezTo>
                        <a:pt x="3584724" y="3943353"/>
                        <a:pt x="3491395" y="3850024"/>
                        <a:pt x="3491395" y="3734896"/>
                      </a:cubicBezTo>
                      <a:lnTo>
                        <a:pt x="3491395" y="2772589"/>
                      </a:lnTo>
                      <a:cubicBezTo>
                        <a:pt x="3491395" y="2657461"/>
                        <a:pt x="3584724" y="2564132"/>
                        <a:pt x="3699852" y="2564132"/>
                      </a:cubicBezTo>
                      <a:close/>
                      <a:moveTo>
                        <a:pt x="2893509" y="2564132"/>
                      </a:moveTo>
                      <a:lnTo>
                        <a:pt x="3023125" y="2564132"/>
                      </a:lnTo>
                      <a:cubicBezTo>
                        <a:pt x="3138253" y="2564132"/>
                        <a:pt x="3231582" y="2657461"/>
                        <a:pt x="3231582" y="2772589"/>
                      </a:cubicBezTo>
                      <a:lnTo>
                        <a:pt x="3231582" y="3734896"/>
                      </a:lnTo>
                      <a:cubicBezTo>
                        <a:pt x="3231582" y="3850024"/>
                        <a:pt x="3138253" y="3943353"/>
                        <a:pt x="3023125" y="3943353"/>
                      </a:cubicBezTo>
                      <a:lnTo>
                        <a:pt x="2893509" y="3943353"/>
                      </a:lnTo>
                      <a:cubicBezTo>
                        <a:pt x="2778381" y="3943353"/>
                        <a:pt x="2685052" y="3850024"/>
                        <a:pt x="2685052" y="3734896"/>
                      </a:cubicBezTo>
                      <a:lnTo>
                        <a:pt x="2685052" y="2772589"/>
                      </a:lnTo>
                      <a:cubicBezTo>
                        <a:pt x="2685052" y="2657461"/>
                        <a:pt x="2778381" y="2564132"/>
                        <a:pt x="2893509" y="2564132"/>
                      </a:cubicBezTo>
                      <a:close/>
                      <a:moveTo>
                        <a:pt x="2087166" y="2564132"/>
                      </a:moveTo>
                      <a:lnTo>
                        <a:pt x="2216782" y="2564132"/>
                      </a:lnTo>
                      <a:cubicBezTo>
                        <a:pt x="2331910" y="2564132"/>
                        <a:pt x="2425239" y="2657461"/>
                        <a:pt x="2425239" y="2772589"/>
                      </a:cubicBezTo>
                      <a:lnTo>
                        <a:pt x="2425239" y="3734896"/>
                      </a:lnTo>
                      <a:cubicBezTo>
                        <a:pt x="2425239" y="3850024"/>
                        <a:pt x="2331910" y="3943353"/>
                        <a:pt x="2216782" y="3943353"/>
                      </a:cubicBezTo>
                      <a:lnTo>
                        <a:pt x="2087166" y="3943353"/>
                      </a:lnTo>
                      <a:cubicBezTo>
                        <a:pt x="1972038" y="3943353"/>
                        <a:pt x="1878709" y="3850024"/>
                        <a:pt x="1878709" y="3734896"/>
                      </a:cubicBezTo>
                      <a:lnTo>
                        <a:pt x="1878709" y="2772589"/>
                      </a:lnTo>
                      <a:cubicBezTo>
                        <a:pt x="1878709" y="2657461"/>
                        <a:pt x="1972038" y="2564132"/>
                        <a:pt x="2087166" y="2564132"/>
                      </a:cubicBezTo>
                      <a:close/>
                      <a:moveTo>
                        <a:pt x="5082919" y="775812"/>
                      </a:moveTo>
                      <a:cubicBezTo>
                        <a:pt x="4803323" y="775812"/>
                        <a:pt x="4576665" y="1002470"/>
                        <a:pt x="4576665" y="1282066"/>
                      </a:cubicBezTo>
                      <a:cubicBezTo>
                        <a:pt x="4576665" y="1561662"/>
                        <a:pt x="4803323" y="1788320"/>
                        <a:pt x="5082919" y="1788320"/>
                      </a:cubicBezTo>
                      <a:cubicBezTo>
                        <a:pt x="5362515" y="1788320"/>
                        <a:pt x="5589173" y="1561662"/>
                        <a:pt x="5589173" y="1282066"/>
                      </a:cubicBezTo>
                      <a:cubicBezTo>
                        <a:pt x="5589173" y="1002470"/>
                        <a:pt x="5362515" y="775812"/>
                        <a:pt x="5082919" y="775812"/>
                      </a:cubicBezTo>
                      <a:close/>
                      <a:moveTo>
                        <a:pt x="2408299" y="775812"/>
                      </a:moveTo>
                      <a:cubicBezTo>
                        <a:pt x="2128703" y="775812"/>
                        <a:pt x="1902046" y="1002470"/>
                        <a:pt x="1902046" y="1282066"/>
                      </a:cubicBezTo>
                      <a:cubicBezTo>
                        <a:pt x="1902046" y="1561662"/>
                        <a:pt x="2128703" y="1788320"/>
                        <a:pt x="2408299" y="1788320"/>
                      </a:cubicBezTo>
                      <a:cubicBezTo>
                        <a:pt x="2687895" y="1788320"/>
                        <a:pt x="2914553" y="1561662"/>
                        <a:pt x="2914553" y="1282066"/>
                      </a:cubicBezTo>
                      <a:cubicBezTo>
                        <a:pt x="2914553" y="1002470"/>
                        <a:pt x="2687895" y="775812"/>
                        <a:pt x="2408299" y="775812"/>
                      </a:cubicBezTo>
                      <a:close/>
                      <a:moveTo>
                        <a:pt x="5082919" y="661036"/>
                      </a:moveTo>
                      <a:cubicBezTo>
                        <a:pt x="5425904" y="661036"/>
                        <a:pt x="5703949" y="939081"/>
                        <a:pt x="5703949" y="1282066"/>
                      </a:cubicBezTo>
                      <a:cubicBezTo>
                        <a:pt x="5703949" y="1625051"/>
                        <a:pt x="5425904" y="1903096"/>
                        <a:pt x="5082919" y="1903096"/>
                      </a:cubicBezTo>
                      <a:cubicBezTo>
                        <a:pt x="4739934" y="1903096"/>
                        <a:pt x="4461889" y="1625051"/>
                        <a:pt x="4461889" y="1282066"/>
                      </a:cubicBezTo>
                      <a:cubicBezTo>
                        <a:pt x="4461889" y="939081"/>
                        <a:pt x="4739934" y="661036"/>
                        <a:pt x="5082919" y="661036"/>
                      </a:cubicBezTo>
                      <a:close/>
                      <a:moveTo>
                        <a:pt x="2408299" y="661036"/>
                      </a:moveTo>
                      <a:cubicBezTo>
                        <a:pt x="2751284" y="661036"/>
                        <a:pt x="3029329" y="939081"/>
                        <a:pt x="3029329" y="1282066"/>
                      </a:cubicBezTo>
                      <a:cubicBezTo>
                        <a:pt x="3029329" y="1625051"/>
                        <a:pt x="2751284" y="1903096"/>
                        <a:pt x="2408299" y="1903096"/>
                      </a:cubicBezTo>
                      <a:cubicBezTo>
                        <a:pt x="2065314" y="1903096"/>
                        <a:pt x="1787269" y="1625051"/>
                        <a:pt x="1787269" y="1282066"/>
                      </a:cubicBezTo>
                      <a:cubicBezTo>
                        <a:pt x="1787269" y="939081"/>
                        <a:pt x="2065314" y="661036"/>
                        <a:pt x="2408299" y="661036"/>
                      </a:cubicBezTo>
                      <a:close/>
                      <a:moveTo>
                        <a:pt x="1164182" y="126434"/>
                      </a:moveTo>
                      <a:cubicBezTo>
                        <a:pt x="1092372" y="126434"/>
                        <a:pt x="1034158" y="184647"/>
                        <a:pt x="1034158" y="256457"/>
                      </a:cubicBezTo>
                      <a:lnTo>
                        <a:pt x="1034158" y="1603376"/>
                      </a:lnTo>
                      <a:lnTo>
                        <a:pt x="879743" y="1603376"/>
                      </a:lnTo>
                      <a:lnTo>
                        <a:pt x="478976" y="1603376"/>
                      </a:lnTo>
                      <a:lnTo>
                        <a:pt x="478976" y="1286475"/>
                      </a:lnTo>
                      <a:lnTo>
                        <a:pt x="89830" y="1286475"/>
                      </a:lnTo>
                      <a:lnTo>
                        <a:pt x="89830" y="2046729"/>
                      </a:lnTo>
                      <a:lnTo>
                        <a:pt x="478976" y="2046729"/>
                      </a:lnTo>
                      <a:lnTo>
                        <a:pt x="478976" y="1724026"/>
                      </a:lnTo>
                      <a:lnTo>
                        <a:pt x="879743" y="1724026"/>
                      </a:lnTo>
                      <a:lnTo>
                        <a:pt x="1034158" y="1724026"/>
                      </a:lnTo>
                      <a:lnTo>
                        <a:pt x="1034158" y="4058369"/>
                      </a:lnTo>
                      <a:cubicBezTo>
                        <a:pt x="1034158" y="4130179"/>
                        <a:pt x="1092372" y="4188392"/>
                        <a:pt x="1164182" y="4188392"/>
                      </a:cubicBezTo>
                      <a:lnTo>
                        <a:pt x="6481755" y="4188392"/>
                      </a:lnTo>
                      <a:cubicBezTo>
                        <a:pt x="6553565" y="4188392"/>
                        <a:pt x="6611778" y="4130179"/>
                        <a:pt x="6611778" y="4058369"/>
                      </a:cubicBezTo>
                      <a:lnTo>
                        <a:pt x="6611778" y="1724026"/>
                      </a:lnTo>
                      <a:lnTo>
                        <a:pt x="6766193" y="1724026"/>
                      </a:lnTo>
                      <a:lnTo>
                        <a:pt x="7166960" y="1724026"/>
                      </a:lnTo>
                      <a:lnTo>
                        <a:pt x="7166960" y="2046729"/>
                      </a:lnTo>
                      <a:lnTo>
                        <a:pt x="7556106" y="2046729"/>
                      </a:lnTo>
                      <a:lnTo>
                        <a:pt x="7556106" y="1286475"/>
                      </a:lnTo>
                      <a:lnTo>
                        <a:pt x="7166960" y="1286475"/>
                      </a:lnTo>
                      <a:lnTo>
                        <a:pt x="7166960" y="1603376"/>
                      </a:lnTo>
                      <a:lnTo>
                        <a:pt x="6766193" y="1603376"/>
                      </a:lnTo>
                      <a:lnTo>
                        <a:pt x="6611778" y="1603376"/>
                      </a:lnTo>
                      <a:lnTo>
                        <a:pt x="6611778" y="256457"/>
                      </a:lnTo>
                      <a:cubicBezTo>
                        <a:pt x="6611778" y="184647"/>
                        <a:pt x="6553565" y="126434"/>
                        <a:pt x="6481755" y="126434"/>
                      </a:cubicBezTo>
                      <a:close/>
                      <a:moveTo>
                        <a:pt x="1011518" y="0"/>
                      </a:moveTo>
                      <a:lnTo>
                        <a:pt x="6634418" y="0"/>
                      </a:lnTo>
                      <a:cubicBezTo>
                        <a:pt x="6707195" y="0"/>
                        <a:pt x="6766193" y="58999"/>
                        <a:pt x="6766193" y="131775"/>
                      </a:cubicBezTo>
                      <a:lnTo>
                        <a:pt x="6766193" y="1485987"/>
                      </a:lnTo>
                      <a:lnTo>
                        <a:pt x="7077129" y="1485987"/>
                      </a:lnTo>
                      <a:lnTo>
                        <a:pt x="7077129" y="1193887"/>
                      </a:lnTo>
                      <a:lnTo>
                        <a:pt x="7645936" y="1193887"/>
                      </a:lnTo>
                      <a:lnTo>
                        <a:pt x="7645936" y="2139317"/>
                      </a:lnTo>
                      <a:lnTo>
                        <a:pt x="7077129" y="2139317"/>
                      </a:lnTo>
                      <a:lnTo>
                        <a:pt x="7077129" y="1840719"/>
                      </a:lnTo>
                      <a:lnTo>
                        <a:pt x="6766193" y="1840719"/>
                      </a:lnTo>
                      <a:lnTo>
                        <a:pt x="6766193" y="4183050"/>
                      </a:lnTo>
                      <a:cubicBezTo>
                        <a:pt x="6766193" y="4255827"/>
                        <a:pt x="6707195" y="4314825"/>
                        <a:pt x="6634418" y="4314825"/>
                      </a:cubicBezTo>
                      <a:lnTo>
                        <a:pt x="1011518" y="4314825"/>
                      </a:lnTo>
                      <a:cubicBezTo>
                        <a:pt x="938741" y="4314825"/>
                        <a:pt x="879743" y="4255827"/>
                        <a:pt x="879743" y="4183050"/>
                      </a:cubicBezTo>
                      <a:lnTo>
                        <a:pt x="879743" y="1840719"/>
                      </a:lnTo>
                      <a:lnTo>
                        <a:pt x="568807" y="1840719"/>
                      </a:lnTo>
                      <a:lnTo>
                        <a:pt x="568807" y="2139317"/>
                      </a:lnTo>
                      <a:lnTo>
                        <a:pt x="0" y="2139317"/>
                      </a:lnTo>
                      <a:lnTo>
                        <a:pt x="0" y="1193887"/>
                      </a:lnTo>
                      <a:lnTo>
                        <a:pt x="568807" y="1193887"/>
                      </a:lnTo>
                      <a:lnTo>
                        <a:pt x="568807" y="1485987"/>
                      </a:lnTo>
                      <a:lnTo>
                        <a:pt x="879743" y="1485987"/>
                      </a:lnTo>
                      <a:lnTo>
                        <a:pt x="879743" y="131775"/>
                      </a:lnTo>
                      <a:cubicBezTo>
                        <a:pt x="879743" y="58999"/>
                        <a:pt x="938741" y="0"/>
                        <a:pt x="1011518" y="0"/>
                      </a:cubicBezTo>
                      <a:close/>
                    </a:path>
                  </a:pathLst>
                </a:custGeom>
                <a:solidFill>
                  <a:srgbClr val="0078D7"/>
                </a:solidFill>
                <a:ln w="3175" cap="flat" cmpd="sng" algn="ctr">
                  <a:solidFill>
                    <a:srgbClr val="0078D7"/>
                  </a:solidFill>
                  <a:prstDash val="solid"/>
                  <a:headEnd type="none" w="med" len="med"/>
                  <a:tailEnd type="none" w="med" len="med"/>
                </a:ln>
                <a:effectLst/>
              </p:spPr>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algn="ctr" defTabSz="856588" fontAlgn="base">
                    <a:lnSpc>
                      <a:spcPct val="90000"/>
                    </a:lnSpc>
                    <a:spcBef>
                      <a:spcPct val="0"/>
                    </a:spcBef>
                    <a:spcAft>
                      <a:spcPct val="0"/>
                    </a:spcAft>
                    <a:defRPr/>
                  </a:pPr>
                  <a:endParaRPr lang="en-US" sz="2205"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382" name="Straight Connector 381"/>
                <p:cNvCxnSpPr/>
                <p:nvPr/>
              </p:nvCxnSpPr>
              <p:spPr>
                <a:xfrm flipH="1">
                  <a:off x="10486805" y="3605293"/>
                  <a:ext cx="308472" cy="0"/>
                </a:xfrm>
                <a:prstGeom prst="line">
                  <a:avLst/>
                </a:prstGeom>
                <a:noFill/>
                <a:ln w="9525" cap="flat" cmpd="sng" algn="ctr">
                  <a:solidFill>
                    <a:srgbClr val="FFFFFF">
                      <a:lumMod val="65000"/>
                    </a:srgbClr>
                  </a:solidFill>
                  <a:prstDash val="solid"/>
                  <a:headEnd type="none" w="med" len="med"/>
                  <a:tailEnd type="none" w="med" len="med"/>
                </a:ln>
                <a:effectLst/>
              </p:spPr>
            </p:cxnSp>
          </p:grpSp>
        </p:grpSp>
      </p:grpSp>
      <p:grpSp>
        <p:nvGrpSpPr>
          <p:cNvPr id="391" name="Group 390"/>
          <p:cNvGrpSpPr/>
          <p:nvPr/>
        </p:nvGrpSpPr>
        <p:grpSpPr>
          <a:xfrm>
            <a:off x="7211903" y="1709810"/>
            <a:ext cx="2358977" cy="4181221"/>
            <a:chOff x="7329456" y="1657048"/>
            <a:chExt cx="2567731" cy="4551232"/>
          </a:xfrm>
        </p:grpSpPr>
        <p:sp>
          <p:nvSpPr>
            <p:cNvPr id="392" name="Rectangle 391"/>
            <p:cNvSpPr/>
            <p:nvPr/>
          </p:nvSpPr>
          <p:spPr bwMode="auto">
            <a:xfrm>
              <a:off x="7759316" y="1657048"/>
              <a:ext cx="1737360" cy="2734231"/>
            </a:xfrm>
            <a:prstGeom prst="rect">
              <a:avLst/>
            </a:prstGeom>
            <a:solidFill>
              <a:schemeClr val="accent4">
                <a:lumMod val="50000"/>
              </a:schemeClr>
            </a:solidFill>
            <a:ln w="3175">
              <a:noFill/>
            </a:ln>
            <a:effectLst/>
          </p:spPr>
          <p:txBody>
            <a:bodyPr spcFirstLastPara="0" vert="horz" wrap="square" lIns="16795" tIns="84006" rIns="16795" bIns="83970" numCol="1" spcCol="1270" anchor="t" anchorCtr="0">
              <a:noAutofit/>
            </a:bodyPr>
            <a:lstStyle/>
            <a:p>
              <a:pPr algn="ctr" defTabSz="666011">
                <a:spcBef>
                  <a:spcPct val="0"/>
                </a:spcBef>
                <a:spcAft>
                  <a:spcPct val="35000"/>
                </a:spcAft>
                <a:defRPr/>
              </a:pPr>
              <a:r>
                <a:rPr lang="en-US" sz="1286" kern="0" dirty="0">
                  <a:solidFill>
                    <a:srgbClr val="FFFFFF"/>
                  </a:solidFill>
                  <a:latin typeface="Segoe UI Semibold" panose="020B0702040204020203" pitchFamily="34" charset="0"/>
                  <a:cs typeface="Segoe UI Semibold" panose="020B0702040204020203" pitchFamily="34" charset="0"/>
                </a:rPr>
                <a:t>Intelligence</a:t>
              </a:r>
            </a:p>
          </p:txBody>
        </p:sp>
        <p:sp>
          <p:nvSpPr>
            <p:cNvPr id="393" name="Rectangle 392"/>
            <p:cNvSpPr/>
            <p:nvPr/>
          </p:nvSpPr>
          <p:spPr bwMode="auto">
            <a:xfrm>
              <a:off x="7759316" y="4491484"/>
              <a:ext cx="1737360" cy="1352961"/>
            </a:xfrm>
            <a:prstGeom prst="rect">
              <a:avLst/>
            </a:prstGeom>
            <a:solidFill>
              <a:schemeClr val="accent6"/>
            </a:solidFill>
            <a:ln w="3175">
              <a:noFill/>
            </a:ln>
            <a:effectLst/>
          </p:spPr>
          <p:txBody>
            <a:bodyPr spcFirstLastPara="0" vert="horz" wrap="square" lIns="16795" tIns="84006" rIns="16795" bIns="83970" numCol="1" spcCol="1270" anchor="t" anchorCtr="0">
              <a:noAutofit/>
            </a:bodyPr>
            <a:lstStyle/>
            <a:p>
              <a:pPr algn="ctr" defTabSz="666011">
                <a:spcBef>
                  <a:spcPct val="0"/>
                </a:spcBef>
                <a:spcAft>
                  <a:spcPct val="35000"/>
                </a:spcAft>
                <a:defRPr/>
              </a:pPr>
              <a:r>
                <a:rPr lang="en-US" sz="1286" kern="0" dirty="0">
                  <a:solidFill>
                    <a:srgbClr val="FFFFFF"/>
                  </a:solidFill>
                  <a:latin typeface="Segoe UI Semibold" panose="020B0702040204020203" pitchFamily="34" charset="0"/>
                  <a:cs typeface="Segoe UI Semibold" panose="020B0702040204020203" pitchFamily="34" charset="0"/>
                </a:rPr>
                <a:t>Dashboards &amp; Visualizations</a:t>
              </a:r>
            </a:p>
          </p:txBody>
        </p:sp>
        <p:sp>
          <p:nvSpPr>
            <p:cNvPr id="394" name="Rectangle 393"/>
            <p:cNvSpPr/>
            <p:nvPr/>
          </p:nvSpPr>
          <p:spPr>
            <a:xfrm>
              <a:off x="8282077" y="3724639"/>
              <a:ext cx="1268870" cy="267805"/>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Cortana</a:t>
              </a:r>
            </a:p>
          </p:txBody>
        </p:sp>
        <p:grpSp>
          <p:nvGrpSpPr>
            <p:cNvPr id="395" name="Group 394"/>
            <p:cNvGrpSpPr/>
            <p:nvPr/>
          </p:nvGrpSpPr>
          <p:grpSpPr>
            <a:xfrm>
              <a:off x="7886100" y="3695712"/>
              <a:ext cx="315759" cy="315759"/>
              <a:chOff x="3236100" y="589298"/>
              <a:chExt cx="5641200" cy="5641200"/>
            </a:xfrm>
          </p:grpSpPr>
          <p:sp>
            <p:nvSpPr>
              <p:cNvPr id="414" name="Freeform 413"/>
              <p:cNvSpPr/>
              <p:nvPr/>
            </p:nvSpPr>
            <p:spPr bwMode="auto">
              <a:xfrm>
                <a:off x="3236100" y="589298"/>
                <a:ext cx="5641200" cy="5641200"/>
              </a:xfrm>
              <a:custGeom>
                <a:avLst/>
                <a:gdLst>
                  <a:gd name="connsiteX0" fmla="*/ 2820600 w 5641200"/>
                  <a:gd name="connsiteY0" fmla="*/ 378999 h 5641200"/>
                  <a:gd name="connsiteX1" fmla="*/ 378999 w 5641200"/>
                  <a:gd name="connsiteY1" fmla="*/ 2820600 h 5641200"/>
                  <a:gd name="connsiteX2" fmla="*/ 2820600 w 5641200"/>
                  <a:gd name="connsiteY2" fmla="*/ 5262201 h 5641200"/>
                  <a:gd name="connsiteX3" fmla="*/ 5262201 w 5641200"/>
                  <a:gd name="connsiteY3" fmla="*/ 2820600 h 5641200"/>
                  <a:gd name="connsiteX4" fmla="*/ 2820600 w 5641200"/>
                  <a:gd name="connsiteY4" fmla="*/ 378999 h 5641200"/>
                  <a:gd name="connsiteX5" fmla="*/ 2820600 w 5641200"/>
                  <a:gd name="connsiteY5" fmla="*/ 0 h 5641200"/>
                  <a:gd name="connsiteX6" fmla="*/ 5641200 w 5641200"/>
                  <a:gd name="connsiteY6" fmla="*/ 2820600 h 5641200"/>
                  <a:gd name="connsiteX7" fmla="*/ 2820600 w 5641200"/>
                  <a:gd name="connsiteY7" fmla="*/ 5641200 h 5641200"/>
                  <a:gd name="connsiteX8" fmla="*/ 0 w 5641200"/>
                  <a:gd name="connsiteY8" fmla="*/ 2820600 h 5641200"/>
                  <a:gd name="connsiteX9" fmla="*/ 2820600 w 5641200"/>
                  <a:gd name="connsiteY9" fmla="*/ 0 h 564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41200" h="5641200">
                    <a:moveTo>
                      <a:pt x="2820600" y="378999"/>
                    </a:moveTo>
                    <a:cubicBezTo>
                      <a:pt x="1472141" y="378999"/>
                      <a:pt x="378999" y="1472141"/>
                      <a:pt x="378999" y="2820600"/>
                    </a:cubicBezTo>
                    <a:cubicBezTo>
                      <a:pt x="378999" y="4169059"/>
                      <a:pt x="1472141" y="5262201"/>
                      <a:pt x="2820600" y="5262201"/>
                    </a:cubicBezTo>
                    <a:cubicBezTo>
                      <a:pt x="4169059" y="5262201"/>
                      <a:pt x="5262201" y="4169059"/>
                      <a:pt x="5262201" y="2820600"/>
                    </a:cubicBezTo>
                    <a:cubicBezTo>
                      <a:pt x="5262201" y="1472141"/>
                      <a:pt x="4169059" y="378999"/>
                      <a:pt x="2820600" y="378999"/>
                    </a:cubicBezTo>
                    <a:close/>
                    <a:moveTo>
                      <a:pt x="2820600" y="0"/>
                    </a:moveTo>
                    <a:cubicBezTo>
                      <a:pt x="4378374" y="0"/>
                      <a:pt x="5641200" y="1262826"/>
                      <a:pt x="5641200" y="2820600"/>
                    </a:cubicBezTo>
                    <a:cubicBezTo>
                      <a:pt x="5641200" y="4378374"/>
                      <a:pt x="4378374" y="5641200"/>
                      <a:pt x="2820600" y="5641200"/>
                    </a:cubicBezTo>
                    <a:cubicBezTo>
                      <a:pt x="1262826" y="5641200"/>
                      <a:pt x="0" y="4378374"/>
                      <a:pt x="0" y="2820600"/>
                    </a:cubicBezTo>
                    <a:cubicBezTo>
                      <a:pt x="0" y="1262826"/>
                      <a:pt x="1262826" y="0"/>
                      <a:pt x="282060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algn="ctr" defTabSz="856588" fontAlgn="base">
                  <a:spcBef>
                    <a:spcPct val="0"/>
                  </a:spcBef>
                  <a:spcAft>
                    <a:spcPct val="0"/>
                  </a:spcAft>
                  <a:defRPr/>
                </a:pPr>
                <a:endParaRPr lang="en-US" sz="3307" kern="0" dirty="0">
                  <a:solidFill>
                    <a:srgbClr val="FFFFFF"/>
                  </a:solidFill>
                  <a:latin typeface="Segoe UI"/>
                  <a:ea typeface="Segoe UI" pitchFamily="34" charset="0"/>
                  <a:cs typeface="Segoe UI" pitchFamily="34" charset="0"/>
                </a:endParaRPr>
              </a:p>
            </p:txBody>
          </p:sp>
          <p:sp>
            <p:nvSpPr>
              <p:cNvPr id="415" name="Freeform 414"/>
              <p:cNvSpPr/>
              <p:nvPr/>
            </p:nvSpPr>
            <p:spPr bwMode="auto">
              <a:xfrm>
                <a:off x="3615099" y="968297"/>
                <a:ext cx="4883202" cy="4883202"/>
              </a:xfrm>
              <a:custGeom>
                <a:avLst/>
                <a:gdLst>
                  <a:gd name="connsiteX0" fmla="*/ 2441601 w 4883202"/>
                  <a:gd name="connsiteY0" fmla="*/ 535401 h 4883202"/>
                  <a:gd name="connsiteX1" fmla="*/ 535401 w 4883202"/>
                  <a:gd name="connsiteY1" fmla="*/ 2441601 h 4883202"/>
                  <a:gd name="connsiteX2" fmla="*/ 2441601 w 4883202"/>
                  <a:gd name="connsiteY2" fmla="*/ 4347801 h 4883202"/>
                  <a:gd name="connsiteX3" fmla="*/ 4347801 w 4883202"/>
                  <a:gd name="connsiteY3" fmla="*/ 2441601 h 4883202"/>
                  <a:gd name="connsiteX4" fmla="*/ 2441601 w 4883202"/>
                  <a:gd name="connsiteY4" fmla="*/ 535401 h 4883202"/>
                  <a:gd name="connsiteX5" fmla="*/ 2441601 w 4883202"/>
                  <a:gd name="connsiteY5" fmla="*/ 0 h 4883202"/>
                  <a:gd name="connsiteX6" fmla="*/ 4883202 w 4883202"/>
                  <a:gd name="connsiteY6" fmla="*/ 2441601 h 4883202"/>
                  <a:gd name="connsiteX7" fmla="*/ 2441601 w 4883202"/>
                  <a:gd name="connsiteY7" fmla="*/ 4883202 h 4883202"/>
                  <a:gd name="connsiteX8" fmla="*/ 0 w 4883202"/>
                  <a:gd name="connsiteY8" fmla="*/ 2441601 h 4883202"/>
                  <a:gd name="connsiteX9" fmla="*/ 2441601 w 4883202"/>
                  <a:gd name="connsiteY9" fmla="*/ 0 h 488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3202" h="4883202">
                    <a:moveTo>
                      <a:pt x="2441601" y="535401"/>
                    </a:moveTo>
                    <a:cubicBezTo>
                      <a:pt x="1388836" y="535401"/>
                      <a:pt x="535401" y="1388836"/>
                      <a:pt x="535401" y="2441601"/>
                    </a:cubicBezTo>
                    <a:cubicBezTo>
                      <a:pt x="535401" y="3494366"/>
                      <a:pt x="1388836" y="4347801"/>
                      <a:pt x="2441601" y="4347801"/>
                    </a:cubicBezTo>
                    <a:cubicBezTo>
                      <a:pt x="3494366" y="4347801"/>
                      <a:pt x="4347801" y="3494366"/>
                      <a:pt x="4347801" y="2441601"/>
                    </a:cubicBezTo>
                    <a:cubicBezTo>
                      <a:pt x="4347801" y="1388836"/>
                      <a:pt x="3494366" y="535401"/>
                      <a:pt x="2441601" y="535401"/>
                    </a:cubicBezTo>
                    <a:close/>
                    <a:moveTo>
                      <a:pt x="2441601" y="0"/>
                    </a:moveTo>
                    <a:cubicBezTo>
                      <a:pt x="3790060" y="0"/>
                      <a:pt x="4883202" y="1093142"/>
                      <a:pt x="4883202" y="2441601"/>
                    </a:cubicBezTo>
                    <a:cubicBezTo>
                      <a:pt x="4883202" y="3790060"/>
                      <a:pt x="3790060" y="4883202"/>
                      <a:pt x="2441601" y="4883202"/>
                    </a:cubicBezTo>
                    <a:cubicBezTo>
                      <a:pt x="1093142" y="4883202"/>
                      <a:pt x="0" y="3790060"/>
                      <a:pt x="0" y="2441601"/>
                    </a:cubicBezTo>
                    <a:cubicBezTo>
                      <a:pt x="0" y="1093142"/>
                      <a:pt x="1093142" y="0"/>
                      <a:pt x="2441601" y="0"/>
                    </a:cubicBezTo>
                    <a:close/>
                  </a:path>
                </a:pathLst>
              </a:cu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68012" tIns="134410" rIns="168012" bIns="134410" numCol="1" spcCol="0" rtlCol="0" fromWordArt="0" anchor="t" anchorCtr="0" forceAA="0" compatLnSpc="1">
                <a:prstTxWarp prst="textNoShape">
                  <a:avLst/>
                </a:prstTxWarp>
                <a:noAutofit/>
              </a:bodyPr>
              <a:lstStyle/>
              <a:p>
                <a:pPr algn="ctr" defTabSz="856588" fontAlgn="base">
                  <a:spcBef>
                    <a:spcPct val="0"/>
                  </a:spcBef>
                  <a:spcAft>
                    <a:spcPct val="0"/>
                  </a:spcAft>
                  <a:defRPr/>
                </a:pPr>
                <a:endParaRPr lang="en-US" sz="3307" kern="0" dirty="0">
                  <a:solidFill>
                    <a:srgbClr val="FFFFFF"/>
                  </a:solidFill>
                  <a:latin typeface="Segoe UI"/>
                  <a:ea typeface="Segoe UI" pitchFamily="34" charset="0"/>
                  <a:cs typeface="Segoe UI" pitchFamily="34" charset="0"/>
                </a:endParaRPr>
              </a:p>
            </p:txBody>
          </p:sp>
        </p:grpSp>
        <p:cxnSp>
          <p:nvCxnSpPr>
            <p:cNvPr id="396" name="Straight Connector 395"/>
            <p:cNvCxnSpPr/>
            <p:nvPr/>
          </p:nvCxnSpPr>
          <p:spPr>
            <a:xfrm>
              <a:off x="7329456"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397" name="Group 396"/>
            <p:cNvGrpSpPr/>
            <p:nvPr/>
          </p:nvGrpSpPr>
          <p:grpSpPr>
            <a:xfrm rot="13500000">
              <a:off x="9515255" y="6028138"/>
              <a:ext cx="181498" cy="178786"/>
              <a:chOff x="402446" y="5872915"/>
              <a:chExt cx="292608" cy="288235"/>
            </a:xfrm>
            <a:solidFill>
              <a:srgbClr val="FFFFFF">
                <a:lumMod val="85000"/>
              </a:srgbClr>
            </a:solidFill>
          </p:grpSpPr>
          <p:cxnSp>
            <p:nvCxnSpPr>
              <p:cNvPr id="412" name="Straight Connector 411"/>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13" name="Straight Connector 412"/>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cxnSp>
          <p:nvCxnSpPr>
            <p:cNvPr id="398" name="Straight Connector 397"/>
            <p:cNvCxnSpPr/>
            <p:nvPr/>
          </p:nvCxnSpPr>
          <p:spPr>
            <a:xfrm flipH="1">
              <a:off x="9588715" y="3765778"/>
              <a:ext cx="308472" cy="0"/>
            </a:xfrm>
            <a:prstGeom prst="line">
              <a:avLst/>
            </a:prstGeom>
            <a:noFill/>
            <a:ln w="12700" cap="flat" cmpd="sng" algn="ctr">
              <a:solidFill>
                <a:srgbClr val="0078D7"/>
              </a:solidFill>
              <a:prstDash val="solid"/>
              <a:headEnd type="none"/>
              <a:tailEnd type="none"/>
            </a:ln>
            <a:effectLst/>
          </p:spPr>
        </p:cxnSp>
        <p:sp>
          <p:nvSpPr>
            <p:cNvPr id="399" name="Rectangle 398"/>
            <p:cNvSpPr/>
            <p:nvPr/>
          </p:nvSpPr>
          <p:spPr>
            <a:xfrm>
              <a:off x="8282077" y="3052843"/>
              <a:ext cx="1268870" cy="437081"/>
            </a:xfrm>
            <a:prstGeom prst="rect">
              <a:avLst/>
            </a:prstGeom>
          </p:spPr>
          <p:txBody>
            <a:bodyPr wrap="square" anchor="ctr">
              <a:spAutoFit/>
            </a:bodyPr>
            <a:lstStyle/>
            <a:p>
              <a:pPr defTabSz="839987"/>
              <a:r>
                <a:rPr lang="en-US" sz="1011" kern="0" dirty="0">
                  <a:solidFill>
                    <a:srgbClr val="FFFFFF"/>
                  </a:solidFill>
                  <a:latin typeface="Segoe UI"/>
                  <a:cs typeface="Segoe UI Semilight" panose="020B0402040204020203" pitchFamily="34" charset="0"/>
                </a:rPr>
                <a:t>Bot </a:t>
              </a:r>
              <a:br>
                <a:rPr lang="en-US" sz="1011" kern="0" dirty="0">
                  <a:solidFill>
                    <a:srgbClr val="FFFFFF"/>
                  </a:solidFill>
                  <a:latin typeface="Segoe UI"/>
                  <a:cs typeface="Segoe UI Semilight" panose="020B0402040204020203" pitchFamily="34" charset="0"/>
                </a:rPr>
              </a:br>
              <a:r>
                <a:rPr lang="en-US" sz="1011" kern="0" dirty="0">
                  <a:solidFill>
                    <a:srgbClr val="FFFFFF"/>
                  </a:solidFill>
                  <a:latin typeface="Segoe UI"/>
                  <a:cs typeface="Segoe UI Semilight" panose="020B0402040204020203" pitchFamily="34" charset="0"/>
                </a:rPr>
                <a:t>Framework</a:t>
              </a:r>
            </a:p>
          </p:txBody>
        </p:sp>
        <p:sp>
          <p:nvSpPr>
            <p:cNvPr id="400" name="Rectangle 399"/>
            <p:cNvSpPr/>
            <p:nvPr/>
          </p:nvSpPr>
          <p:spPr>
            <a:xfrm>
              <a:off x="8282077" y="2443589"/>
              <a:ext cx="1268870" cy="437081"/>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Cognitive Services</a:t>
              </a:r>
            </a:p>
          </p:txBody>
        </p:sp>
        <p:grpSp>
          <p:nvGrpSpPr>
            <p:cNvPr id="401" name="Group 400"/>
            <p:cNvGrpSpPr/>
            <p:nvPr/>
          </p:nvGrpSpPr>
          <p:grpSpPr>
            <a:xfrm>
              <a:off x="7830264" y="2521994"/>
              <a:ext cx="427431" cy="274077"/>
              <a:chOff x="7822816" y="2717080"/>
              <a:chExt cx="427431" cy="274077"/>
            </a:xfrm>
          </p:grpSpPr>
          <p:sp>
            <p:nvSpPr>
              <p:cNvPr id="410" name="Freeform 409"/>
              <p:cNvSpPr>
                <a:spLocks/>
              </p:cNvSpPr>
              <p:nvPr/>
            </p:nvSpPr>
            <p:spPr bwMode="auto">
              <a:xfrm flipH="1">
                <a:off x="7822816" y="2717080"/>
                <a:ext cx="427431" cy="274077"/>
              </a:xfrm>
              <a:custGeom>
                <a:avLst/>
                <a:gdLst>
                  <a:gd name="connsiteX0" fmla="*/ 1918425 w 3835400"/>
                  <a:gd name="connsiteY0" fmla="*/ 122238 h 2295525"/>
                  <a:gd name="connsiteX1" fmla="*/ 1304995 w 3835400"/>
                  <a:gd name="connsiteY1" fmla="*/ 621307 h 2295525"/>
                  <a:gd name="connsiteX2" fmla="*/ 1292848 w 3835400"/>
                  <a:gd name="connsiteY2" fmla="*/ 752160 h 2295525"/>
                  <a:gd name="connsiteX3" fmla="*/ 1226039 w 3835400"/>
                  <a:gd name="connsiteY3" fmla="*/ 806936 h 2295525"/>
                  <a:gd name="connsiteX4" fmla="*/ 1168340 w 3835400"/>
                  <a:gd name="connsiteY4" fmla="*/ 800850 h 2295525"/>
                  <a:gd name="connsiteX5" fmla="*/ 800889 w 3835400"/>
                  <a:gd name="connsiteY5" fmla="*/ 953005 h 2295525"/>
                  <a:gd name="connsiteX6" fmla="*/ 758374 w 3835400"/>
                  <a:gd name="connsiteY6" fmla="*/ 1004737 h 2295525"/>
                  <a:gd name="connsiteX7" fmla="*/ 706749 w 3835400"/>
                  <a:gd name="connsiteY7" fmla="*/ 1026039 h 2295525"/>
                  <a:gd name="connsiteX8" fmla="*/ 694602 w 3835400"/>
                  <a:gd name="connsiteY8" fmla="*/ 1026039 h 2295525"/>
                  <a:gd name="connsiteX9" fmla="*/ 120650 w 3835400"/>
                  <a:gd name="connsiteY9" fmla="*/ 1598142 h 2295525"/>
                  <a:gd name="connsiteX10" fmla="*/ 636903 w 3835400"/>
                  <a:gd name="connsiteY10" fmla="*/ 2170245 h 2295525"/>
                  <a:gd name="connsiteX11" fmla="*/ 679418 w 3835400"/>
                  <a:gd name="connsiteY11" fmla="*/ 2173288 h 2295525"/>
                  <a:gd name="connsiteX12" fmla="*/ 682455 w 3835400"/>
                  <a:gd name="connsiteY12" fmla="*/ 2173288 h 2295525"/>
                  <a:gd name="connsiteX13" fmla="*/ 688528 w 3835400"/>
                  <a:gd name="connsiteY13" fmla="*/ 2173288 h 2295525"/>
                  <a:gd name="connsiteX14" fmla="*/ 3151358 w 3835400"/>
                  <a:gd name="connsiteY14" fmla="*/ 2173288 h 2295525"/>
                  <a:gd name="connsiteX15" fmla="*/ 3160469 w 3835400"/>
                  <a:gd name="connsiteY15" fmla="*/ 2173288 h 2295525"/>
                  <a:gd name="connsiteX16" fmla="*/ 3169579 w 3835400"/>
                  <a:gd name="connsiteY16" fmla="*/ 2173288 h 2295525"/>
                  <a:gd name="connsiteX17" fmla="*/ 3193873 w 3835400"/>
                  <a:gd name="connsiteY17" fmla="*/ 2173288 h 2295525"/>
                  <a:gd name="connsiteX18" fmla="*/ 3713163 w 3835400"/>
                  <a:gd name="connsiteY18" fmla="*/ 1655961 h 2295525"/>
                  <a:gd name="connsiteX19" fmla="*/ 3488441 w 3835400"/>
                  <a:gd name="connsiteY19" fmla="*/ 1226884 h 2295525"/>
                  <a:gd name="connsiteX20" fmla="*/ 3442890 w 3835400"/>
                  <a:gd name="connsiteY20" fmla="*/ 1202539 h 2295525"/>
                  <a:gd name="connsiteX21" fmla="*/ 3409485 w 3835400"/>
                  <a:gd name="connsiteY21" fmla="*/ 1144720 h 2295525"/>
                  <a:gd name="connsiteX22" fmla="*/ 3415558 w 3835400"/>
                  <a:gd name="connsiteY22" fmla="*/ 1059513 h 2295525"/>
                  <a:gd name="connsiteX23" fmla="*/ 2789981 w 3835400"/>
                  <a:gd name="connsiteY23" fmla="*/ 435678 h 2295525"/>
                  <a:gd name="connsiteX24" fmla="*/ 2604738 w 3835400"/>
                  <a:gd name="connsiteY24" fmla="*/ 463065 h 2295525"/>
                  <a:gd name="connsiteX25" fmla="*/ 2547039 w 3835400"/>
                  <a:gd name="connsiteY25" fmla="*/ 484367 h 2295525"/>
                  <a:gd name="connsiteX26" fmla="*/ 2471119 w 3835400"/>
                  <a:gd name="connsiteY26" fmla="*/ 456979 h 2295525"/>
                  <a:gd name="connsiteX27" fmla="*/ 2437715 w 3835400"/>
                  <a:gd name="connsiteY27" fmla="*/ 396117 h 2295525"/>
                  <a:gd name="connsiteX28" fmla="*/ 1918425 w 3835400"/>
                  <a:gd name="connsiteY28" fmla="*/ 122238 h 2295525"/>
                  <a:gd name="connsiteX29" fmla="*/ 1919219 w 3835400"/>
                  <a:gd name="connsiteY29" fmla="*/ 0 h 2295525"/>
                  <a:gd name="connsiteX30" fmla="*/ 2541750 w 3835400"/>
                  <a:gd name="connsiteY30" fmla="*/ 331847 h 2295525"/>
                  <a:gd name="connsiteX31" fmla="*/ 2544787 w 3835400"/>
                  <a:gd name="connsiteY31" fmla="*/ 334891 h 2295525"/>
                  <a:gd name="connsiteX32" fmla="*/ 2553897 w 3835400"/>
                  <a:gd name="connsiteY32" fmla="*/ 353158 h 2295525"/>
                  <a:gd name="connsiteX33" fmla="*/ 2563007 w 3835400"/>
                  <a:gd name="connsiteY33" fmla="*/ 350113 h 2295525"/>
                  <a:gd name="connsiteX34" fmla="*/ 2566044 w 3835400"/>
                  <a:gd name="connsiteY34" fmla="*/ 347069 h 2295525"/>
                  <a:gd name="connsiteX35" fmla="*/ 2790762 w 3835400"/>
                  <a:gd name="connsiteY35" fmla="*/ 313580 h 2295525"/>
                  <a:gd name="connsiteX36" fmla="*/ 3537800 w 3835400"/>
                  <a:gd name="connsiteY36" fmla="*/ 1062518 h 2295525"/>
                  <a:gd name="connsiteX37" fmla="*/ 3537800 w 3835400"/>
                  <a:gd name="connsiteY37" fmla="*/ 1065562 h 2295525"/>
                  <a:gd name="connsiteX38" fmla="*/ 3534763 w 3835400"/>
                  <a:gd name="connsiteY38" fmla="*/ 1114274 h 2295525"/>
                  <a:gd name="connsiteX39" fmla="*/ 3546910 w 3835400"/>
                  <a:gd name="connsiteY39" fmla="*/ 1120363 h 2295525"/>
                  <a:gd name="connsiteX40" fmla="*/ 3552983 w 3835400"/>
                  <a:gd name="connsiteY40" fmla="*/ 1123407 h 2295525"/>
                  <a:gd name="connsiteX41" fmla="*/ 3835400 w 3835400"/>
                  <a:gd name="connsiteY41" fmla="*/ 1656188 h 2295525"/>
                  <a:gd name="connsiteX42" fmla="*/ 3194648 w 3835400"/>
                  <a:gd name="connsiteY42" fmla="*/ 2295525 h 2295525"/>
                  <a:gd name="connsiteX43" fmla="*/ 3191612 w 3835400"/>
                  <a:gd name="connsiteY43" fmla="*/ 2295525 h 2295525"/>
                  <a:gd name="connsiteX44" fmla="*/ 3170355 w 3835400"/>
                  <a:gd name="connsiteY44" fmla="*/ 2295525 h 2295525"/>
                  <a:gd name="connsiteX45" fmla="*/ 3161244 w 3835400"/>
                  <a:gd name="connsiteY45" fmla="*/ 2295525 h 2295525"/>
                  <a:gd name="connsiteX46" fmla="*/ 3155171 w 3835400"/>
                  <a:gd name="connsiteY46" fmla="*/ 2295525 h 2295525"/>
                  <a:gd name="connsiteX47" fmla="*/ 686303 w 3835400"/>
                  <a:gd name="connsiteY47" fmla="*/ 2295525 h 2295525"/>
                  <a:gd name="connsiteX48" fmla="*/ 680230 w 3835400"/>
                  <a:gd name="connsiteY48" fmla="*/ 2295525 h 2295525"/>
                  <a:gd name="connsiteX49" fmla="*/ 671119 w 3835400"/>
                  <a:gd name="connsiteY49" fmla="*/ 2295525 h 2295525"/>
                  <a:gd name="connsiteX50" fmla="*/ 628605 w 3835400"/>
                  <a:gd name="connsiteY50" fmla="*/ 2292481 h 2295525"/>
                  <a:gd name="connsiteX51" fmla="*/ 625568 w 3835400"/>
                  <a:gd name="connsiteY51" fmla="*/ 2292481 h 2295525"/>
                  <a:gd name="connsiteX52" fmla="*/ 0 w 3835400"/>
                  <a:gd name="connsiteY52" fmla="*/ 1598343 h 2295525"/>
                  <a:gd name="connsiteX53" fmla="*/ 683266 w 3835400"/>
                  <a:gd name="connsiteY53" fmla="*/ 904206 h 2295525"/>
                  <a:gd name="connsiteX54" fmla="*/ 710597 w 3835400"/>
                  <a:gd name="connsiteY54" fmla="*/ 873761 h 2295525"/>
                  <a:gd name="connsiteX55" fmla="*/ 713634 w 3835400"/>
                  <a:gd name="connsiteY55" fmla="*/ 867672 h 2295525"/>
                  <a:gd name="connsiteX56" fmla="*/ 1172181 w 3835400"/>
                  <a:gd name="connsiteY56" fmla="*/ 678915 h 2295525"/>
                  <a:gd name="connsiteX57" fmla="*/ 1178255 w 3835400"/>
                  <a:gd name="connsiteY57" fmla="*/ 678915 h 2295525"/>
                  <a:gd name="connsiteX58" fmla="*/ 1184328 w 3835400"/>
                  <a:gd name="connsiteY58" fmla="*/ 605848 h 2295525"/>
                  <a:gd name="connsiteX59" fmla="*/ 1187365 w 3835400"/>
                  <a:gd name="connsiteY59" fmla="*/ 599759 h 2295525"/>
                  <a:gd name="connsiteX60" fmla="*/ 1919219 w 3835400"/>
                  <a:gd name="connsiteY60" fmla="*/ 0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35400" h="2295525">
                    <a:moveTo>
                      <a:pt x="1918425" y="122238"/>
                    </a:moveTo>
                    <a:cubicBezTo>
                      <a:pt x="1623857" y="122238"/>
                      <a:pt x="1365731" y="332212"/>
                      <a:pt x="1304995" y="621307"/>
                    </a:cubicBezTo>
                    <a:cubicBezTo>
                      <a:pt x="1292848" y="752160"/>
                      <a:pt x="1292848" y="752160"/>
                      <a:pt x="1292848" y="752160"/>
                    </a:cubicBezTo>
                    <a:cubicBezTo>
                      <a:pt x="1289811" y="785634"/>
                      <a:pt x="1259443" y="809979"/>
                      <a:pt x="1226039" y="806936"/>
                    </a:cubicBezTo>
                    <a:cubicBezTo>
                      <a:pt x="1168340" y="800850"/>
                      <a:pt x="1168340" y="800850"/>
                      <a:pt x="1168340" y="800850"/>
                    </a:cubicBezTo>
                    <a:cubicBezTo>
                      <a:pt x="1028648" y="800850"/>
                      <a:pt x="898066" y="855625"/>
                      <a:pt x="800889" y="953005"/>
                    </a:cubicBezTo>
                    <a:cubicBezTo>
                      <a:pt x="758374" y="1004737"/>
                      <a:pt x="758374" y="1004737"/>
                      <a:pt x="758374" y="1004737"/>
                    </a:cubicBezTo>
                    <a:cubicBezTo>
                      <a:pt x="746227" y="1019953"/>
                      <a:pt x="728007" y="1026039"/>
                      <a:pt x="706749" y="1026039"/>
                    </a:cubicBezTo>
                    <a:cubicBezTo>
                      <a:pt x="694602" y="1026039"/>
                      <a:pt x="694602" y="1026039"/>
                      <a:pt x="694602" y="1026039"/>
                    </a:cubicBezTo>
                    <a:cubicBezTo>
                      <a:pt x="378777" y="1026039"/>
                      <a:pt x="120650" y="1281660"/>
                      <a:pt x="120650" y="1598142"/>
                    </a:cubicBezTo>
                    <a:cubicBezTo>
                      <a:pt x="120650" y="1893323"/>
                      <a:pt x="342335" y="2139814"/>
                      <a:pt x="636903" y="2170245"/>
                    </a:cubicBezTo>
                    <a:cubicBezTo>
                      <a:pt x="679418" y="2173288"/>
                      <a:pt x="679418" y="2173288"/>
                      <a:pt x="679418" y="2173288"/>
                    </a:cubicBezTo>
                    <a:cubicBezTo>
                      <a:pt x="679418" y="2173288"/>
                      <a:pt x="679418" y="2173288"/>
                      <a:pt x="682455" y="2173288"/>
                    </a:cubicBezTo>
                    <a:lnTo>
                      <a:pt x="688528" y="2173288"/>
                    </a:lnTo>
                    <a:cubicBezTo>
                      <a:pt x="3151358" y="2173288"/>
                      <a:pt x="3151358" y="2173288"/>
                      <a:pt x="3151358" y="2173288"/>
                    </a:cubicBezTo>
                    <a:cubicBezTo>
                      <a:pt x="3160469" y="2173288"/>
                      <a:pt x="3160469" y="2173288"/>
                      <a:pt x="3160469" y="2173288"/>
                    </a:cubicBezTo>
                    <a:cubicBezTo>
                      <a:pt x="3163506" y="2173288"/>
                      <a:pt x="3166542" y="2173288"/>
                      <a:pt x="3169579" y="2173288"/>
                    </a:cubicBezTo>
                    <a:cubicBezTo>
                      <a:pt x="3193873" y="2173288"/>
                      <a:pt x="3193873" y="2173288"/>
                      <a:pt x="3193873" y="2173288"/>
                    </a:cubicBezTo>
                    <a:cubicBezTo>
                      <a:pt x="3482368" y="2173288"/>
                      <a:pt x="3713163" y="1938969"/>
                      <a:pt x="3713163" y="1655961"/>
                    </a:cubicBezTo>
                    <a:cubicBezTo>
                      <a:pt x="3713163" y="1482504"/>
                      <a:pt x="3628133" y="1324263"/>
                      <a:pt x="3488441" y="1226884"/>
                    </a:cubicBezTo>
                    <a:cubicBezTo>
                      <a:pt x="3442890" y="1202539"/>
                      <a:pt x="3442890" y="1202539"/>
                      <a:pt x="3442890" y="1202539"/>
                    </a:cubicBezTo>
                    <a:cubicBezTo>
                      <a:pt x="3421632" y="1190367"/>
                      <a:pt x="3409485" y="1169065"/>
                      <a:pt x="3409485" y="1144720"/>
                    </a:cubicBezTo>
                    <a:cubicBezTo>
                      <a:pt x="3415558" y="1059513"/>
                      <a:pt x="3415558" y="1059513"/>
                      <a:pt x="3415558" y="1059513"/>
                    </a:cubicBezTo>
                    <a:cubicBezTo>
                      <a:pt x="3415558" y="715643"/>
                      <a:pt x="3133138" y="435678"/>
                      <a:pt x="2789981" y="435678"/>
                    </a:cubicBezTo>
                    <a:cubicBezTo>
                      <a:pt x="2726209" y="435678"/>
                      <a:pt x="2662437" y="444807"/>
                      <a:pt x="2604738" y="463065"/>
                    </a:cubicBezTo>
                    <a:cubicBezTo>
                      <a:pt x="2547039" y="484367"/>
                      <a:pt x="2547039" y="484367"/>
                      <a:pt x="2547039" y="484367"/>
                    </a:cubicBezTo>
                    <a:cubicBezTo>
                      <a:pt x="2516671" y="496540"/>
                      <a:pt x="2486303" y="484367"/>
                      <a:pt x="2471119" y="456979"/>
                    </a:cubicBezTo>
                    <a:cubicBezTo>
                      <a:pt x="2437715" y="396117"/>
                      <a:pt x="2437715" y="396117"/>
                      <a:pt x="2437715" y="396117"/>
                    </a:cubicBezTo>
                    <a:cubicBezTo>
                      <a:pt x="2322317" y="225704"/>
                      <a:pt x="2127963" y="122238"/>
                      <a:pt x="1918425" y="122238"/>
                    </a:cubicBezTo>
                    <a:close/>
                    <a:moveTo>
                      <a:pt x="1919219" y="0"/>
                    </a:moveTo>
                    <a:cubicBezTo>
                      <a:pt x="2168231" y="0"/>
                      <a:pt x="2402060" y="124823"/>
                      <a:pt x="2541750" y="331847"/>
                    </a:cubicBezTo>
                    <a:cubicBezTo>
                      <a:pt x="2541750" y="331847"/>
                      <a:pt x="2544787" y="334891"/>
                      <a:pt x="2544787" y="334891"/>
                    </a:cubicBezTo>
                    <a:cubicBezTo>
                      <a:pt x="2553897" y="353158"/>
                      <a:pt x="2553897" y="353158"/>
                      <a:pt x="2553897" y="353158"/>
                    </a:cubicBezTo>
                    <a:cubicBezTo>
                      <a:pt x="2563007" y="350113"/>
                      <a:pt x="2563007" y="350113"/>
                      <a:pt x="2563007" y="350113"/>
                    </a:cubicBezTo>
                    <a:cubicBezTo>
                      <a:pt x="2566044" y="350113"/>
                      <a:pt x="2566044" y="347069"/>
                      <a:pt x="2566044" y="347069"/>
                    </a:cubicBezTo>
                    <a:cubicBezTo>
                      <a:pt x="2638925" y="325758"/>
                      <a:pt x="2714844" y="313580"/>
                      <a:pt x="2790762" y="313580"/>
                    </a:cubicBezTo>
                    <a:cubicBezTo>
                      <a:pt x="3203759" y="313580"/>
                      <a:pt x="3537800" y="648471"/>
                      <a:pt x="3537800" y="1062518"/>
                    </a:cubicBezTo>
                    <a:cubicBezTo>
                      <a:pt x="3537800" y="1062518"/>
                      <a:pt x="3537800" y="1065562"/>
                      <a:pt x="3537800" y="1065562"/>
                    </a:cubicBezTo>
                    <a:cubicBezTo>
                      <a:pt x="3534763" y="1114274"/>
                      <a:pt x="3534763" y="1114274"/>
                      <a:pt x="3534763" y="1114274"/>
                    </a:cubicBezTo>
                    <a:cubicBezTo>
                      <a:pt x="3546910" y="1120363"/>
                      <a:pt x="3546910" y="1120363"/>
                      <a:pt x="3546910" y="1120363"/>
                    </a:cubicBezTo>
                    <a:cubicBezTo>
                      <a:pt x="3549947" y="1123407"/>
                      <a:pt x="3552983" y="1123407"/>
                      <a:pt x="3552983" y="1123407"/>
                    </a:cubicBezTo>
                    <a:cubicBezTo>
                      <a:pt x="3729114" y="1245185"/>
                      <a:pt x="3835400" y="1443076"/>
                      <a:pt x="3835400" y="1656188"/>
                    </a:cubicBezTo>
                    <a:cubicBezTo>
                      <a:pt x="3835400" y="2009346"/>
                      <a:pt x="3546910" y="2295525"/>
                      <a:pt x="3194648" y="2295525"/>
                    </a:cubicBezTo>
                    <a:cubicBezTo>
                      <a:pt x="3194648" y="2295525"/>
                      <a:pt x="3191612" y="2295525"/>
                      <a:pt x="3191612" y="2295525"/>
                    </a:cubicBezTo>
                    <a:cubicBezTo>
                      <a:pt x="3170355" y="2295525"/>
                      <a:pt x="3170355" y="2295525"/>
                      <a:pt x="3170355" y="2295525"/>
                    </a:cubicBezTo>
                    <a:cubicBezTo>
                      <a:pt x="3161244" y="2295525"/>
                      <a:pt x="3161244" y="2295525"/>
                      <a:pt x="3161244" y="2295525"/>
                    </a:cubicBezTo>
                    <a:cubicBezTo>
                      <a:pt x="3158208" y="2295525"/>
                      <a:pt x="3158208" y="2295525"/>
                      <a:pt x="3155171" y="2295525"/>
                    </a:cubicBezTo>
                    <a:cubicBezTo>
                      <a:pt x="686303" y="2295525"/>
                      <a:pt x="686303" y="2295525"/>
                      <a:pt x="686303" y="2295525"/>
                    </a:cubicBezTo>
                    <a:cubicBezTo>
                      <a:pt x="686303" y="2295525"/>
                      <a:pt x="683266" y="2295525"/>
                      <a:pt x="680230" y="2295525"/>
                    </a:cubicBezTo>
                    <a:cubicBezTo>
                      <a:pt x="671119" y="2295525"/>
                      <a:pt x="671119" y="2295525"/>
                      <a:pt x="671119" y="2295525"/>
                    </a:cubicBezTo>
                    <a:cubicBezTo>
                      <a:pt x="628605" y="2292481"/>
                      <a:pt x="628605" y="2292481"/>
                      <a:pt x="628605" y="2292481"/>
                    </a:cubicBezTo>
                    <a:cubicBezTo>
                      <a:pt x="628605" y="2292481"/>
                      <a:pt x="628605" y="2292481"/>
                      <a:pt x="625568" y="2292481"/>
                    </a:cubicBezTo>
                    <a:cubicBezTo>
                      <a:pt x="270270" y="2255947"/>
                      <a:pt x="0" y="1957590"/>
                      <a:pt x="0" y="1598343"/>
                    </a:cubicBezTo>
                    <a:cubicBezTo>
                      <a:pt x="0" y="1220830"/>
                      <a:pt x="306711" y="910295"/>
                      <a:pt x="683266" y="904206"/>
                    </a:cubicBezTo>
                    <a:cubicBezTo>
                      <a:pt x="710597" y="873761"/>
                      <a:pt x="710597" y="873761"/>
                      <a:pt x="710597" y="873761"/>
                    </a:cubicBezTo>
                    <a:cubicBezTo>
                      <a:pt x="710597" y="870717"/>
                      <a:pt x="713634" y="870717"/>
                      <a:pt x="713634" y="867672"/>
                    </a:cubicBezTo>
                    <a:cubicBezTo>
                      <a:pt x="835103" y="745894"/>
                      <a:pt x="999087" y="678915"/>
                      <a:pt x="1172181" y="678915"/>
                    </a:cubicBezTo>
                    <a:cubicBezTo>
                      <a:pt x="1172181" y="678915"/>
                      <a:pt x="1175218" y="678915"/>
                      <a:pt x="1178255" y="678915"/>
                    </a:cubicBezTo>
                    <a:cubicBezTo>
                      <a:pt x="1184328" y="605848"/>
                      <a:pt x="1184328" y="605848"/>
                      <a:pt x="1184328" y="605848"/>
                    </a:cubicBezTo>
                    <a:cubicBezTo>
                      <a:pt x="1184328" y="602804"/>
                      <a:pt x="1184328" y="599759"/>
                      <a:pt x="1187365" y="599759"/>
                    </a:cubicBezTo>
                    <a:cubicBezTo>
                      <a:pt x="1257210" y="252691"/>
                      <a:pt x="1566957" y="0"/>
                      <a:pt x="1919219" y="0"/>
                    </a:cubicBezTo>
                    <a:close/>
                  </a:path>
                </a:pathLst>
              </a:custGeom>
              <a:solidFill>
                <a:srgbClr val="FFFFFF"/>
              </a:solidFill>
              <a:ln>
                <a:noFill/>
              </a:ln>
            </p:spPr>
            <p:txBody>
              <a:bodyPr vert="horz" wrap="square" lIns="84006" tIns="42003" rIns="84006" bIns="42003" numCol="1" anchor="t" anchorCtr="0" compatLnSpc="1">
                <a:prstTxWarp prst="textNoShape">
                  <a:avLst/>
                </a:prstTxWarp>
                <a:noAutofit/>
              </a:bodyPr>
              <a:lstStyle/>
              <a:p>
                <a:pPr defTabSz="839987">
                  <a:defRPr/>
                </a:pPr>
                <a:endParaRPr lang="en-US" sz="1654" kern="0" dirty="0">
                  <a:solidFill>
                    <a:srgbClr val="FFFFFF"/>
                  </a:solidFill>
                  <a:latin typeface="Segoe UI"/>
                </a:endParaRPr>
              </a:p>
            </p:txBody>
          </p:sp>
          <p:sp>
            <p:nvSpPr>
              <p:cNvPr id="411" name="Freeform 109"/>
              <p:cNvSpPr>
                <a:spLocks/>
              </p:cNvSpPr>
              <p:nvPr/>
            </p:nvSpPr>
            <p:spPr bwMode="auto">
              <a:xfrm>
                <a:off x="7936686" y="2796097"/>
                <a:ext cx="148270" cy="149376"/>
              </a:xfrm>
              <a:custGeom>
                <a:avLst/>
                <a:gdLst>
                  <a:gd name="T0" fmla="*/ 680 w 701"/>
                  <a:gd name="T1" fmla="*/ 640 h 704"/>
                  <a:gd name="T2" fmla="*/ 568 w 701"/>
                  <a:gd name="T3" fmla="*/ 571 h 704"/>
                  <a:gd name="T4" fmla="*/ 531 w 701"/>
                  <a:gd name="T5" fmla="*/ 573 h 704"/>
                  <a:gd name="T6" fmla="*/ 351 w 701"/>
                  <a:gd name="T7" fmla="*/ 637 h 704"/>
                  <a:gd name="T8" fmla="*/ 64 w 701"/>
                  <a:gd name="T9" fmla="*/ 350 h 704"/>
                  <a:gd name="T10" fmla="*/ 351 w 701"/>
                  <a:gd name="T11" fmla="*/ 64 h 704"/>
                  <a:gd name="T12" fmla="*/ 631 w 701"/>
                  <a:gd name="T13" fmla="*/ 294 h 704"/>
                  <a:gd name="T14" fmla="*/ 474 w 701"/>
                  <a:gd name="T15" fmla="*/ 294 h 704"/>
                  <a:gd name="T16" fmla="*/ 445 w 701"/>
                  <a:gd name="T17" fmla="*/ 312 h 704"/>
                  <a:gd name="T18" fmla="*/ 432 w 701"/>
                  <a:gd name="T19" fmla="*/ 338 h 704"/>
                  <a:gd name="T20" fmla="*/ 320 w 701"/>
                  <a:gd name="T21" fmla="*/ 203 h 704"/>
                  <a:gd name="T22" fmla="*/ 284 w 701"/>
                  <a:gd name="T23" fmla="*/ 193 h 704"/>
                  <a:gd name="T24" fmla="*/ 263 w 701"/>
                  <a:gd name="T25" fmla="*/ 223 h 704"/>
                  <a:gd name="T26" fmla="*/ 263 w 701"/>
                  <a:gd name="T27" fmla="*/ 327 h 704"/>
                  <a:gd name="T28" fmla="*/ 192 w 701"/>
                  <a:gd name="T29" fmla="*/ 327 h 704"/>
                  <a:gd name="T30" fmla="*/ 160 w 701"/>
                  <a:gd name="T31" fmla="*/ 359 h 704"/>
                  <a:gd name="T32" fmla="*/ 192 w 701"/>
                  <a:gd name="T33" fmla="*/ 391 h 704"/>
                  <a:gd name="T34" fmla="*/ 295 w 701"/>
                  <a:gd name="T35" fmla="*/ 391 h 704"/>
                  <a:gd name="T36" fmla="*/ 327 w 701"/>
                  <a:gd name="T37" fmla="*/ 359 h 704"/>
                  <a:gd name="T38" fmla="*/ 327 w 701"/>
                  <a:gd name="T39" fmla="*/ 311 h 704"/>
                  <a:gd name="T40" fmla="*/ 414 w 701"/>
                  <a:gd name="T41" fmla="*/ 416 h 704"/>
                  <a:gd name="T42" fmla="*/ 439 w 701"/>
                  <a:gd name="T43" fmla="*/ 428 h 704"/>
                  <a:gd name="T44" fmla="*/ 443 w 701"/>
                  <a:gd name="T45" fmla="*/ 428 h 704"/>
                  <a:gd name="T46" fmla="*/ 468 w 701"/>
                  <a:gd name="T47" fmla="*/ 410 h 704"/>
                  <a:gd name="T48" fmla="*/ 494 w 701"/>
                  <a:gd name="T49" fmla="*/ 358 h 704"/>
                  <a:gd name="T50" fmla="*/ 661 w 701"/>
                  <a:gd name="T51" fmla="*/ 358 h 704"/>
                  <a:gd name="T52" fmla="*/ 665 w 701"/>
                  <a:gd name="T53" fmla="*/ 358 h 704"/>
                  <a:gd name="T54" fmla="*/ 670 w 701"/>
                  <a:gd name="T55" fmla="*/ 358 h 704"/>
                  <a:gd name="T56" fmla="*/ 700 w 701"/>
                  <a:gd name="T57" fmla="*/ 324 h 704"/>
                  <a:gd name="T58" fmla="*/ 589 w 701"/>
                  <a:gd name="T59" fmla="*/ 94 h 704"/>
                  <a:gd name="T60" fmla="*/ 351 w 701"/>
                  <a:gd name="T61" fmla="*/ 0 h 704"/>
                  <a:gd name="T62" fmla="*/ 0 w 701"/>
                  <a:gd name="T63" fmla="*/ 350 h 704"/>
                  <a:gd name="T64" fmla="*/ 351 w 701"/>
                  <a:gd name="T65" fmla="*/ 701 h 704"/>
                  <a:gd name="T66" fmla="*/ 553 w 701"/>
                  <a:gd name="T67" fmla="*/ 637 h 704"/>
                  <a:gd name="T68" fmla="*/ 646 w 701"/>
                  <a:gd name="T69" fmla="*/ 694 h 704"/>
                  <a:gd name="T70" fmla="*/ 690 w 701"/>
                  <a:gd name="T71" fmla="*/ 684 h 704"/>
                  <a:gd name="T72" fmla="*/ 680 w 701"/>
                  <a:gd name="T73" fmla="*/ 640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1" h="704">
                    <a:moveTo>
                      <a:pt x="680" y="640"/>
                    </a:moveTo>
                    <a:cubicBezTo>
                      <a:pt x="568" y="571"/>
                      <a:pt x="568" y="571"/>
                      <a:pt x="568" y="571"/>
                    </a:cubicBezTo>
                    <a:cubicBezTo>
                      <a:pt x="556" y="564"/>
                      <a:pt x="541" y="564"/>
                      <a:pt x="531" y="573"/>
                    </a:cubicBezTo>
                    <a:cubicBezTo>
                      <a:pt x="479" y="615"/>
                      <a:pt x="417" y="637"/>
                      <a:pt x="351" y="637"/>
                    </a:cubicBezTo>
                    <a:cubicBezTo>
                      <a:pt x="193" y="637"/>
                      <a:pt x="64" y="508"/>
                      <a:pt x="64" y="350"/>
                    </a:cubicBezTo>
                    <a:cubicBezTo>
                      <a:pt x="64" y="193"/>
                      <a:pt x="193" y="64"/>
                      <a:pt x="351" y="64"/>
                    </a:cubicBezTo>
                    <a:cubicBezTo>
                      <a:pt x="488" y="64"/>
                      <a:pt x="605" y="163"/>
                      <a:pt x="631" y="294"/>
                    </a:cubicBezTo>
                    <a:cubicBezTo>
                      <a:pt x="474" y="294"/>
                      <a:pt x="474" y="294"/>
                      <a:pt x="474" y="294"/>
                    </a:cubicBezTo>
                    <a:cubicBezTo>
                      <a:pt x="462" y="294"/>
                      <a:pt x="451" y="301"/>
                      <a:pt x="445" y="312"/>
                    </a:cubicBezTo>
                    <a:cubicBezTo>
                      <a:pt x="432" y="338"/>
                      <a:pt x="432" y="338"/>
                      <a:pt x="432" y="338"/>
                    </a:cubicBezTo>
                    <a:cubicBezTo>
                      <a:pt x="320" y="203"/>
                      <a:pt x="320" y="203"/>
                      <a:pt x="320" y="203"/>
                    </a:cubicBezTo>
                    <a:cubicBezTo>
                      <a:pt x="311" y="192"/>
                      <a:pt x="297" y="188"/>
                      <a:pt x="284" y="193"/>
                    </a:cubicBezTo>
                    <a:cubicBezTo>
                      <a:pt x="271" y="197"/>
                      <a:pt x="263" y="210"/>
                      <a:pt x="263" y="223"/>
                    </a:cubicBezTo>
                    <a:cubicBezTo>
                      <a:pt x="263" y="327"/>
                      <a:pt x="263" y="327"/>
                      <a:pt x="263" y="327"/>
                    </a:cubicBezTo>
                    <a:cubicBezTo>
                      <a:pt x="192" y="327"/>
                      <a:pt x="192" y="327"/>
                      <a:pt x="192" y="327"/>
                    </a:cubicBezTo>
                    <a:cubicBezTo>
                      <a:pt x="174" y="327"/>
                      <a:pt x="160" y="341"/>
                      <a:pt x="160" y="359"/>
                    </a:cubicBezTo>
                    <a:cubicBezTo>
                      <a:pt x="160" y="377"/>
                      <a:pt x="174" y="391"/>
                      <a:pt x="192" y="391"/>
                    </a:cubicBezTo>
                    <a:cubicBezTo>
                      <a:pt x="295" y="391"/>
                      <a:pt x="295" y="391"/>
                      <a:pt x="295" y="391"/>
                    </a:cubicBezTo>
                    <a:cubicBezTo>
                      <a:pt x="313" y="391"/>
                      <a:pt x="327" y="377"/>
                      <a:pt x="327" y="359"/>
                    </a:cubicBezTo>
                    <a:cubicBezTo>
                      <a:pt x="327" y="311"/>
                      <a:pt x="327" y="311"/>
                      <a:pt x="327" y="311"/>
                    </a:cubicBezTo>
                    <a:cubicBezTo>
                      <a:pt x="414" y="416"/>
                      <a:pt x="414" y="416"/>
                      <a:pt x="414" y="416"/>
                    </a:cubicBezTo>
                    <a:cubicBezTo>
                      <a:pt x="421" y="424"/>
                      <a:pt x="430" y="428"/>
                      <a:pt x="439" y="428"/>
                    </a:cubicBezTo>
                    <a:cubicBezTo>
                      <a:pt x="440" y="428"/>
                      <a:pt x="441" y="428"/>
                      <a:pt x="443" y="428"/>
                    </a:cubicBezTo>
                    <a:cubicBezTo>
                      <a:pt x="453" y="427"/>
                      <a:pt x="463" y="420"/>
                      <a:pt x="468" y="410"/>
                    </a:cubicBezTo>
                    <a:cubicBezTo>
                      <a:pt x="494" y="358"/>
                      <a:pt x="494" y="358"/>
                      <a:pt x="494" y="358"/>
                    </a:cubicBezTo>
                    <a:cubicBezTo>
                      <a:pt x="661" y="358"/>
                      <a:pt x="661" y="358"/>
                      <a:pt x="661" y="358"/>
                    </a:cubicBezTo>
                    <a:cubicBezTo>
                      <a:pt x="662" y="358"/>
                      <a:pt x="663" y="358"/>
                      <a:pt x="665" y="358"/>
                    </a:cubicBezTo>
                    <a:cubicBezTo>
                      <a:pt x="666" y="358"/>
                      <a:pt x="668" y="358"/>
                      <a:pt x="670" y="358"/>
                    </a:cubicBezTo>
                    <a:cubicBezTo>
                      <a:pt x="688" y="357"/>
                      <a:pt x="701" y="341"/>
                      <a:pt x="700" y="324"/>
                    </a:cubicBezTo>
                    <a:cubicBezTo>
                      <a:pt x="693" y="236"/>
                      <a:pt x="654" y="154"/>
                      <a:pt x="589" y="94"/>
                    </a:cubicBezTo>
                    <a:cubicBezTo>
                      <a:pt x="524" y="33"/>
                      <a:pt x="439" y="0"/>
                      <a:pt x="351" y="0"/>
                    </a:cubicBezTo>
                    <a:cubicBezTo>
                      <a:pt x="157" y="0"/>
                      <a:pt x="0" y="157"/>
                      <a:pt x="0" y="350"/>
                    </a:cubicBezTo>
                    <a:cubicBezTo>
                      <a:pt x="0" y="544"/>
                      <a:pt x="157" y="701"/>
                      <a:pt x="351" y="701"/>
                    </a:cubicBezTo>
                    <a:cubicBezTo>
                      <a:pt x="423" y="701"/>
                      <a:pt x="494" y="678"/>
                      <a:pt x="553" y="637"/>
                    </a:cubicBezTo>
                    <a:cubicBezTo>
                      <a:pt x="646" y="694"/>
                      <a:pt x="646" y="694"/>
                      <a:pt x="646" y="694"/>
                    </a:cubicBezTo>
                    <a:cubicBezTo>
                      <a:pt x="661" y="704"/>
                      <a:pt x="681" y="699"/>
                      <a:pt x="690" y="684"/>
                    </a:cubicBezTo>
                    <a:cubicBezTo>
                      <a:pt x="700" y="669"/>
                      <a:pt x="695" y="649"/>
                      <a:pt x="680" y="640"/>
                    </a:cubicBezTo>
                    <a:close/>
                  </a:path>
                </a:pathLst>
              </a:custGeom>
              <a:solidFill>
                <a:srgbClr val="FFFFFF"/>
              </a:solidFill>
              <a:ln>
                <a:noFill/>
              </a:ln>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grpSp>
        <p:sp>
          <p:nvSpPr>
            <p:cNvPr id="402" name="Rectangle 401"/>
            <p:cNvSpPr/>
            <p:nvPr/>
          </p:nvSpPr>
          <p:spPr>
            <a:xfrm>
              <a:off x="8241821" y="5297166"/>
              <a:ext cx="1271016" cy="267805"/>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Power BI</a:t>
              </a:r>
            </a:p>
          </p:txBody>
        </p:sp>
        <p:grpSp>
          <p:nvGrpSpPr>
            <p:cNvPr id="403" name="Group 402"/>
            <p:cNvGrpSpPr/>
            <p:nvPr/>
          </p:nvGrpSpPr>
          <p:grpSpPr>
            <a:xfrm>
              <a:off x="7884058" y="5324140"/>
              <a:ext cx="324905" cy="207663"/>
              <a:chOff x="7884058" y="5368509"/>
              <a:chExt cx="324905" cy="207663"/>
            </a:xfrm>
          </p:grpSpPr>
          <p:sp>
            <p:nvSpPr>
              <p:cNvPr id="405" name="Freeform 5"/>
              <p:cNvSpPr>
                <a:spLocks noEditPoints="1"/>
              </p:cNvSpPr>
              <p:nvPr/>
            </p:nvSpPr>
            <p:spPr bwMode="auto">
              <a:xfrm>
                <a:off x="7884058" y="5368509"/>
                <a:ext cx="324905" cy="207663"/>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rgbClr val="FFFFFF"/>
              </a:solidFill>
              <a:ln>
                <a:noFill/>
              </a:ln>
            </p:spPr>
            <p:txBody>
              <a:bodyPr vert="horz" wrap="square" lIns="82355" tIns="41177" rIns="82355" bIns="41177" numCol="1" anchor="t" anchorCtr="0" compatLnSpc="1">
                <a:prstTxWarp prst="textNoShape">
                  <a:avLst/>
                </a:prstTxWarp>
              </a:bodyPr>
              <a:lstStyle/>
              <a:p>
                <a:pPr defTabSz="839987">
                  <a:defRPr/>
                </a:pPr>
                <a:endParaRPr lang="en-US" sz="1620" kern="0" dirty="0">
                  <a:solidFill>
                    <a:srgbClr val="FFFFFF"/>
                  </a:solidFill>
                  <a:latin typeface="Segoe UI"/>
                </a:endParaRPr>
              </a:p>
            </p:txBody>
          </p:sp>
          <p:sp>
            <p:nvSpPr>
              <p:cNvPr id="406" name="Freeform 6"/>
              <p:cNvSpPr>
                <a:spLocks/>
              </p:cNvSpPr>
              <p:nvPr/>
            </p:nvSpPr>
            <p:spPr bwMode="auto">
              <a:xfrm>
                <a:off x="8002832" y="5412187"/>
                <a:ext cx="35248" cy="124138"/>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rgbClr val="FFFFFF"/>
              </a:solidFill>
              <a:ln>
                <a:noFill/>
              </a:ln>
            </p:spPr>
            <p:txBody>
              <a:bodyPr vert="horz" wrap="square" lIns="82355" tIns="41177" rIns="82355" bIns="41177" numCol="1" anchor="t" anchorCtr="0" compatLnSpc="1">
                <a:prstTxWarp prst="textNoShape">
                  <a:avLst/>
                </a:prstTxWarp>
              </a:bodyPr>
              <a:lstStyle/>
              <a:p>
                <a:pPr defTabSz="839987">
                  <a:defRPr/>
                </a:pPr>
                <a:endParaRPr lang="en-US" sz="1620" kern="0" dirty="0">
                  <a:solidFill>
                    <a:srgbClr val="FFFFFF"/>
                  </a:solidFill>
                  <a:latin typeface="Segoe UI"/>
                </a:endParaRPr>
              </a:p>
            </p:txBody>
          </p:sp>
          <p:sp>
            <p:nvSpPr>
              <p:cNvPr id="407" name="Freeform 7"/>
              <p:cNvSpPr>
                <a:spLocks/>
              </p:cNvSpPr>
              <p:nvPr/>
            </p:nvSpPr>
            <p:spPr bwMode="auto">
              <a:xfrm>
                <a:off x="8055706" y="5447436"/>
                <a:ext cx="36015" cy="88889"/>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rgbClr val="FFFFFF"/>
              </a:solidFill>
              <a:ln>
                <a:noFill/>
              </a:ln>
            </p:spPr>
            <p:txBody>
              <a:bodyPr vert="horz" wrap="square" lIns="82355" tIns="41177" rIns="82355" bIns="41177" numCol="1" anchor="t" anchorCtr="0" compatLnSpc="1">
                <a:prstTxWarp prst="textNoShape">
                  <a:avLst/>
                </a:prstTxWarp>
              </a:bodyPr>
              <a:lstStyle/>
              <a:p>
                <a:pPr defTabSz="839987">
                  <a:defRPr/>
                </a:pPr>
                <a:endParaRPr lang="en-US" sz="1620" kern="0" dirty="0">
                  <a:solidFill>
                    <a:srgbClr val="FFFFFF"/>
                  </a:solidFill>
                  <a:latin typeface="Segoe UI"/>
                </a:endParaRPr>
              </a:p>
            </p:txBody>
          </p:sp>
          <p:sp>
            <p:nvSpPr>
              <p:cNvPr id="408" name="Freeform 8"/>
              <p:cNvSpPr>
                <a:spLocks/>
              </p:cNvSpPr>
              <p:nvPr/>
            </p:nvSpPr>
            <p:spPr bwMode="auto">
              <a:xfrm>
                <a:off x="7943062" y="5478854"/>
                <a:ext cx="49808" cy="57471"/>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rgbClr val="FFFFFF"/>
              </a:solidFill>
              <a:ln>
                <a:noFill/>
              </a:ln>
            </p:spPr>
            <p:txBody>
              <a:bodyPr vert="horz" wrap="square" lIns="82355" tIns="41177" rIns="82355" bIns="41177" numCol="1" anchor="t" anchorCtr="0" compatLnSpc="1">
                <a:prstTxWarp prst="textNoShape">
                  <a:avLst/>
                </a:prstTxWarp>
              </a:bodyPr>
              <a:lstStyle/>
              <a:p>
                <a:pPr defTabSz="839987">
                  <a:defRPr/>
                </a:pPr>
                <a:endParaRPr lang="en-US" sz="1620" kern="0" dirty="0">
                  <a:solidFill>
                    <a:srgbClr val="FFFFFF"/>
                  </a:solidFill>
                  <a:latin typeface="Segoe UI"/>
                </a:endParaRPr>
              </a:p>
            </p:txBody>
          </p:sp>
          <p:sp>
            <p:nvSpPr>
              <p:cNvPr id="409" name="Freeform 9"/>
              <p:cNvSpPr>
                <a:spLocks/>
              </p:cNvSpPr>
              <p:nvPr/>
            </p:nvSpPr>
            <p:spPr bwMode="auto">
              <a:xfrm>
                <a:off x="8104749" y="5487282"/>
                <a:ext cx="42145" cy="49042"/>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rgbClr val="FFFFFF"/>
              </a:solidFill>
              <a:ln>
                <a:noFill/>
              </a:ln>
            </p:spPr>
            <p:txBody>
              <a:bodyPr vert="horz" wrap="square" lIns="82355" tIns="41177" rIns="82355" bIns="41177" numCol="1" anchor="t" anchorCtr="0" compatLnSpc="1">
                <a:prstTxWarp prst="textNoShape">
                  <a:avLst/>
                </a:prstTxWarp>
              </a:bodyPr>
              <a:lstStyle/>
              <a:p>
                <a:pPr defTabSz="839987">
                  <a:defRPr/>
                </a:pPr>
                <a:endParaRPr lang="en-US" sz="1620" kern="0" dirty="0">
                  <a:solidFill>
                    <a:srgbClr val="FFFFFF"/>
                  </a:solidFill>
                  <a:latin typeface="Segoe UI"/>
                </a:endParaRPr>
              </a:p>
            </p:txBody>
          </p:sp>
        </p:grpSp>
        <p:sp>
          <p:nvSpPr>
            <p:cNvPr id="404" name="Freeform 403"/>
            <p:cNvSpPr/>
            <p:nvPr/>
          </p:nvSpPr>
          <p:spPr bwMode="auto">
            <a:xfrm>
              <a:off x="7857300" y="3140323"/>
              <a:ext cx="373358" cy="253796"/>
            </a:xfrm>
            <a:custGeom>
              <a:avLst/>
              <a:gdLst>
                <a:gd name="connsiteX0" fmla="*/ 3322794 w 5223983"/>
                <a:gd name="connsiteY0" fmla="*/ 1406050 h 3551081"/>
                <a:gd name="connsiteX1" fmla="*/ 3699984 w 5223983"/>
                <a:gd name="connsiteY1" fmla="*/ 1783240 h 3551081"/>
                <a:gd name="connsiteX2" fmla="*/ 3322794 w 5223983"/>
                <a:gd name="connsiteY2" fmla="*/ 2160430 h 3551081"/>
                <a:gd name="connsiteX3" fmla="*/ 2945604 w 5223983"/>
                <a:gd name="connsiteY3" fmla="*/ 1783240 h 3551081"/>
                <a:gd name="connsiteX4" fmla="*/ 3322794 w 5223983"/>
                <a:gd name="connsiteY4" fmla="*/ 1406050 h 3551081"/>
                <a:gd name="connsiteX5" fmla="*/ 1901190 w 5223983"/>
                <a:gd name="connsiteY5" fmla="*/ 1406050 h 3551081"/>
                <a:gd name="connsiteX6" fmla="*/ 2278380 w 5223983"/>
                <a:gd name="connsiteY6" fmla="*/ 1783240 h 3551081"/>
                <a:gd name="connsiteX7" fmla="*/ 1901190 w 5223983"/>
                <a:gd name="connsiteY7" fmla="*/ 2160430 h 3551081"/>
                <a:gd name="connsiteX8" fmla="*/ 1524000 w 5223983"/>
                <a:gd name="connsiteY8" fmla="*/ 1783240 h 3551081"/>
                <a:gd name="connsiteX9" fmla="*/ 1901190 w 5223983"/>
                <a:gd name="connsiteY9" fmla="*/ 1406050 h 3551081"/>
                <a:gd name="connsiteX10" fmla="*/ 3444555 w 5223983"/>
                <a:gd name="connsiteY10" fmla="*/ 1 h 3551081"/>
                <a:gd name="connsiteX11" fmla="*/ 5223983 w 5223983"/>
                <a:gd name="connsiteY11" fmla="*/ 1779430 h 3551081"/>
                <a:gd name="connsiteX12" fmla="*/ 3452333 w 5223983"/>
                <a:gd name="connsiteY12" fmla="*/ 3551081 h 3551081"/>
                <a:gd name="connsiteX13" fmla="*/ 3296124 w 5223983"/>
                <a:gd name="connsiteY13" fmla="*/ 3394871 h 3551081"/>
                <a:gd name="connsiteX14" fmla="*/ 4919183 w 5223983"/>
                <a:gd name="connsiteY14" fmla="*/ 1771811 h 3551081"/>
                <a:gd name="connsiteX15" fmla="*/ 3295964 w 5223983"/>
                <a:gd name="connsiteY15" fmla="*/ 148592 h 3551081"/>
                <a:gd name="connsiteX16" fmla="*/ 1779429 w 5223983"/>
                <a:gd name="connsiteY16" fmla="*/ 0 h 3551081"/>
                <a:gd name="connsiteX17" fmla="*/ 1928020 w 5223983"/>
                <a:gd name="connsiteY17" fmla="*/ 148590 h 3551081"/>
                <a:gd name="connsiteX18" fmla="*/ 304801 w 5223983"/>
                <a:gd name="connsiteY18" fmla="*/ 1771809 h 3551081"/>
                <a:gd name="connsiteX19" fmla="*/ 1927860 w 5223983"/>
                <a:gd name="connsiteY19" fmla="*/ 3394869 h 3551081"/>
                <a:gd name="connsiteX20" fmla="*/ 1771651 w 5223983"/>
                <a:gd name="connsiteY20" fmla="*/ 3551079 h 3551081"/>
                <a:gd name="connsiteX21" fmla="*/ 0 w 5223983"/>
                <a:gd name="connsiteY21" fmla="*/ 1779428 h 355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23983" h="3551081">
                  <a:moveTo>
                    <a:pt x="3322794" y="1406050"/>
                  </a:moveTo>
                  <a:cubicBezTo>
                    <a:pt x="3531110" y="1406050"/>
                    <a:pt x="3699984" y="1574924"/>
                    <a:pt x="3699984" y="1783240"/>
                  </a:cubicBezTo>
                  <a:cubicBezTo>
                    <a:pt x="3699984" y="1991556"/>
                    <a:pt x="3531110" y="2160430"/>
                    <a:pt x="3322794" y="2160430"/>
                  </a:cubicBezTo>
                  <a:cubicBezTo>
                    <a:pt x="3114478" y="2160430"/>
                    <a:pt x="2945604" y="1991556"/>
                    <a:pt x="2945604" y="1783240"/>
                  </a:cubicBezTo>
                  <a:cubicBezTo>
                    <a:pt x="2945604" y="1574924"/>
                    <a:pt x="3114478" y="1406050"/>
                    <a:pt x="3322794" y="1406050"/>
                  </a:cubicBezTo>
                  <a:close/>
                  <a:moveTo>
                    <a:pt x="1901190" y="1406050"/>
                  </a:moveTo>
                  <a:cubicBezTo>
                    <a:pt x="2109506" y="1406050"/>
                    <a:pt x="2278380" y="1574924"/>
                    <a:pt x="2278380" y="1783240"/>
                  </a:cubicBezTo>
                  <a:cubicBezTo>
                    <a:pt x="2278380" y="1991556"/>
                    <a:pt x="2109506" y="2160430"/>
                    <a:pt x="1901190" y="2160430"/>
                  </a:cubicBezTo>
                  <a:cubicBezTo>
                    <a:pt x="1692874" y="2160430"/>
                    <a:pt x="1524000" y="1991556"/>
                    <a:pt x="1524000" y="1783240"/>
                  </a:cubicBezTo>
                  <a:cubicBezTo>
                    <a:pt x="1524000" y="1574924"/>
                    <a:pt x="1692874" y="1406050"/>
                    <a:pt x="1901190" y="1406050"/>
                  </a:cubicBezTo>
                  <a:close/>
                  <a:moveTo>
                    <a:pt x="3444555" y="1"/>
                  </a:moveTo>
                  <a:lnTo>
                    <a:pt x="5223983" y="1779430"/>
                  </a:lnTo>
                  <a:lnTo>
                    <a:pt x="3452333" y="3551081"/>
                  </a:lnTo>
                  <a:lnTo>
                    <a:pt x="3296124" y="3394871"/>
                  </a:lnTo>
                  <a:lnTo>
                    <a:pt x="4919183" y="1771811"/>
                  </a:lnTo>
                  <a:lnTo>
                    <a:pt x="3295964" y="148592"/>
                  </a:lnTo>
                  <a:close/>
                  <a:moveTo>
                    <a:pt x="1779429" y="0"/>
                  </a:moveTo>
                  <a:lnTo>
                    <a:pt x="1928020" y="148590"/>
                  </a:lnTo>
                  <a:lnTo>
                    <a:pt x="304801" y="1771809"/>
                  </a:lnTo>
                  <a:lnTo>
                    <a:pt x="1927860" y="3394869"/>
                  </a:lnTo>
                  <a:lnTo>
                    <a:pt x="1771651" y="3551079"/>
                  </a:lnTo>
                  <a:lnTo>
                    <a:pt x="0" y="1779428"/>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4006" tIns="42003" rIns="84006" bIns="42003" numCol="1" spcCol="0" rtlCol="0" fromWordArt="0" anchor="ctr" anchorCtr="0" forceAA="0" compatLnSpc="1">
              <a:prstTxWarp prst="textNoShape">
                <a:avLst/>
              </a:prstTxWarp>
              <a:noAutofit/>
            </a:bodyPr>
            <a:lstStyle/>
            <a:p>
              <a:pPr algn="ctr" defTabSz="856588" fontAlgn="base">
                <a:spcBef>
                  <a:spcPct val="0"/>
                </a:spcBef>
                <a:spcAft>
                  <a:spcPct val="0"/>
                </a:spcAft>
                <a:defRPr/>
              </a:pPr>
              <a:endParaRPr lang="en-US" sz="2205" kern="0" dirty="0">
                <a:solidFill>
                  <a:srgbClr val="FFFFFF"/>
                </a:solidFill>
                <a:latin typeface="Segoe UI"/>
                <a:ea typeface="Segoe UI" pitchFamily="34" charset="0"/>
                <a:cs typeface="Segoe UI" pitchFamily="34" charset="0"/>
              </a:endParaRPr>
            </a:p>
          </p:txBody>
        </p:sp>
      </p:grpSp>
      <p:grpSp>
        <p:nvGrpSpPr>
          <p:cNvPr id="416" name="Group 415"/>
          <p:cNvGrpSpPr/>
          <p:nvPr/>
        </p:nvGrpSpPr>
        <p:grpSpPr>
          <a:xfrm>
            <a:off x="2333519" y="1709810"/>
            <a:ext cx="2184157" cy="4181221"/>
            <a:chOff x="2019368" y="1657048"/>
            <a:chExt cx="2377440" cy="4551232"/>
          </a:xfrm>
        </p:grpSpPr>
        <p:sp>
          <p:nvSpPr>
            <p:cNvPr id="417" name="Rectangle 416"/>
            <p:cNvSpPr/>
            <p:nvPr/>
          </p:nvSpPr>
          <p:spPr bwMode="auto">
            <a:xfrm>
              <a:off x="2186019" y="1657048"/>
              <a:ext cx="1737360" cy="4187396"/>
            </a:xfrm>
            <a:prstGeom prst="rect">
              <a:avLst/>
            </a:prstGeom>
            <a:solidFill>
              <a:schemeClr val="accent4">
                <a:lumMod val="75000"/>
              </a:schemeClr>
            </a:solidFill>
            <a:ln w="3175">
              <a:noFill/>
            </a:ln>
            <a:effectLst/>
          </p:spPr>
          <p:txBody>
            <a:bodyPr spcFirstLastPara="0" vert="horz" wrap="square" lIns="16795" tIns="84006" rIns="16795" bIns="83970" numCol="1" spcCol="1270" anchor="t" anchorCtr="0">
              <a:noAutofit/>
            </a:bodyPr>
            <a:lstStyle/>
            <a:p>
              <a:pPr algn="ctr" defTabSz="666011">
                <a:spcBef>
                  <a:spcPct val="0"/>
                </a:spcBef>
                <a:spcAft>
                  <a:spcPct val="35000"/>
                </a:spcAft>
                <a:defRPr/>
              </a:pPr>
              <a:r>
                <a:rPr lang="en-US" sz="1286" kern="0" dirty="0">
                  <a:solidFill>
                    <a:srgbClr val="FFFFFF"/>
                  </a:solidFill>
                  <a:latin typeface="Segoe UI Semibold" panose="020B0702040204020203" pitchFamily="34" charset="0"/>
                  <a:cs typeface="Segoe UI Semibold" panose="020B0702040204020203" pitchFamily="34" charset="0"/>
                </a:rPr>
                <a:t>Information Management</a:t>
              </a:r>
            </a:p>
          </p:txBody>
        </p:sp>
        <p:sp>
          <p:nvSpPr>
            <p:cNvPr id="418" name="Rectangle 417"/>
            <p:cNvSpPr/>
            <p:nvPr/>
          </p:nvSpPr>
          <p:spPr>
            <a:xfrm>
              <a:off x="2652706" y="3724639"/>
              <a:ext cx="1271015" cy="267805"/>
            </a:xfrm>
            <a:prstGeom prst="rect">
              <a:avLst/>
            </a:prstGeom>
          </p:spPr>
          <p:txBody>
            <a:bodyPr wrap="square">
              <a:spAutoFit/>
            </a:bodyPr>
            <a:lstStyle/>
            <a:p>
              <a:pPr defTabSz="839987">
                <a:defRPr/>
              </a:pPr>
              <a:r>
                <a:rPr lang="en-US" sz="1011" kern="0" dirty="0">
                  <a:solidFill>
                    <a:srgbClr val="FFFFFF"/>
                  </a:solidFill>
                  <a:latin typeface="Segoe UI"/>
                  <a:cs typeface="Segoe UI Semilight" panose="020B0402040204020203" pitchFamily="34" charset="0"/>
                </a:rPr>
                <a:t>Event Hubs</a:t>
              </a:r>
              <a:endParaRPr lang="en-US" sz="1011" kern="0" dirty="0">
                <a:solidFill>
                  <a:srgbClr val="FFFFFF"/>
                </a:solidFill>
                <a:latin typeface="Segoe UI"/>
              </a:endParaRPr>
            </a:p>
          </p:txBody>
        </p:sp>
        <p:cxnSp>
          <p:nvCxnSpPr>
            <p:cNvPr id="419" name="Straight Connector 418"/>
            <p:cNvCxnSpPr/>
            <p:nvPr/>
          </p:nvCxnSpPr>
          <p:spPr>
            <a:xfrm>
              <a:off x="2019368" y="6118143"/>
              <a:ext cx="2377440" cy="0"/>
            </a:xfrm>
            <a:prstGeom prst="line">
              <a:avLst/>
            </a:prstGeom>
            <a:solidFill>
              <a:srgbClr val="FFFFFF">
                <a:lumMod val="85000"/>
              </a:srgbClr>
            </a:solidFill>
            <a:ln w="28575" cap="flat" cmpd="sng" algn="ctr">
              <a:solidFill>
                <a:srgbClr val="002050"/>
              </a:solidFill>
              <a:prstDash val="solid"/>
              <a:headEnd type="none"/>
              <a:tailEnd type="none"/>
            </a:ln>
            <a:effectLst/>
          </p:spPr>
        </p:cxnSp>
        <p:grpSp>
          <p:nvGrpSpPr>
            <p:cNvPr id="420" name="Group 419"/>
            <p:cNvGrpSpPr/>
            <p:nvPr/>
          </p:nvGrpSpPr>
          <p:grpSpPr>
            <a:xfrm rot="13500000">
              <a:off x="4205167" y="6028138"/>
              <a:ext cx="181498" cy="178786"/>
              <a:chOff x="402446" y="5872915"/>
              <a:chExt cx="292608" cy="288235"/>
            </a:xfrm>
            <a:solidFill>
              <a:srgbClr val="FFFFFF">
                <a:lumMod val="85000"/>
              </a:srgbClr>
            </a:solidFill>
          </p:grpSpPr>
          <p:cxnSp>
            <p:nvCxnSpPr>
              <p:cNvPr id="429" name="Straight Connector 428"/>
              <p:cNvCxnSpPr/>
              <p:nvPr/>
            </p:nvCxnSpPr>
            <p:spPr>
              <a:xfrm>
                <a:off x="412598" y="5872915"/>
                <a:ext cx="0" cy="288235"/>
              </a:xfrm>
              <a:prstGeom prst="line">
                <a:avLst/>
              </a:prstGeom>
              <a:grpFill/>
              <a:ln w="28575" cap="flat" cmpd="sng" algn="ctr">
                <a:solidFill>
                  <a:srgbClr val="002050"/>
                </a:solidFill>
                <a:prstDash val="solid"/>
                <a:headEnd type="none"/>
                <a:tailEnd type="none"/>
              </a:ln>
              <a:effectLst/>
            </p:spPr>
          </p:cxnSp>
          <p:cxnSp>
            <p:nvCxnSpPr>
              <p:cNvPr id="430" name="Straight Connector 429"/>
              <p:cNvCxnSpPr/>
              <p:nvPr/>
            </p:nvCxnSpPr>
            <p:spPr>
              <a:xfrm>
                <a:off x="402446" y="6148978"/>
                <a:ext cx="292608" cy="0"/>
              </a:xfrm>
              <a:prstGeom prst="line">
                <a:avLst/>
              </a:prstGeom>
              <a:grpFill/>
              <a:ln w="28575" cap="flat" cmpd="sng" algn="ctr">
                <a:solidFill>
                  <a:srgbClr val="002050"/>
                </a:solidFill>
                <a:prstDash val="solid"/>
                <a:headEnd type="none"/>
                <a:tailEnd type="none"/>
              </a:ln>
              <a:effectLst/>
            </p:spPr>
          </p:cxnSp>
        </p:grpSp>
        <p:sp>
          <p:nvSpPr>
            <p:cNvPr id="421" name="Rectangle 420"/>
            <p:cNvSpPr/>
            <p:nvPr/>
          </p:nvSpPr>
          <p:spPr>
            <a:xfrm>
              <a:off x="2652706" y="3161800"/>
              <a:ext cx="1271015" cy="267805"/>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Data Catalog</a:t>
              </a:r>
            </a:p>
          </p:txBody>
        </p:sp>
        <p:grpSp>
          <p:nvGrpSpPr>
            <p:cNvPr id="422" name="Group 421"/>
            <p:cNvGrpSpPr/>
            <p:nvPr/>
          </p:nvGrpSpPr>
          <p:grpSpPr>
            <a:xfrm>
              <a:off x="2337798" y="3119355"/>
              <a:ext cx="274997" cy="292527"/>
              <a:chOff x="3232150" y="382588"/>
              <a:chExt cx="5727700" cy="6092825"/>
            </a:xfrm>
            <a:solidFill>
              <a:srgbClr val="FFFFFF"/>
            </a:solidFill>
          </p:grpSpPr>
          <p:sp>
            <p:nvSpPr>
              <p:cNvPr id="426" name="Freeform 10"/>
              <p:cNvSpPr>
                <a:spLocks/>
              </p:cNvSpPr>
              <p:nvPr/>
            </p:nvSpPr>
            <p:spPr bwMode="auto">
              <a:xfrm>
                <a:off x="3232150" y="382588"/>
                <a:ext cx="4492625" cy="4781550"/>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427" name="Freeform 11"/>
              <p:cNvSpPr>
                <a:spLocks/>
              </p:cNvSpPr>
              <p:nvPr/>
            </p:nvSpPr>
            <p:spPr bwMode="auto">
              <a:xfrm>
                <a:off x="6134100" y="3106738"/>
                <a:ext cx="2825750" cy="3368675"/>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428" name="Freeform 12"/>
              <p:cNvSpPr>
                <a:spLocks/>
              </p:cNvSpPr>
              <p:nvPr/>
            </p:nvSpPr>
            <p:spPr bwMode="auto">
              <a:xfrm>
                <a:off x="6299200" y="2779713"/>
                <a:ext cx="2422525" cy="654050"/>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grpSp>
        <p:sp>
          <p:nvSpPr>
            <p:cNvPr id="423" name="Rectangle 422"/>
            <p:cNvSpPr/>
            <p:nvPr/>
          </p:nvSpPr>
          <p:spPr>
            <a:xfrm>
              <a:off x="2652706" y="2528227"/>
              <a:ext cx="1271015" cy="267805"/>
            </a:xfrm>
            <a:prstGeom prst="rect">
              <a:avLst/>
            </a:prstGeom>
          </p:spPr>
          <p:txBody>
            <a:bodyPr wrap="square">
              <a:spAutoFit/>
            </a:bodyPr>
            <a:lstStyle/>
            <a:p>
              <a:pPr defTabSz="839987">
                <a:defRPr/>
              </a:pPr>
              <a:r>
                <a:rPr lang="en-US" sz="1011" kern="0" dirty="0">
                  <a:solidFill>
                    <a:srgbClr val="FFFFFF"/>
                  </a:solidFill>
                  <a:latin typeface="Segoe UI"/>
                  <a:cs typeface="Segoe UI Semilight" panose="020B0402040204020203" pitchFamily="34" charset="0"/>
                </a:rPr>
                <a:t>Data Factory </a:t>
              </a:r>
              <a:endParaRPr lang="en-US" sz="1011" kern="0" dirty="0">
                <a:solidFill>
                  <a:srgbClr val="FFFFFF"/>
                </a:solidFill>
                <a:latin typeface="Segoe UI"/>
              </a:endParaRPr>
            </a:p>
          </p:txBody>
        </p:sp>
        <p:sp>
          <p:nvSpPr>
            <p:cNvPr id="424" name="Freeform 423"/>
            <p:cNvSpPr/>
            <p:nvPr/>
          </p:nvSpPr>
          <p:spPr bwMode="auto">
            <a:xfrm>
              <a:off x="2333792" y="2466963"/>
              <a:ext cx="286460" cy="301030"/>
            </a:xfrm>
            <a:custGeom>
              <a:avLst/>
              <a:gdLst>
                <a:gd name="connsiteX0" fmla="*/ 1931382 w 2687091"/>
                <a:gd name="connsiteY0" fmla="*/ 1799512 h 2823758"/>
                <a:gd name="connsiteX1" fmla="*/ 1931382 w 2687091"/>
                <a:gd name="connsiteY1" fmla="*/ 2128383 h 2823758"/>
                <a:gd name="connsiteX2" fmla="*/ 2260253 w 2687091"/>
                <a:gd name="connsiteY2" fmla="*/ 2128383 h 2823758"/>
                <a:gd name="connsiteX3" fmla="*/ 2260253 w 2687091"/>
                <a:gd name="connsiteY3" fmla="*/ 1799512 h 2823758"/>
                <a:gd name="connsiteX4" fmla="*/ 1372033 w 2687091"/>
                <a:gd name="connsiteY4" fmla="*/ 1799512 h 2823758"/>
                <a:gd name="connsiteX5" fmla="*/ 1372033 w 2687091"/>
                <a:gd name="connsiteY5" fmla="*/ 2128383 h 2823758"/>
                <a:gd name="connsiteX6" fmla="*/ 1700904 w 2687091"/>
                <a:gd name="connsiteY6" fmla="*/ 2128383 h 2823758"/>
                <a:gd name="connsiteX7" fmla="*/ 1700904 w 2687091"/>
                <a:gd name="connsiteY7" fmla="*/ 1799512 h 2823758"/>
                <a:gd name="connsiteX8" fmla="*/ 812685 w 2687091"/>
                <a:gd name="connsiteY8" fmla="*/ 1799512 h 2823758"/>
                <a:gd name="connsiteX9" fmla="*/ 812685 w 2687091"/>
                <a:gd name="connsiteY9" fmla="*/ 2128383 h 2823758"/>
                <a:gd name="connsiteX10" fmla="*/ 1141555 w 2687091"/>
                <a:gd name="connsiteY10" fmla="*/ 2128383 h 2823758"/>
                <a:gd name="connsiteX11" fmla="*/ 1141555 w 2687091"/>
                <a:gd name="connsiteY11" fmla="*/ 1799512 h 2823758"/>
                <a:gd name="connsiteX12" fmla="*/ 486277 w 2687091"/>
                <a:gd name="connsiteY12" fmla="*/ 93827 h 2823758"/>
                <a:gd name="connsiteX13" fmla="*/ 103872 w 2687091"/>
                <a:gd name="connsiteY13" fmla="*/ 162103 h 2823758"/>
                <a:gd name="connsiteX14" fmla="*/ 486277 w 2687091"/>
                <a:gd name="connsiteY14" fmla="*/ 230379 h 2823758"/>
                <a:gd name="connsiteX15" fmla="*/ 868682 w 2687091"/>
                <a:gd name="connsiteY15" fmla="*/ 162103 h 2823758"/>
                <a:gd name="connsiteX16" fmla="*/ 486277 w 2687091"/>
                <a:gd name="connsiteY16" fmla="*/ 93827 h 2823758"/>
                <a:gd name="connsiteX17" fmla="*/ 486276 w 2687091"/>
                <a:gd name="connsiteY17" fmla="*/ 0 h 2823758"/>
                <a:gd name="connsiteX18" fmla="*/ 486277 w 2687091"/>
                <a:gd name="connsiteY18" fmla="*/ 0 h 2823758"/>
                <a:gd name="connsiteX19" fmla="*/ 972553 w 2687091"/>
                <a:gd name="connsiteY19" fmla="*/ 100893 h 2823758"/>
                <a:gd name="connsiteX20" fmla="*/ 972552 w 2687091"/>
                <a:gd name="connsiteY20" fmla="*/ 706248 h 2823758"/>
                <a:gd name="connsiteX21" fmla="*/ 972552 w 2687091"/>
                <a:gd name="connsiteY21" fmla="*/ 1342945 h 2823758"/>
                <a:gd name="connsiteX22" fmla="*/ 1792243 w 2687091"/>
                <a:gd name="connsiteY22" fmla="*/ 722637 h 2823758"/>
                <a:gd name="connsiteX23" fmla="*/ 1792243 w 2687091"/>
                <a:gd name="connsiteY23" fmla="*/ 1365018 h 2823758"/>
                <a:gd name="connsiteX24" fmla="*/ 2687091 w 2687091"/>
                <a:gd name="connsiteY24" fmla="*/ 723934 h 2823758"/>
                <a:gd name="connsiteX25" fmla="*/ 2687091 w 2687091"/>
                <a:gd name="connsiteY25" fmla="*/ 1573518 h 2823758"/>
                <a:gd name="connsiteX26" fmla="*/ 2687091 w 2687091"/>
                <a:gd name="connsiteY26" fmla="*/ 1833418 h 2823758"/>
                <a:gd name="connsiteX27" fmla="*/ 2687091 w 2687091"/>
                <a:gd name="connsiteY27" fmla="*/ 2090363 h 2823758"/>
                <a:gd name="connsiteX28" fmla="*/ 2687091 w 2687091"/>
                <a:gd name="connsiteY28" fmla="*/ 2468997 h 2823758"/>
                <a:gd name="connsiteX29" fmla="*/ 2687091 w 2687091"/>
                <a:gd name="connsiteY29" fmla="*/ 2823758 h 2823758"/>
                <a:gd name="connsiteX30" fmla="*/ 186290 w 2687091"/>
                <a:gd name="connsiteY30" fmla="*/ 2823758 h 2823758"/>
                <a:gd name="connsiteX31" fmla="*/ 186290 w 2687091"/>
                <a:gd name="connsiteY31" fmla="*/ 2823753 h 2823758"/>
                <a:gd name="connsiteX32" fmla="*/ 1 w 2687091"/>
                <a:gd name="connsiteY32" fmla="*/ 2823753 h 2823758"/>
                <a:gd name="connsiteX33" fmla="*/ 1 w 2687091"/>
                <a:gd name="connsiteY33" fmla="*/ 706250 h 2823758"/>
                <a:gd name="connsiteX34" fmla="*/ 0 w 2687091"/>
                <a:gd name="connsiteY34" fmla="*/ 706248 h 2823758"/>
                <a:gd name="connsiteX35" fmla="*/ 1 w 2687091"/>
                <a:gd name="connsiteY35" fmla="*/ 100895 h 2823758"/>
                <a:gd name="connsiteX36" fmla="*/ 0 w 2687091"/>
                <a:gd name="connsiteY36" fmla="*/ 100893 h 2823758"/>
                <a:gd name="connsiteX37" fmla="*/ 486276 w 2687091"/>
                <a:gd name="connsiteY37" fmla="*/ 0 h 2823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87091" h="2823758">
                  <a:moveTo>
                    <a:pt x="1931382" y="1799512"/>
                  </a:moveTo>
                  <a:lnTo>
                    <a:pt x="1931382" y="2128383"/>
                  </a:lnTo>
                  <a:lnTo>
                    <a:pt x="2260253" y="2128383"/>
                  </a:lnTo>
                  <a:lnTo>
                    <a:pt x="2260253" y="1799512"/>
                  </a:lnTo>
                  <a:close/>
                  <a:moveTo>
                    <a:pt x="1372033" y="1799512"/>
                  </a:moveTo>
                  <a:lnTo>
                    <a:pt x="1372033" y="2128383"/>
                  </a:lnTo>
                  <a:lnTo>
                    <a:pt x="1700904" y="2128383"/>
                  </a:lnTo>
                  <a:lnTo>
                    <a:pt x="1700904" y="1799512"/>
                  </a:lnTo>
                  <a:close/>
                  <a:moveTo>
                    <a:pt x="812685" y="1799512"/>
                  </a:moveTo>
                  <a:lnTo>
                    <a:pt x="812685" y="2128383"/>
                  </a:lnTo>
                  <a:lnTo>
                    <a:pt x="1141555" y="2128383"/>
                  </a:lnTo>
                  <a:lnTo>
                    <a:pt x="1141555" y="1799512"/>
                  </a:lnTo>
                  <a:close/>
                  <a:moveTo>
                    <a:pt x="486277" y="93827"/>
                  </a:moveTo>
                  <a:cubicBezTo>
                    <a:pt x="275081" y="93827"/>
                    <a:pt x="103872" y="124395"/>
                    <a:pt x="103872" y="162103"/>
                  </a:cubicBezTo>
                  <a:cubicBezTo>
                    <a:pt x="103872" y="199811"/>
                    <a:pt x="275081" y="230379"/>
                    <a:pt x="486277" y="230379"/>
                  </a:cubicBezTo>
                  <a:cubicBezTo>
                    <a:pt x="697473" y="230379"/>
                    <a:pt x="868682" y="199811"/>
                    <a:pt x="868682" y="162103"/>
                  </a:cubicBezTo>
                  <a:cubicBezTo>
                    <a:pt x="868682" y="124395"/>
                    <a:pt x="697473" y="93827"/>
                    <a:pt x="486277" y="93827"/>
                  </a:cubicBezTo>
                  <a:close/>
                  <a:moveTo>
                    <a:pt x="486276" y="0"/>
                  </a:moveTo>
                  <a:lnTo>
                    <a:pt x="486277" y="0"/>
                  </a:lnTo>
                  <a:cubicBezTo>
                    <a:pt x="754840" y="0"/>
                    <a:pt x="972553" y="45171"/>
                    <a:pt x="972553" y="100893"/>
                  </a:cubicBezTo>
                  <a:cubicBezTo>
                    <a:pt x="972553" y="302678"/>
                    <a:pt x="972552" y="504463"/>
                    <a:pt x="972552" y="706248"/>
                  </a:cubicBezTo>
                  <a:lnTo>
                    <a:pt x="972552" y="1342945"/>
                  </a:lnTo>
                  <a:lnTo>
                    <a:pt x="1792243" y="722637"/>
                  </a:lnTo>
                  <a:lnTo>
                    <a:pt x="1792243" y="1365018"/>
                  </a:lnTo>
                  <a:lnTo>
                    <a:pt x="2687091" y="723934"/>
                  </a:lnTo>
                  <a:lnTo>
                    <a:pt x="2687091" y="1573518"/>
                  </a:lnTo>
                  <a:lnTo>
                    <a:pt x="2687091" y="1833418"/>
                  </a:lnTo>
                  <a:lnTo>
                    <a:pt x="2687091" y="2090363"/>
                  </a:lnTo>
                  <a:lnTo>
                    <a:pt x="2687091" y="2468997"/>
                  </a:lnTo>
                  <a:lnTo>
                    <a:pt x="2687091" y="2823758"/>
                  </a:lnTo>
                  <a:lnTo>
                    <a:pt x="186290" y="2823758"/>
                  </a:lnTo>
                  <a:lnTo>
                    <a:pt x="186290" y="2823753"/>
                  </a:lnTo>
                  <a:lnTo>
                    <a:pt x="1" y="2823753"/>
                  </a:lnTo>
                  <a:lnTo>
                    <a:pt x="1" y="706250"/>
                  </a:lnTo>
                  <a:lnTo>
                    <a:pt x="0" y="706248"/>
                  </a:lnTo>
                  <a:lnTo>
                    <a:pt x="1" y="100895"/>
                  </a:lnTo>
                  <a:lnTo>
                    <a:pt x="0" y="100893"/>
                  </a:lnTo>
                  <a:cubicBezTo>
                    <a:pt x="0" y="45171"/>
                    <a:pt x="217713" y="0"/>
                    <a:pt x="48627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4006" tIns="42003" rIns="84006" bIns="42003" numCol="1" spcCol="0" rtlCol="0" fromWordArt="0" anchor="ctr" anchorCtr="0" forceAA="0" compatLnSpc="1">
              <a:prstTxWarp prst="textNoShape">
                <a:avLst/>
              </a:prstTxWarp>
              <a:noAutofit/>
            </a:bodyPr>
            <a:lstStyle/>
            <a:p>
              <a:pPr algn="ctr" defTabSz="856588" fontAlgn="base">
                <a:spcBef>
                  <a:spcPct val="0"/>
                </a:spcBef>
                <a:spcAft>
                  <a:spcPct val="0"/>
                </a:spcAft>
                <a:defRPr/>
              </a:pPr>
              <a:endParaRPr lang="en-US" sz="2205" kern="0" dirty="0">
                <a:solidFill>
                  <a:srgbClr val="FFFFFF"/>
                </a:solidFill>
                <a:latin typeface="Segoe UI"/>
                <a:ea typeface="Segoe UI" pitchFamily="34" charset="0"/>
                <a:cs typeface="Segoe UI" pitchFamily="34" charset="0"/>
              </a:endParaRPr>
            </a:p>
          </p:txBody>
        </p:sp>
        <p:sp>
          <p:nvSpPr>
            <p:cNvPr id="425" name="Freeform 424"/>
            <p:cNvSpPr/>
            <p:nvPr/>
          </p:nvSpPr>
          <p:spPr bwMode="auto">
            <a:xfrm>
              <a:off x="2354114" y="3729564"/>
              <a:ext cx="231574" cy="242335"/>
            </a:xfrm>
            <a:custGeom>
              <a:avLst/>
              <a:gdLst>
                <a:gd name="connsiteX0" fmla="*/ 84139 w 3657601"/>
                <a:gd name="connsiteY0" fmla="*/ 2916238 h 3827556"/>
                <a:gd name="connsiteX1" fmla="*/ 420687 w 3657601"/>
                <a:gd name="connsiteY1" fmla="*/ 2916238 h 3827556"/>
                <a:gd name="connsiteX2" fmla="*/ 504826 w 3657601"/>
                <a:gd name="connsiteY2" fmla="*/ 3000377 h 3827556"/>
                <a:gd name="connsiteX3" fmla="*/ 504826 w 3657601"/>
                <a:gd name="connsiteY3" fmla="*/ 3306764 h 3827556"/>
                <a:gd name="connsiteX4" fmla="*/ 3152775 w 3657601"/>
                <a:gd name="connsiteY4" fmla="*/ 3306764 h 3827556"/>
                <a:gd name="connsiteX5" fmla="*/ 3152775 w 3657601"/>
                <a:gd name="connsiteY5" fmla="*/ 3000377 h 3827556"/>
                <a:gd name="connsiteX6" fmla="*/ 3236914 w 3657601"/>
                <a:gd name="connsiteY6" fmla="*/ 2916238 h 3827556"/>
                <a:gd name="connsiteX7" fmla="*/ 3573462 w 3657601"/>
                <a:gd name="connsiteY7" fmla="*/ 2916238 h 3827556"/>
                <a:gd name="connsiteX8" fmla="*/ 3657601 w 3657601"/>
                <a:gd name="connsiteY8" fmla="*/ 3000377 h 3827556"/>
                <a:gd name="connsiteX9" fmla="*/ 3657601 w 3657601"/>
                <a:gd name="connsiteY9" fmla="*/ 3827556 h 3827556"/>
                <a:gd name="connsiteX10" fmla="*/ 3657600 w 3657601"/>
                <a:gd name="connsiteY10" fmla="*/ 3827556 h 3827556"/>
                <a:gd name="connsiteX11" fmla="*/ 3152775 w 3657601"/>
                <a:gd name="connsiteY11" fmla="*/ 3827556 h 3827556"/>
                <a:gd name="connsiteX12" fmla="*/ 504826 w 3657601"/>
                <a:gd name="connsiteY12" fmla="*/ 3827556 h 3827556"/>
                <a:gd name="connsiteX13" fmla="*/ 0 w 3657601"/>
                <a:gd name="connsiteY13" fmla="*/ 3827556 h 3827556"/>
                <a:gd name="connsiteX14" fmla="*/ 0 w 3657601"/>
                <a:gd name="connsiteY14" fmla="*/ 3306764 h 3827556"/>
                <a:gd name="connsiteX15" fmla="*/ 0 w 3657601"/>
                <a:gd name="connsiteY15" fmla="*/ 3000377 h 3827556"/>
                <a:gd name="connsiteX16" fmla="*/ 84139 w 3657601"/>
                <a:gd name="connsiteY16" fmla="*/ 2916238 h 3827556"/>
                <a:gd name="connsiteX17" fmla="*/ 805598 w 3657601"/>
                <a:gd name="connsiteY17" fmla="*/ 2427382 h 3827556"/>
                <a:gd name="connsiteX18" fmla="*/ 1347052 w 3657601"/>
                <a:gd name="connsiteY18" fmla="*/ 2427382 h 3827556"/>
                <a:gd name="connsiteX19" fmla="*/ 1390650 w 3657601"/>
                <a:gd name="connsiteY19" fmla="*/ 2470980 h 3827556"/>
                <a:gd name="connsiteX20" fmla="*/ 1390650 w 3657601"/>
                <a:gd name="connsiteY20" fmla="*/ 2869558 h 3827556"/>
                <a:gd name="connsiteX21" fmla="*/ 1347052 w 3657601"/>
                <a:gd name="connsiteY21" fmla="*/ 2913156 h 3827556"/>
                <a:gd name="connsiteX22" fmla="*/ 805598 w 3657601"/>
                <a:gd name="connsiteY22" fmla="*/ 2913156 h 3827556"/>
                <a:gd name="connsiteX23" fmla="*/ 762000 w 3657601"/>
                <a:gd name="connsiteY23" fmla="*/ 2869558 h 3827556"/>
                <a:gd name="connsiteX24" fmla="*/ 762000 w 3657601"/>
                <a:gd name="connsiteY24" fmla="*/ 2470980 h 3827556"/>
                <a:gd name="connsiteX25" fmla="*/ 805598 w 3657601"/>
                <a:gd name="connsiteY25" fmla="*/ 2427382 h 3827556"/>
                <a:gd name="connsiteX26" fmla="*/ 1681898 w 3657601"/>
                <a:gd name="connsiteY26" fmla="*/ 2047199 h 3827556"/>
                <a:gd name="connsiteX27" fmla="*/ 2223352 w 3657601"/>
                <a:gd name="connsiteY27" fmla="*/ 2047199 h 3827556"/>
                <a:gd name="connsiteX28" fmla="*/ 2266950 w 3657601"/>
                <a:gd name="connsiteY28" fmla="*/ 2090797 h 3827556"/>
                <a:gd name="connsiteX29" fmla="*/ 2266950 w 3657601"/>
                <a:gd name="connsiteY29" fmla="*/ 2489375 h 3827556"/>
                <a:gd name="connsiteX30" fmla="*/ 2223352 w 3657601"/>
                <a:gd name="connsiteY30" fmla="*/ 2532973 h 3827556"/>
                <a:gd name="connsiteX31" fmla="*/ 1681898 w 3657601"/>
                <a:gd name="connsiteY31" fmla="*/ 2532973 h 3827556"/>
                <a:gd name="connsiteX32" fmla="*/ 1638300 w 3657601"/>
                <a:gd name="connsiteY32" fmla="*/ 2489375 h 3827556"/>
                <a:gd name="connsiteX33" fmla="*/ 1638300 w 3657601"/>
                <a:gd name="connsiteY33" fmla="*/ 2090797 h 3827556"/>
                <a:gd name="connsiteX34" fmla="*/ 1681898 w 3657601"/>
                <a:gd name="connsiteY34" fmla="*/ 2047199 h 3827556"/>
                <a:gd name="connsiteX35" fmla="*/ 805598 w 3657601"/>
                <a:gd name="connsiteY35" fmla="*/ 1669351 h 3827556"/>
                <a:gd name="connsiteX36" fmla="*/ 1347052 w 3657601"/>
                <a:gd name="connsiteY36" fmla="*/ 1669351 h 3827556"/>
                <a:gd name="connsiteX37" fmla="*/ 1390650 w 3657601"/>
                <a:gd name="connsiteY37" fmla="*/ 1712949 h 3827556"/>
                <a:gd name="connsiteX38" fmla="*/ 1390650 w 3657601"/>
                <a:gd name="connsiteY38" fmla="*/ 2111527 h 3827556"/>
                <a:gd name="connsiteX39" fmla="*/ 1347052 w 3657601"/>
                <a:gd name="connsiteY39" fmla="*/ 2155125 h 3827556"/>
                <a:gd name="connsiteX40" fmla="*/ 805598 w 3657601"/>
                <a:gd name="connsiteY40" fmla="*/ 2155125 h 3827556"/>
                <a:gd name="connsiteX41" fmla="*/ 762000 w 3657601"/>
                <a:gd name="connsiteY41" fmla="*/ 2111527 h 3827556"/>
                <a:gd name="connsiteX42" fmla="*/ 762000 w 3657601"/>
                <a:gd name="connsiteY42" fmla="*/ 1712949 h 3827556"/>
                <a:gd name="connsiteX43" fmla="*/ 805598 w 3657601"/>
                <a:gd name="connsiteY43" fmla="*/ 1669351 h 3827556"/>
                <a:gd name="connsiteX44" fmla="*/ 2558198 w 3657601"/>
                <a:gd name="connsiteY44" fmla="*/ 1645318 h 3827556"/>
                <a:gd name="connsiteX45" fmla="*/ 3099652 w 3657601"/>
                <a:gd name="connsiteY45" fmla="*/ 1645318 h 3827556"/>
                <a:gd name="connsiteX46" fmla="*/ 3143250 w 3657601"/>
                <a:gd name="connsiteY46" fmla="*/ 1688916 h 3827556"/>
                <a:gd name="connsiteX47" fmla="*/ 3143250 w 3657601"/>
                <a:gd name="connsiteY47" fmla="*/ 2087494 h 3827556"/>
                <a:gd name="connsiteX48" fmla="*/ 3099652 w 3657601"/>
                <a:gd name="connsiteY48" fmla="*/ 2131092 h 3827556"/>
                <a:gd name="connsiteX49" fmla="*/ 2558198 w 3657601"/>
                <a:gd name="connsiteY49" fmla="*/ 2131092 h 3827556"/>
                <a:gd name="connsiteX50" fmla="*/ 2514600 w 3657601"/>
                <a:gd name="connsiteY50" fmla="*/ 2087494 h 3827556"/>
                <a:gd name="connsiteX51" fmla="*/ 2514600 w 3657601"/>
                <a:gd name="connsiteY51" fmla="*/ 1688916 h 3827556"/>
                <a:gd name="connsiteX52" fmla="*/ 2558198 w 3657601"/>
                <a:gd name="connsiteY52" fmla="*/ 1645318 h 3827556"/>
                <a:gd name="connsiteX53" fmla="*/ 1681898 w 3657601"/>
                <a:gd name="connsiteY53" fmla="*/ 1288793 h 3827556"/>
                <a:gd name="connsiteX54" fmla="*/ 2223352 w 3657601"/>
                <a:gd name="connsiteY54" fmla="*/ 1288793 h 3827556"/>
                <a:gd name="connsiteX55" fmla="*/ 2266950 w 3657601"/>
                <a:gd name="connsiteY55" fmla="*/ 1332391 h 3827556"/>
                <a:gd name="connsiteX56" fmla="*/ 2266950 w 3657601"/>
                <a:gd name="connsiteY56" fmla="*/ 1730969 h 3827556"/>
                <a:gd name="connsiteX57" fmla="*/ 2223352 w 3657601"/>
                <a:gd name="connsiteY57" fmla="*/ 1774567 h 3827556"/>
                <a:gd name="connsiteX58" fmla="*/ 1681898 w 3657601"/>
                <a:gd name="connsiteY58" fmla="*/ 1774567 h 3827556"/>
                <a:gd name="connsiteX59" fmla="*/ 1638300 w 3657601"/>
                <a:gd name="connsiteY59" fmla="*/ 1730969 h 3827556"/>
                <a:gd name="connsiteX60" fmla="*/ 1638300 w 3657601"/>
                <a:gd name="connsiteY60" fmla="*/ 1332391 h 3827556"/>
                <a:gd name="connsiteX61" fmla="*/ 1681898 w 3657601"/>
                <a:gd name="connsiteY61" fmla="*/ 1288793 h 3827556"/>
                <a:gd name="connsiteX62" fmla="*/ 805598 w 3657601"/>
                <a:gd name="connsiteY62" fmla="*/ 911320 h 3827556"/>
                <a:gd name="connsiteX63" fmla="*/ 1347052 w 3657601"/>
                <a:gd name="connsiteY63" fmla="*/ 911320 h 3827556"/>
                <a:gd name="connsiteX64" fmla="*/ 1390650 w 3657601"/>
                <a:gd name="connsiteY64" fmla="*/ 954918 h 3827556"/>
                <a:gd name="connsiteX65" fmla="*/ 1390650 w 3657601"/>
                <a:gd name="connsiteY65" fmla="*/ 1353496 h 3827556"/>
                <a:gd name="connsiteX66" fmla="*/ 1347052 w 3657601"/>
                <a:gd name="connsiteY66" fmla="*/ 1397094 h 3827556"/>
                <a:gd name="connsiteX67" fmla="*/ 805598 w 3657601"/>
                <a:gd name="connsiteY67" fmla="*/ 1397094 h 3827556"/>
                <a:gd name="connsiteX68" fmla="*/ 762000 w 3657601"/>
                <a:gd name="connsiteY68" fmla="*/ 1353496 h 3827556"/>
                <a:gd name="connsiteX69" fmla="*/ 762000 w 3657601"/>
                <a:gd name="connsiteY69" fmla="*/ 954918 h 3827556"/>
                <a:gd name="connsiteX70" fmla="*/ 805598 w 3657601"/>
                <a:gd name="connsiteY70" fmla="*/ 911320 h 3827556"/>
                <a:gd name="connsiteX71" fmla="*/ 0 w 3657601"/>
                <a:gd name="connsiteY71" fmla="*/ 0 h 3827556"/>
                <a:gd name="connsiteX72" fmla="*/ 1 w 3657601"/>
                <a:gd name="connsiteY72" fmla="*/ 0 h 3827556"/>
                <a:gd name="connsiteX73" fmla="*/ 504826 w 3657601"/>
                <a:gd name="connsiteY73" fmla="*/ 0 h 3827556"/>
                <a:gd name="connsiteX74" fmla="*/ 3152775 w 3657601"/>
                <a:gd name="connsiteY74" fmla="*/ 0 h 3827556"/>
                <a:gd name="connsiteX75" fmla="*/ 3657601 w 3657601"/>
                <a:gd name="connsiteY75" fmla="*/ 0 h 3827556"/>
                <a:gd name="connsiteX76" fmla="*/ 3657601 w 3657601"/>
                <a:gd name="connsiteY76" fmla="*/ 520792 h 3827556"/>
                <a:gd name="connsiteX77" fmla="*/ 3657601 w 3657601"/>
                <a:gd name="connsiteY77" fmla="*/ 827179 h 3827556"/>
                <a:gd name="connsiteX78" fmla="*/ 3573462 w 3657601"/>
                <a:gd name="connsiteY78" fmla="*/ 911318 h 3827556"/>
                <a:gd name="connsiteX79" fmla="*/ 3236914 w 3657601"/>
                <a:gd name="connsiteY79" fmla="*/ 911318 h 3827556"/>
                <a:gd name="connsiteX80" fmla="*/ 3152775 w 3657601"/>
                <a:gd name="connsiteY80" fmla="*/ 827179 h 3827556"/>
                <a:gd name="connsiteX81" fmla="*/ 3152775 w 3657601"/>
                <a:gd name="connsiteY81" fmla="*/ 520792 h 3827556"/>
                <a:gd name="connsiteX82" fmla="*/ 504826 w 3657601"/>
                <a:gd name="connsiteY82" fmla="*/ 520792 h 3827556"/>
                <a:gd name="connsiteX83" fmla="*/ 504826 w 3657601"/>
                <a:gd name="connsiteY83" fmla="*/ 827179 h 3827556"/>
                <a:gd name="connsiteX84" fmla="*/ 420687 w 3657601"/>
                <a:gd name="connsiteY84" fmla="*/ 911318 h 3827556"/>
                <a:gd name="connsiteX85" fmla="*/ 84139 w 3657601"/>
                <a:gd name="connsiteY85" fmla="*/ 911318 h 3827556"/>
                <a:gd name="connsiteX86" fmla="*/ 0 w 3657601"/>
                <a:gd name="connsiteY86" fmla="*/ 827179 h 382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657601" h="3827556">
                  <a:moveTo>
                    <a:pt x="84139" y="2916238"/>
                  </a:moveTo>
                  <a:lnTo>
                    <a:pt x="420687" y="2916238"/>
                  </a:lnTo>
                  <a:cubicBezTo>
                    <a:pt x="467156" y="2916238"/>
                    <a:pt x="504826" y="2953908"/>
                    <a:pt x="504826" y="3000377"/>
                  </a:cubicBezTo>
                  <a:lnTo>
                    <a:pt x="504826" y="3306764"/>
                  </a:lnTo>
                  <a:lnTo>
                    <a:pt x="3152775" y="3306764"/>
                  </a:lnTo>
                  <a:lnTo>
                    <a:pt x="3152775" y="3000377"/>
                  </a:lnTo>
                  <a:cubicBezTo>
                    <a:pt x="3152775" y="2953908"/>
                    <a:pt x="3190445" y="2916238"/>
                    <a:pt x="3236914" y="2916238"/>
                  </a:cubicBezTo>
                  <a:lnTo>
                    <a:pt x="3573462" y="2916238"/>
                  </a:lnTo>
                  <a:cubicBezTo>
                    <a:pt x="3619931" y="2916238"/>
                    <a:pt x="3657601" y="2953908"/>
                    <a:pt x="3657601" y="3000377"/>
                  </a:cubicBezTo>
                  <a:lnTo>
                    <a:pt x="3657601" y="3827556"/>
                  </a:lnTo>
                  <a:lnTo>
                    <a:pt x="3657600" y="3827556"/>
                  </a:lnTo>
                  <a:lnTo>
                    <a:pt x="3152775" y="3827556"/>
                  </a:lnTo>
                  <a:lnTo>
                    <a:pt x="504826" y="3827556"/>
                  </a:lnTo>
                  <a:lnTo>
                    <a:pt x="0" y="3827556"/>
                  </a:lnTo>
                  <a:lnTo>
                    <a:pt x="0" y="3306764"/>
                  </a:lnTo>
                  <a:lnTo>
                    <a:pt x="0" y="3000377"/>
                  </a:lnTo>
                  <a:cubicBezTo>
                    <a:pt x="0" y="2953908"/>
                    <a:pt x="37670" y="2916238"/>
                    <a:pt x="84139" y="2916238"/>
                  </a:cubicBezTo>
                  <a:close/>
                  <a:moveTo>
                    <a:pt x="805598" y="2427382"/>
                  </a:moveTo>
                  <a:lnTo>
                    <a:pt x="1347052" y="2427382"/>
                  </a:lnTo>
                  <a:cubicBezTo>
                    <a:pt x="1371131" y="2427382"/>
                    <a:pt x="1390650" y="2446901"/>
                    <a:pt x="1390650" y="2470980"/>
                  </a:cubicBezTo>
                  <a:lnTo>
                    <a:pt x="1390650" y="2869558"/>
                  </a:lnTo>
                  <a:cubicBezTo>
                    <a:pt x="1390650" y="2893637"/>
                    <a:pt x="1371131" y="2913156"/>
                    <a:pt x="1347052" y="2913156"/>
                  </a:cubicBezTo>
                  <a:lnTo>
                    <a:pt x="805598" y="2913156"/>
                  </a:lnTo>
                  <a:cubicBezTo>
                    <a:pt x="781519" y="2913156"/>
                    <a:pt x="762000" y="2893637"/>
                    <a:pt x="762000" y="2869558"/>
                  </a:cubicBezTo>
                  <a:lnTo>
                    <a:pt x="762000" y="2470980"/>
                  </a:lnTo>
                  <a:cubicBezTo>
                    <a:pt x="762000" y="2446901"/>
                    <a:pt x="781519" y="2427382"/>
                    <a:pt x="805598" y="2427382"/>
                  </a:cubicBezTo>
                  <a:close/>
                  <a:moveTo>
                    <a:pt x="1681898" y="2047199"/>
                  </a:moveTo>
                  <a:lnTo>
                    <a:pt x="2223352" y="2047199"/>
                  </a:lnTo>
                  <a:cubicBezTo>
                    <a:pt x="2247431" y="2047199"/>
                    <a:pt x="2266950" y="2066718"/>
                    <a:pt x="2266950" y="2090797"/>
                  </a:cubicBezTo>
                  <a:lnTo>
                    <a:pt x="2266950" y="2489375"/>
                  </a:lnTo>
                  <a:cubicBezTo>
                    <a:pt x="2266950" y="2513454"/>
                    <a:pt x="2247431" y="2532973"/>
                    <a:pt x="2223352" y="2532973"/>
                  </a:cubicBezTo>
                  <a:lnTo>
                    <a:pt x="1681898" y="2532973"/>
                  </a:lnTo>
                  <a:cubicBezTo>
                    <a:pt x="1657819" y="2532973"/>
                    <a:pt x="1638300" y="2513454"/>
                    <a:pt x="1638300" y="2489375"/>
                  </a:cubicBezTo>
                  <a:lnTo>
                    <a:pt x="1638300" y="2090797"/>
                  </a:lnTo>
                  <a:cubicBezTo>
                    <a:pt x="1638300" y="2066718"/>
                    <a:pt x="1657819" y="2047199"/>
                    <a:pt x="1681898" y="2047199"/>
                  </a:cubicBezTo>
                  <a:close/>
                  <a:moveTo>
                    <a:pt x="805598" y="1669351"/>
                  </a:moveTo>
                  <a:lnTo>
                    <a:pt x="1347052" y="1669351"/>
                  </a:lnTo>
                  <a:cubicBezTo>
                    <a:pt x="1371131" y="1669351"/>
                    <a:pt x="1390650" y="1688870"/>
                    <a:pt x="1390650" y="1712949"/>
                  </a:cubicBezTo>
                  <a:lnTo>
                    <a:pt x="1390650" y="2111527"/>
                  </a:lnTo>
                  <a:cubicBezTo>
                    <a:pt x="1390650" y="2135606"/>
                    <a:pt x="1371131" y="2155125"/>
                    <a:pt x="1347052" y="2155125"/>
                  </a:cubicBezTo>
                  <a:lnTo>
                    <a:pt x="805598" y="2155125"/>
                  </a:lnTo>
                  <a:cubicBezTo>
                    <a:pt x="781519" y="2155125"/>
                    <a:pt x="762000" y="2135606"/>
                    <a:pt x="762000" y="2111527"/>
                  </a:cubicBezTo>
                  <a:lnTo>
                    <a:pt x="762000" y="1712949"/>
                  </a:lnTo>
                  <a:cubicBezTo>
                    <a:pt x="762000" y="1688870"/>
                    <a:pt x="781519" y="1669351"/>
                    <a:pt x="805598" y="1669351"/>
                  </a:cubicBezTo>
                  <a:close/>
                  <a:moveTo>
                    <a:pt x="2558198" y="1645318"/>
                  </a:moveTo>
                  <a:lnTo>
                    <a:pt x="3099652" y="1645318"/>
                  </a:lnTo>
                  <a:cubicBezTo>
                    <a:pt x="3123731" y="1645318"/>
                    <a:pt x="3143250" y="1664837"/>
                    <a:pt x="3143250" y="1688916"/>
                  </a:cubicBezTo>
                  <a:lnTo>
                    <a:pt x="3143250" y="2087494"/>
                  </a:lnTo>
                  <a:cubicBezTo>
                    <a:pt x="3143250" y="2111573"/>
                    <a:pt x="3123731" y="2131092"/>
                    <a:pt x="3099652" y="2131092"/>
                  </a:cubicBezTo>
                  <a:lnTo>
                    <a:pt x="2558198" y="2131092"/>
                  </a:lnTo>
                  <a:cubicBezTo>
                    <a:pt x="2534119" y="2131092"/>
                    <a:pt x="2514600" y="2111573"/>
                    <a:pt x="2514600" y="2087494"/>
                  </a:cubicBezTo>
                  <a:lnTo>
                    <a:pt x="2514600" y="1688916"/>
                  </a:lnTo>
                  <a:cubicBezTo>
                    <a:pt x="2514600" y="1664837"/>
                    <a:pt x="2534119" y="1645318"/>
                    <a:pt x="2558198" y="1645318"/>
                  </a:cubicBezTo>
                  <a:close/>
                  <a:moveTo>
                    <a:pt x="1681898" y="1288793"/>
                  </a:moveTo>
                  <a:lnTo>
                    <a:pt x="2223352" y="1288793"/>
                  </a:lnTo>
                  <a:cubicBezTo>
                    <a:pt x="2247431" y="1288793"/>
                    <a:pt x="2266950" y="1308312"/>
                    <a:pt x="2266950" y="1332391"/>
                  </a:cubicBezTo>
                  <a:lnTo>
                    <a:pt x="2266950" y="1730969"/>
                  </a:lnTo>
                  <a:cubicBezTo>
                    <a:pt x="2266950" y="1755048"/>
                    <a:pt x="2247431" y="1774567"/>
                    <a:pt x="2223352" y="1774567"/>
                  </a:cubicBezTo>
                  <a:lnTo>
                    <a:pt x="1681898" y="1774567"/>
                  </a:lnTo>
                  <a:cubicBezTo>
                    <a:pt x="1657819" y="1774567"/>
                    <a:pt x="1638300" y="1755048"/>
                    <a:pt x="1638300" y="1730969"/>
                  </a:cubicBezTo>
                  <a:lnTo>
                    <a:pt x="1638300" y="1332391"/>
                  </a:lnTo>
                  <a:cubicBezTo>
                    <a:pt x="1638300" y="1308312"/>
                    <a:pt x="1657819" y="1288793"/>
                    <a:pt x="1681898" y="1288793"/>
                  </a:cubicBezTo>
                  <a:close/>
                  <a:moveTo>
                    <a:pt x="805598" y="911320"/>
                  </a:moveTo>
                  <a:lnTo>
                    <a:pt x="1347052" y="911320"/>
                  </a:lnTo>
                  <a:cubicBezTo>
                    <a:pt x="1371131" y="911320"/>
                    <a:pt x="1390650" y="930839"/>
                    <a:pt x="1390650" y="954918"/>
                  </a:cubicBezTo>
                  <a:lnTo>
                    <a:pt x="1390650" y="1353496"/>
                  </a:lnTo>
                  <a:cubicBezTo>
                    <a:pt x="1390650" y="1377575"/>
                    <a:pt x="1371131" y="1397094"/>
                    <a:pt x="1347052" y="1397094"/>
                  </a:cubicBezTo>
                  <a:lnTo>
                    <a:pt x="805598" y="1397094"/>
                  </a:lnTo>
                  <a:cubicBezTo>
                    <a:pt x="781519" y="1397094"/>
                    <a:pt x="762000" y="1377575"/>
                    <a:pt x="762000" y="1353496"/>
                  </a:cubicBezTo>
                  <a:lnTo>
                    <a:pt x="762000" y="954918"/>
                  </a:lnTo>
                  <a:cubicBezTo>
                    <a:pt x="762000" y="930839"/>
                    <a:pt x="781519" y="911320"/>
                    <a:pt x="805598" y="911320"/>
                  </a:cubicBezTo>
                  <a:close/>
                  <a:moveTo>
                    <a:pt x="0" y="0"/>
                  </a:moveTo>
                  <a:lnTo>
                    <a:pt x="1" y="0"/>
                  </a:lnTo>
                  <a:lnTo>
                    <a:pt x="504826" y="0"/>
                  </a:lnTo>
                  <a:lnTo>
                    <a:pt x="3152775" y="0"/>
                  </a:lnTo>
                  <a:lnTo>
                    <a:pt x="3657601" y="0"/>
                  </a:lnTo>
                  <a:lnTo>
                    <a:pt x="3657601" y="520792"/>
                  </a:lnTo>
                  <a:lnTo>
                    <a:pt x="3657601" y="827179"/>
                  </a:lnTo>
                  <a:cubicBezTo>
                    <a:pt x="3657601" y="873648"/>
                    <a:pt x="3619931" y="911318"/>
                    <a:pt x="3573462" y="911318"/>
                  </a:cubicBezTo>
                  <a:lnTo>
                    <a:pt x="3236914" y="911318"/>
                  </a:lnTo>
                  <a:cubicBezTo>
                    <a:pt x="3190445" y="911318"/>
                    <a:pt x="3152775" y="873648"/>
                    <a:pt x="3152775" y="827179"/>
                  </a:cubicBezTo>
                  <a:lnTo>
                    <a:pt x="3152775" y="520792"/>
                  </a:lnTo>
                  <a:lnTo>
                    <a:pt x="504826" y="520792"/>
                  </a:lnTo>
                  <a:lnTo>
                    <a:pt x="504826" y="827179"/>
                  </a:lnTo>
                  <a:cubicBezTo>
                    <a:pt x="504826" y="873648"/>
                    <a:pt x="467156" y="911318"/>
                    <a:pt x="420687" y="911318"/>
                  </a:cubicBezTo>
                  <a:lnTo>
                    <a:pt x="84139" y="911318"/>
                  </a:lnTo>
                  <a:cubicBezTo>
                    <a:pt x="37670" y="911318"/>
                    <a:pt x="0" y="873648"/>
                    <a:pt x="0" y="827179"/>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4006" tIns="42003" rIns="84006" bIns="42003" numCol="1" spcCol="0" rtlCol="0" fromWordArt="0" anchor="ctr" anchorCtr="0" forceAA="0" compatLnSpc="1">
              <a:prstTxWarp prst="textNoShape">
                <a:avLst/>
              </a:prstTxWarp>
              <a:noAutofit/>
            </a:bodyPr>
            <a:lstStyle/>
            <a:p>
              <a:pPr algn="ctr" defTabSz="856588" fontAlgn="base">
                <a:spcBef>
                  <a:spcPct val="0"/>
                </a:spcBef>
                <a:spcAft>
                  <a:spcPct val="0"/>
                </a:spcAft>
                <a:defRPr/>
              </a:pPr>
              <a:endParaRPr lang="en-US" sz="2205" kern="0" dirty="0">
                <a:solidFill>
                  <a:srgbClr val="FFFFFF"/>
                </a:solidFill>
                <a:latin typeface="Segoe UI"/>
                <a:ea typeface="Segoe UI" pitchFamily="34" charset="0"/>
                <a:cs typeface="Segoe UI" pitchFamily="34" charset="0"/>
              </a:endParaRPr>
            </a:p>
          </p:txBody>
        </p:sp>
      </p:grpSp>
      <p:grpSp>
        <p:nvGrpSpPr>
          <p:cNvPr id="431" name="Group 430"/>
          <p:cNvGrpSpPr/>
          <p:nvPr/>
        </p:nvGrpSpPr>
        <p:grpSpPr>
          <a:xfrm>
            <a:off x="5184822" y="1709811"/>
            <a:ext cx="2311378" cy="4267507"/>
            <a:chOff x="5122992" y="1657049"/>
            <a:chExt cx="2515919" cy="4645153"/>
          </a:xfrm>
        </p:grpSpPr>
        <p:sp>
          <p:nvSpPr>
            <p:cNvPr id="432" name="Rectangle 431"/>
            <p:cNvSpPr/>
            <p:nvPr/>
          </p:nvSpPr>
          <p:spPr bwMode="auto">
            <a:xfrm>
              <a:off x="5901551" y="1657049"/>
              <a:ext cx="1737360" cy="4187396"/>
            </a:xfrm>
            <a:prstGeom prst="rect">
              <a:avLst/>
            </a:prstGeom>
            <a:solidFill>
              <a:schemeClr val="accent4">
                <a:lumMod val="40000"/>
                <a:lumOff val="60000"/>
              </a:schemeClr>
            </a:solidFill>
            <a:ln w="3175">
              <a:noFill/>
            </a:ln>
            <a:effectLst/>
          </p:spPr>
          <p:txBody>
            <a:bodyPr spcFirstLastPara="0" vert="horz" wrap="square" lIns="16795" tIns="84006" rIns="16795" bIns="83970" numCol="1" spcCol="1270" anchor="t" anchorCtr="0">
              <a:noAutofit/>
            </a:bodyPr>
            <a:lstStyle/>
            <a:p>
              <a:pPr algn="ctr" defTabSz="666011">
                <a:spcBef>
                  <a:spcPct val="0"/>
                </a:spcBef>
                <a:spcAft>
                  <a:spcPct val="35000"/>
                </a:spcAft>
                <a:defRPr/>
              </a:pPr>
              <a:r>
                <a:rPr lang="en-US" sz="1286" kern="0" dirty="0">
                  <a:solidFill>
                    <a:srgbClr val="FFFFFF"/>
                  </a:solidFill>
                  <a:latin typeface="Segoe UI Semibold" panose="020B0702040204020203" pitchFamily="34" charset="0"/>
                  <a:cs typeface="Segoe UI Semibold" panose="020B0702040204020203" pitchFamily="34" charset="0"/>
                </a:rPr>
                <a:t>Machine Learning and Analytics</a:t>
              </a:r>
            </a:p>
          </p:txBody>
        </p:sp>
        <p:sp>
          <p:nvSpPr>
            <p:cNvPr id="433" name="Rectangle 432"/>
            <p:cNvSpPr/>
            <p:nvPr/>
          </p:nvSpPr>
          <p:spPr>
            <a:xfrm>
              <a:off x="6340519" y="3555362"/>
              <a:ext cx="1268870" cy="606358"/>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HDInsight </a:t>
              </a:r>
            </a:p>
            <a:p>
              <a:pPr defTabSz="839987"/>
              <a:r>
                <a:rPr lang="en-US" sz="1011" kern="0" dirty="0">
                  <a:solidFill>
                    <a:srgbClr val="FFFFFF"/>
                  </a:solidFill>
                  <a:latin typeface="Segoe UI"/>
                  <a:cs typeface="Segoe UI Semilight" panose="020B0402040204020203" pitchFamily="34" charset="0"/>
                </a:rPr>
                <a:t>(Hadoop and Spark)</a:t>
              </a:r>
            </a:p>
          </p:txBody>
        </p:sp>
        <p:sp>
          <p:nvSpPr>
            <p:cNvPr id="434" name="Rectangle 433"/>
            <p:cNvSpPr/>
            <p:nvPr/>
          </p:nvSpPr>
          <p:spPr>
            <a:xfrm>
              <a:off x="6340519" y="4283606"/>
              <a:ext cx="1268870" cy="267805"/>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Stream Analytics</a:t>
              </a:r>
            </a:p>
          </p:txBody>
        </p:sp>
        <p:sp>
          <p:nvSpPr>
            <p:cNvPr id="435" name="Rectangle 434"/>
            <p:cNvSpPr/>
            <p:nvPr/>
          </p:nvSpPr>
          <p:spPr>
            <a:xfrm>
              <a:off x="5122992" y="5932859"/>
              <a:ext cx="1455685" cy="369343"/>
            </a:xfrm>
            <a:prstGeom prst="rect">
              <a:avLst/>
            </a:prstGeom>
          </p:spPr>
          <p:txBody>
            <a:bodyPr wrap="none" lIns="0" tIns="0" rIns="0" bIns="0" anchor="ctr">
              <a:spAutoFit/>
            </a:bodyPr>
            <a:lstStyle/>
            <a:p>
              <a:pPr algn="ctr" defTabSz="666011">
                <a:spcBef>
                  <a:spcPct val="0"/>
                </a:spcBef>
                <a:spcAft>
                  <a:spcPct val="35000"/>
                </a:spcAft>
              </a:pPr>
              <a:r>
                <a:rPr lang="en-US" sz="2205" kern="0" dirty="0">
                  <a:solidFill>
                    <a:srgbClr val="002050"/>
                  </a:solidFill>
                  <a:latin typeface="Segoe UI Light"/>
                </a:rPr>
                <a:t>Intelligence</a:t>
              </a:r>
              <a:endParaRPr lang="en-US" sz="1654" b="1" kern="0" spc="-27" dirty="0">
                <a:solidFill>
                  <a:srgbClr val="002050"/>
                </a:solidFill>
                <a:latin typeface="Segoe UI Semilight" panose="020B0402040204020203" pitchFamily="34" charset="0"/>
                <a:cs typeface="Segoe UI Semilight" panose="020B0402040204020203" pitchFamily="34" charset="0"/>
              </a:endParaRPr>
            </a:p>
          </p:txBody>
        </p:sp>
        <p:sp>
          <p:nvSpPr>
            <p:cNvPr id="436" name="Rectangle 435"/>
            <p:cNvSpPr/>
            <p:nvPr/>
          </p:nvSpPr>
          <p:spPr>
            <a:xfrm>
              <a:off x="6340519" y="3055939"/>
              <a:ext cx="1268869" cy="437081"/>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Data Lake Analytics</a:t>
              </a:r>
            </a:p>
          </p:txBody>
        </p:sp>
        <p:grpSp>
          <p:nvGrpSpPr>
            <p:cNvPr id="437" name="Group 436"/>
            <p:cNvGrpSpPr/>
            <p:nvPr/>
          </p:nvGrpSpPr>
          <p:grpSpPr>
            <a:xfrm>
              <a:off x="6046429" y="3138987"/>
              <a:ext cx="220642" cy="288624"/>
              <a:chOff x="3473450" y="4579938"/>
              <a:chExt cx="1741488" cy="2278062"/>
            </a:xfrm>
            <a:solidFill>
              <a:srgbClr val="FFFFFF"/>
            </a:solidFill>
          </p:grpSpPr>
          <p:sp>
            <p:nvSpPr>
              <p:cNvPr id="446" name="Freeform 16"/>
              <p:cNvSpPr>
                <a:spLocks/>
              </p:cNvSpPr>
              <p:nvPr/>
            </p:nvSpPr>
            <p:spPr bwMode="auto">
              <a:xfrm>
                <a:off x="3575050" y="4579938"/>
                <a:ext cx="1493838" cy="403225"/>
              </a:xfrm>
              <a:custGeom>
                <a:avLst/>
                <a:gdLst>
                  <a:gd name="T0" fmla="*/ 2 w 1883"/>
                  <a:gd name="T1" fmla="*/ 263 h 508"/>
                  <a:gd name="T2" fmla="*/ 17 w 1883"/>
                  <a:gd name="T3" fmla="*/ 290 h 508"/>
                  <a:gd name="T4" fmla="*/ 51 w 1883"/>
                  <a:gd name="T5" fmla="*/ 321 h 508"/>
                  <a:gd name="T6" fmla="*/ 101 w 1883"/>
                  <a:gd name="T7" fmla="*/ 352 h 508"/>
                  <a:gd name="T8" fmla="*/ 169 w 1883"/>
                  <a:gd name="T9" fmla="*/ 384 h 508"/>
                  <a:gd name="T10" fmla="*/ 253 w 1883"/>
                  <a:gd name="T11" fmla="*/ 414 h 508"/>
                  <a:gd name="T12" fmla="*/ 351 w 1883"/>
                  <a:gd name="T13" fmla="*/ 442 h 508"/>
                  <a:gd name="T14" fmla="*/ 465 w 1883"/>
                  <a:gd name="T15" fmla="*/ 467 h 508"/>
                  <a:gd name="T16" fmla="*/ 592 w 1883"/>
                  <a:gd name="T17" fmla="*/ 486 h 508"/>
                  <a:gd name="T18" fmla="*/ 733 w 1883"/>
                  <a:gd name="T19" fmla="*/ 500 h 508"/>
                  <a:gd name="T20" fmla="*/ 887 w 1883"/>
                  <a:gd name="T21" fmla="*/ 508 h 508"/>
                  <a:gd name="T22" fmla="*/ 996 w 1883"/>
                  <a:gd name="T23" fmla="*/ 508 h 508"/>
                  <a:gd name="T24" fmla="*/ 1150 w 1883"/>
                  <a:gd name="T25" fmla="*/ 500 h 508"/>
                  <a:gd name="T26" fmla="*/ 1291 w 1883"/>
                  <a:gd name="T27" fmla="*/ 486 h 508"/>
                  <a:gd name="T28" fmla="*/ 1419 w 1883"/>
                  <a:gd name="T29" fmla="*/ 467 h 508"/>
                  <a:gd name="T30" fmla="*/ 1532 w 1883"/>
                  <a:gd name="T31" fmla="*/ 442 h 508"/>
                  <a:gd name="T32" fmla="*/ 1632 w 1883"/>
                  <a:gd name="T33" fmla="*/ 414 h 508"/>
                  <a:gd name="T34" fmla="*/ 1715 w 1883"/>
                  <a:gd name="T35" fmla="*/ 384 h 508"/>
                  <a:gd name="T36" fmla="*/ 1782 w 1883"/>
                  <a:gd name="T37" fmla="*/ 352 h 508"/>
                  <a:gd name="T38" fmla="*/ 1834 w 1883"/>
                  <a:gd name="T39" fmla="*/ 321 h 508"/>
                  <a:gd name="T40" fmla="*/ 1866 w 1883"/>
                  <a:gd name="T41" fmla="*/ 290 h 508"/>
                  <a:gd name="T42" fmla="*/ 1882 w 1883"/>
                  <a:gd name="T43" fmla="*/ 263 h 508"/>
                  <a:gd name="T44" fmla="*/ 1882 w 1883"/>
                  <a:gd name="T45" fmla="*/ 245 h 508"/>
                  <a:gd name="T46" fmla="*/ 1866 w 1883"/>
                  <a:gd name="T47" fmla="*/ 217 h 508"/>
                  <a:gd name="T48" fmla="*/ 1834 w 1883"/>
                  <a:gd name="T49" fmla="*/ 187 h 508"/>
                  <a:gd name="T50" fmla="*/ 1782 w 1883"/>
                  <a:gd name="T51" fmla="*/ 155 h 508"/>
                  <a:gd name="T52" fmla="*/ 1715 w 1883"/>
                  <a:gd name="T53" fmla="*/ 124 h 508"/>
                  <a:gd name="T54" fmla="*/ 1632 w 1883"/>
                  <a:gd name="T55" fmla="*/ 93 h 508"/>
                  <a:gd name="T56" fmla="*/ 1532 w 1883"/>
                  <a:gd name="T57" fmla="*/ 64 h 508"/>
                  <a:gd name="T58" fmla="*/ 1419 w 1883"/>
                  <a:gd name="T59" fmla="*/ 40 h 508"/>
                  <a:gd name="T60" fmla="*/ 1291 w 1883"/>
                  <a:gd name="T61" fmla="*/ 20 h 508"/>
                  <a:gd name="T62" fmla="*/ 1150 w 1883"/>
                  <a:gd name="T63" fmla="*/ 6 h 508"/>
                  <a:gd name="T64" fmla="*/ 996 w 1883"/>
                  <a:gd name="T65" fmla="*/ 0 h 508"/>
                  <a:gd name="T66" fmla="*/ 887 w 1883"/>
                  <a:gd name="T67" fmla="*/ 0 h 508"/>
                  <a:gd name="T68" fmla="*/ 733 w 1883"/>
                  <a:gd name="T69" fmla="*/ 6 h 508"/>
                  <a:gd name="T70" fmla="*/ 592 w 1883"/>
                  <a:gd name="T71" fmla="*/ 20 h 508"/>
                  <a:gd name="T72" fmla="*/ 465 w 1883"/>
                  <a:gd name="T73" fmla="*/ 40 h 508"/>
                  <a:gd name="T74" fmla="*/ 351 w 1883"/>
                  <a:gd name="T75" fmla="*/ 64 h 508"/>
                  <a:gd name="T76" fmla="*/ 253 w 1883"/>
                  <a:gd name="T77" fmla="*/ 93 h 508"/>
                  <a:gd name="T78" fmla="*/ 169 w 1883"/>
                  <a:gd name="T79" fmla="*/ 124 h 508"/>
                  <a:gd name="T80" fmla="*/ 101 w 1883"/>
                  <a:gd name="T81" fmla="*/ 155 h 508"/>
                  <a:gd name="T82" fmla="*/ 51 w 1883"/>
                  <a:gd name="T83" fmla="*/ 187 h 508"/>
                  <a:gd name="T84" fmla="*/ 17 w 1883"/>
                  <a:gd name="T85" fmla="*/ 217 h 508"/>
                  <a:gd name="T86" fmla="*/ 2 w 1883"/>
                  <a:gd name="T87" fmla="*/ 245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3" h="508">
                    <a:moveTo>
                      <a:pt x="0" y="254"/>
                    </a:moveTo>
                    <a:lnTo>
                      <a:pt x="0" y="254"/>
                    </a:lnTo>
                    <a:lnTo>
                      <a:pt x="2" y="263"/>
                    </a:lnTo>
                    <a:lnTo>
                      <a:pt x="5" y="271"/>
                    </a:lnTo>
                    <a:lnTo>
                      <a:pt x="11" y="280"/>
                    </a:lnTo>
                    <a:lnTo>
                      <a:pt x="17" y="290"/>
                    </a:lnTo>
                    <a:lnTo>
                      <a:pt x="27" y="301"/>
                    </a:lnTo>
                    <a:lnTo>
                      <a:pt x="37" y="311"/>
                    </a:lnTo>
                    <a:lnTo>
                      <a:pt x="51" y="321"/>
                    </a:lnTo>
                    <a:lnTo>
                      <a:pt x="66" y="331"/>
                    </a:lnTo>
                    <a:lnTo>
                      <a:pt x="82" y="342"/>
                    </a:lnTo>
                    <a:lnTo>
                      <a:pt x="101" y="352"/>
                    </a:lnTo>
                    <a:lnTo>
                      <a:pt x="122" y="362"/>
                    </a:lnTo>
                    <a:lnTo>
                      <a:pt x="144" y="374"/>
                    </a:lnTo>
                    <a:lnTo>
                      <a:pt x="169" y="384"/>
                    </a:lnTo>
                    <a:lnTo>
                      <a:pt x="195" y="394"/>
                    </a:lnTo>
                    <a:lnTo>
                      <a:pt x="222" y="404"/>
                    </a:lnTo>
                    <a:lnTo>
                      <a:pt x="253" y="414"/>
                    </a:lnTo>
                    <a:lnTo>
                      <a:pt x="284" y="424"/>
                    </a:lnTo>
                    <a:lnTo>
                      <a:pt x="317" y="433"/>
                    </a:lnTo>
                    <a:lnTo>
                      <a:pt x="351" y="442"/>
                    </a:lnTo>
                    <a:lnTo>
                      <a:pt x="388" y="451"/>
                    </a:lnTo>
                    <a:lnTo>
                      <a:pt x="426" y="460"/>
                    </a:lnTo>
                    <a:lnTo>
                      <a:pt x="465" y="467"/>
                    </a:lnTo>
                    <a:lnTo>
                      <a:pt x="506" y="473"/>
                    </a:lnTo>
                    <a:lnTo>
                      <a:pt x="549" y="481"/>
                    </a:lnTo>
                    <a:lnTo>
                      <a:pt x="592" y="486"/>
                    </a:lnTo>
                    <a:lnTo>
                      <a:pt x="639" y="492"/>
                    </a:lnTo>
                    <a:lnTo>
                      <a:pt x="685" y="496"/>
                    </a:lnTo>
                    <a:lnTo>
                      <a:pt x="733" y="500"/>
                    </a:lnTo>
                    <a:lnTo>
                      <a:pt x="784" y="504"/>
                    </a:lnTo>
                    <a:lnTo>
                      <a:pt x="836" y="506"/>
                    </a:lnTo>
                    <a:lnTo>
                      <a:pt x="887" y="508"/>
                    </a:lnTo>
                    <a:lnTo>
                      <a:pt x="942" y="508"/>
                    </a:lnTo>
                    <a:lnTo>
                      <a:pt x="942" y="508"/>
                    </a:lnTo>
                    <a:lnTo>
                      <a:pt x="996" y="508"/>
                    </a:lnTo>
                    <a:lnTo>
                      <a:pt x="1049" y="506"/>
                    </a:lnTo>
                    <a:lnTo>
                      <a:pt x="1101" y="504"/>
                    </a:lnTo>
                    <a:lnTo>
                      <a:pt x="1150" y="500"/>
                    </a:lnTo>
                    <a:lnTo>
                      <a:pt x="1199" y="496"/>
                    </a:lnTo>
                    <a:lnTo>
                      <a:pt x="1246" y="492"/>
                    </a:lnTo>
                    <a:lnTo>
                      <a:pt x="1291" y="486"/>
                    </a:lnTo>
                    <a:lnTo>
                      <a:pt x="1335" y="481"/>
                    </a:lnTo>
                    <a:lnTo>
                      <a:pt x="1378" y="473"/>
                    </a:lnTo>
                    <a:lnTo>
                      <a:pt x="1419" y="467"/>
                    </a:lnTo>
                    <a:lnTo>
                      <a:pt x="1459" y="460"/>
                    </a:lnTo>
                    <a:lnTo>
                      <a:pt x="1497" y="451"/>
                    </a:lnTo>
                    <a:lnTo>
                      <a:pt x="1532" y="442"/>
                    </a:lnTo>
                    <a:lnTo>
                      <a:pt x="1567" y="433"/>
                    </a:lnTo>
                    <a:lnTo>
                      <a:pt x="1600" y="424"/>
                    </a:lnTo>
                    <a:lnTo>
                      <a:pt x="1632" y="414"/>
                    </a:lnTo>
                    <a:lnTo>
                      <a:pt x="1661" y="404"/>
                    </a:lnTo>
                    <a:lnTo>
                      <a:pt x="1689" y="394"/>
                    </a:lnTo>
                    <a:lnTo>
                      <a:pt x="1715" y="384"/>
                    </a:lnTo>
                    <a:lnTo>
                      <a:pt x="1739" y="374"/>
                    </a:lnTo>
                    <a:lnTo>
                      <a:pt x="1762" y="362"/>
                    </a:lnTo>
                    <a:lnTo>
                      <a:pt x="1782" y="352"/>
                    </a:lnTo>
                    <a:lnTo>
                      <a:pt x="1801" y="342"/>
                    </a:lnTo>
                    <a:lnTo>
                      <a:pt x="1818" y="331"/>
                    </a:lnTo>
                    <a:lnTo>
                      <a:pt x="1834" y="321"/>
                    </a:lnTo>
                    <a:lnTo>
                      <a:pt x="1846" y="311"/>
                    </a:lnTo>
                    <a:lnTo>
                      <a:pt x="1858" y="301"/>
                    </a:lnTo>
                    <a:lnTo>
                      <a:pt x="1866" y="290"/>
                    </a:lnTo>
                    <a:lnTo>
                      <a:pt x="1874" y="280"/>
                    </a:lnTo>
                    <a:lnTo>
                      <a:pt x="1879" y="271"/>
                    </a:lnTo>
                    <a:lnTo>
                      <a:pt x="1882" y="263"/>
                    </a:lnTo>
                    <a:lnTo>
                      <a:pt x="1883" y="254"/>
                    </a:lnTo>
                    <a:lnTo>
                      <a:pt x="1883" y="254"/>
                    </a:lnTo>
                    <a:lnTo>
                      <a:pt x="1882" y="245"/>
                    </a:lnTo>
                    <a:lnTo>
                      <a:pt x="1879" y="236"/>
                    </a:lnTo>
                    <a:lnTo>
                      <a:pt x="1874" y="226"/>
                    </a:lnTo>
                    <a:lnTo>
                      <a:pt x="1866" y="217"/>
                    </a:lnTo>
                    <a:lnTo>
                      <a:pt x="1858" y="207"/>
                    </a:lnTo>
                    <a:lnTo>
                      <a:pt x="1846" y="197"/>
                    </a:lnTo>
                    <a:lnTo>
                      <a:pt x="1834" y="187"/>
                    </a:lnTo>
                    <a:lnTo>
                      <a:pt x="1818" y="176"/>
                    </a:lnTo>
                    <a:lnTo>
                      <a:pt x="1801" y="165"/>
                    </a:lnTo>
                    <a:lnTo>
                      <a:pt x="1782" y="155"/>
                    </a:lnTo>
                    <a:lnTo>
                      <a:pt x="1762" y="144"/>
                    </a:lnTo>
                    <a:lnTo>
                      <a:pt x="1739" y="134"/>
                    </a:lnTo>
                    <a:lnTo>
                      <a:pt x="1715" y="124"/>
                    </a:lnTo>
                    <a:lnTo>
                      <a:pt x="1689" y="114"/>
                    </a:lnTo>
                    <a:lnTo>
                      <a:pt x="1661" y="102"/>
                    </a:lnTo>
                    <a:lnTo>
                      <a:pt x="1632" y="93"/>
                    </a:lnTo>
                    <a:lnTo>
                      <a:pt x="1600" y="83"/>
                    </a:lnTo>
                    <a:lnTo>
                      <a:pt x="1567" y="74"/>
                    </a:lnTo>
                    <a:lnTo>
                      <a:pt x="1532" y="64"/>
                    </a:lnTo>
                    <a:lnTo>
                      <a:pt x="1497" y="57"/>
                    </a:lnTo>
                    <a:lnTo>
                      <a:pt x="1459" y="48"/>
                    </a:lnTo>
                    <a:lnTo>
                      <a:pt x="1419" y="40"/>
                    </a:lnTo>
                    <a:lnTo>
                      <a:pt x="1378" y="33"/>
                    </a:lnTo>
                    <a:lnTo>
                      <a:pt x="1335" y="27"/>
                    </a:lnTo>
                    <a:lnTo>
                      <a:pt x="1291" y="20"/>
                    </a:lnTo>
                    <a:lnTo>
                      <a:pt x="1246" y="15"/>
                    </a:lnTo>
                    <a:lnTo>
                      <a:pt x="1199" y="10"/>
                    </a:lnTo>
                    <a:lnTo>
                      <a:pt x="1150" y="6"/>
                    </a:lnTo>
                    <a:lnTo>
                      <a:pt x="1101" y="4"/>
                    </a:lnTo>
                    <a:lnTo>
                      <a:pt x="1049" y="1"/>
                    </a:lnTo>
                    <a:lnTo>
                      <a:pt x="996" y="0"/>
                    </a:lnTo>
                    <a:lnTo>
                      <a:pt x="942" y="0"/>
                    </a:lnTo>
                    <a:lnTo>
                      <a:pt x="942" y="0"/>
                    </a:lnTo>
                    <a:lnTo>
                      <a:pt x="887" y="0"/>
                    </a:lnTo>
                    <a:lnTo>
                      <a:pt x="836" y="1"/>
                    </a:lnTo>
                    <a:lnTo>
                      <a:pt x="784" y="4"/>
                    </a:lnTo>
                    <a:lnTo>
                      <a:pt x="733" y="6"/>
                    </a:lnTo>
                    <a:lnTo>
                      <a:pt x="685" y="10"/>
                    </a:lnTo>
                    <a:lnTo>
                      <a:pt x="639" y="15"/>
                    </a:lnTo>
                    <a:lnTo>
                      <a:pt x="592" y="20"/>
                    </a:lnTo>
                    <a:lnTo>
                      <a:pt x="549" y="27"/>
                    </a:lnTo>
                    <a:lnTo>
                      <a:pt x="506" y="33"/>
                    </a:lnTo>
                    <a:lnTo>
                      <a:pt x="465" y="40"/>
                    </a:lnTo>
                    <a:lnTo>
                      <a:pt x="426" y="48"/>
                    </a:lnTo>
                    <a:lnTo>
                      <a:pt x="388" y="57"/>
                    </a:lnTo>
                    <a:lnTo>
                      <a:pt x="351" y="64"/>
                    </a:lnTo>
                    <a:lnTo>
                      <a:pt x="317" y="74"/>
                    </a:lnTo>
                    <a:lnTo>
                      <a:pt x="284" y="83"/>
                    </a:lnTo>
                    <a:lnTo>
                      <a:pt x="253" y="93"/>
                    </a:lnTo>
                    <a:lnTo>
                      <a:pt x="222" y="102"/>
                    </a:lnTo>
                    <a:lnTo>
                      <a:pt x="195" y="114"/>
                    </a:lnTo>
                    <a:lnTo>
                      <a:pt x="169" y="124"/>
                    </a:lnTo>
                    <a:lnTo>
                      <a:pt x="144" y="134"/>
                    </a:lnTo>
                    <a:lnTo>
                      <a:pt x="122" y="144"/>
                    </a:lnTo>
                    <a:lnTo>
                      <a:pt x="101" y="155"/>
                    </a:lnTo>
                    <a:lnTo>
                      <a:pt x="82" y="165"/>
                    </a:lnTo>
                    <a:lnTo>
                      <a:pt x="66" y="176"/>
                    </a:lnTo>
                    <a:lnTo>
                      <a:pt x="51" y="187"/>
                    </a:lnTo>
                    <a:lnTo>
                      <a:pt x="37" y="197"/>
                    </a:lnTo>
                    <a:lnTo>
                      <a:pt x="27" y="207"/>
                    </a:lnTo>
                    <a:lnTo>
                      <a:pt x="17" y="217"/>
                    </a:lnTo>
                    <a:lnTo>
                      <a:pt x="11" y="226"/>
                    </a:lnTo>
                    <a:lnTo>
                      <a:pt x="5" y="236"/>
                    </a:lnTo>
                    <a:lnTo>
                      <a:pt x="2" y="245"/>
                    </a:lnTo>
                    <a:lnTo>
                      <a:pt x="0" y="254"/>
                    </a:lnTo>
                    <a:lnTo>
                      <a:pt x="0"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447" name="Freeform 17"/>
              <p:cNvSpPr>
                <a:spLocks/>
              </p:cNvSpPr>
              <p:nvPr/>
            </p:nvSpPr>
            <p:spPr bwMode="auto">
              <a:xfrm>
                <a:off x="3473450" y="4781550"/>
                <a:ext cx="1741488" cy="1411287"/>
              </a:xfrm>
              <a:custGeom>
                <a:avLst/>
                <a:gdLst>
                  <a:gd name="T0" fmla="*/ 280 w 2194"/>
                  <a:gd name="T1" fmla="*/ 1778 h 1779"/>
                  <a:gd name="T2" fmla="*/ 363 w 2194"/>
                  <a:gd name="T3" fmla="*/ 1764 h 1779"/>
                  <a:gd name="T4" fmla="*/ 440 w 2194"/>
                  <a:gd name="T5" fmla="*/ 1736 h 1779"/>
                  <a:gd name="T6" fmla="*/ 511 w 2194"/>
                  <a:gd name="T7" fmla="*/ 1693 h 1779"/>
                  <a:gd name="T8" fmla="*/ 573 w 2194"/>
                  <a:gd name="T9" fmla="*/ 1637 h 1779"/>
                  <a:gd name="T10" fmla="*/ 625 w 2194"/>
                  <a:gd name="T11" fmla="*/ 1569 h 1779"/>
                  <a:gd name="T12" fmla="*/ 633 w 2194"/>
                  <a:gd name="T13" fmla="*/ 1558 h 1779"/>
                  <a:gd name="T14" fmla="*/ 652 w 2194"/>
                  <a:gd name="T15" fmla="*/ 1547 h 1779"/>
                  <a:gd name="T16" fmla="*/ 675 w 2194"/>
                  <a:gd name="T17" fmla="*/ 1543 h 1779"/>
                  <a:gd name="T18" fmla="*/ 696 w 2194"/>
                  <a:gd name="T19" fmla="*/ 1547 h 1779"/>
                  <a:gd name="T20" fmla="*/ 715 w 2194"/>
                  <a:gd name="T21" fmla="*/ 1558 h 1779"/>
                  <a:gd name="T22" fmla="*/ 725 w 2194"/>
                  <a:gd name="T23" fmla="*/ 1569 h 1779"/>
                  <a:gd name="T24" fmla="*/ 776 w 2194"/>
                  <a:gd name="T25" fmla="*/ 1637 h 1779"/>
                  <a:gd name="T26" fmla="*/ 838 w 2194"/>
                  <a:gd name="T27" fmla="*/ 1693 h 1779"/>
                  <a:gd name="T28" fmla="*/ 908 w 2194"/>
                  <a:gd name="T29" fmla="*/ 1736 h 1779"/>
                  <a:gd name="T30" fmla="*/ 985 w 2194"/>
                  <a:gd name="T31" fmla="*/ 1764 h 1779"/>
                  <a:gd name="T32" fmla="*/ 1069 w 2194"/>
                  <a:gd name="T33" fmla="*/ 1778 h 1779"/>
                  <a:gd name="T34" fmla="*/ 1125 w 2194"/>
                  <a:gd name="T35" fmla="*/ 1778 h 1779"/>
                  <a:gd name="T36" fmla="*/ 1209 w 2194"/>
                  <a:gd name="T37" fmla="*/ 1764 h 1779"/>
                  <a:gd name="T38" fmla="*/ 1286 w 2194"/>
                  <a:gd name="T39" fmla="*/ 1736 h 1779"/>
                  <a:gd name="T40" fmla="*/ 1356 w 2194"/>
                  <a:gd name="T41" fmla="*/ 1693 h 1779"/>
                  <a:gd name="T42" fmla="*/ 1418 w 2194"/>
                  <a:gd name="T43" fmla="*/ 1637 h 1779"/>
                  <a:gd name="T44" fmla="*/ 1470 w 2194"/>
                  <a:gd name="T45" fmla="*/ 1569 h 1779"/>
                  <a:gd name="T46" fmla="*/ 1479 w 2194"/>
                  <a:gd name="T47" fmla="*/ 1558 h 1779"/>
                  <a:gd name="T48" fmla="*/ 1498 w 2194"/>
                  <a:gd name="T49" fmla="*/ 1547 h 1779"/>
                  <a:gd name="T50" fmla="*/ 1519 w 2194"/>
                  <a:gd name="T51" fmla="*/ 1543 h 1779"/>
                  <a:gd name="T52" fmla="*/ 1542 w 2194"/>
                  <a:gd name="T53" fmla="*/ 1547 h 1779"/>
                  <a:gd name="T54" fmla="*/ 1561 w 2194"/>
                  <a:gd name="T55" fmla="*/ 1558 h 1779"/>
                  <a:gd name="T56" fmla="*/ 1569 w 2194"/>
                  <a:gd name="T57" fmla="*/ 1569 h 1779"/>
                  <a:gd name="T58" fmla="*/ 1621 w 2194"/>
                  <a:gd name="T59" fmla="*/ 1637 h 1779"/>
                  <a:gd name="T60" fmla="*/ 1683 w 2194"/>
                  <a:gd name="T61" fmla="*/ 1693 h 1779"/>
                  <a:gd name="T62" fmla="*/ 1754 w 2194"/>
                  <a:gd name="T63" fmla="*/ 1736 h 1779"/>
                  <a:gd name="T64" fmla="*/ 1831 w 2194"/>
                  <a:gd name="T65" fmla="*/ 1764 h 1779"/>
                  <a:gd name="T66" fmla="*/ 1914 w 2194"/>
                  <a:gd name="T67" fmla="*/ 1778 h 1779"/>
                  <a:gd name="T68" fmla="*/ 1977 w 2194"/>
                  <a:gd name="T69" fmla="*/ 1778 h 1779"/>
                  <a:gd name="T70" fmla="*/ 2077 w 2194"/>
                  <a:gd name="T71" fmla="*/ 1757 h 1779"/>
                  <a:gd name="T72" fmla="*/ 2166 w 2194"/>
                  <a:gd name="T73" fmla="*/ 1716 h 1779"/>
                  <a:gd name="T74" fmla="*/ 2194 w 2194"/>
                  <a:gd name="T75" fmla="*/ 0 h 1779"/>
                  <a:gd name="T76" fmla="*/ 2190 w 2194"/>
                  <a:gd name="T77" fmla="*/ 39 h 1779"/>
                  <a:gd name="T78" fmla="*/ 2179 w 2194"/>
                  <a:gd name="T79" fmla="*/ 77 h 1779"/>
                  <a:gd name="T80" fmla="*/ 2154 w 2194"/>
                  <a:gd name="T81" fmla="*/ 125 h 1779"/>
                  <a:gd name="T82" fmla="*/ 2097 w 2194"/>
                  <a:gd name="T83" fmla="*/ 189 h 1779"/>
                  <a:gd name="T84" fmla="*/ 2016 w 2194"/>
                  <a:gd name="T85" fmla="*/ 247 h 1779"/>
                  <a:gd name="T86" fmla="*/ 1916 w 2194"/>
                  <a:gd name="T87" fmla="*/ 297 h 1779"/>
                  <a:gd name="T88" fmla="*/ 1800 w 2194"/>
                  <a:gd name="T89" fmla="*/ 339 h 1779"/>
                  <a:gd name="T90" fmla="*/ 1670 w 2194"/>
                  <a:gd name="T91" fmla="*/ 375 h 1779"/>
                  <a:gd name="T92" fmla="*/ 1529 w 2194"/>
                  <a:gd name="T93" fmla="*/ 401 h 1779"/>
                  <a:gd name="T94" fmla="*/ 1380 w 2194"/>
                  <a:gd name="T95" fmla="*/ 422 h 1779"/>
                  <a:gd name="T96" fmla="*/ 1226 w 2194"/>
                  <a:gd name="T97" fmla="*/ 433 h 1779"/>
                  <a:gd name="T98" fmla="*/ 1069 w 2194"/>
                  <a:gd name="T99" fmla="*/ 437 h 1779"/>
                  <a:gd name="T100" fmla="*/ 900 w 2194"/>
                  <a:gd name="T101" fmla="*/ 433 h 1779"/>
                  <a:gd name="T102" fmla="*/ 651 w 2194"/>
                  <a:gd name="T103" fmla="*/ 409 h 1779"/>
                  <a:gd name="T104" fmla="*/ 423 w 2194"/>
                  <a:gd name="T105" fmla="*/ 363 h 1779"/>
                  <a:gd name="T106" fmla="*/ 320 w 2194"/>
                  <a:gd name="T107" fmla="*/ 334 h 1779"/>
                  <a:gd name="T108" fmla="*/ 226 w 2194"/>
                  <a:gd name="T109" fmla="*/ 299 h 1779"/>
                  <a:gd name="T110" fmla="*/ 144 w 2194"/>
                  <a:gd name="T111" fmla="*/ 259 h 1779"/>
                  <a:gd name="T112" fmla="*/ 73 w 2194"/>
                  <a:gd name="T113" fmla="*/ 214 h 1779"/>
                  <a:gd name="T114" fmla="*/ 16 w 2194"/>
                  <a:gd name="T115" fmla="*/ 165 h 1779"/>
                  <a:gd name="T116" fmla="*/ 0 w 2194"/>
                  <a:gd name="T117" fmla="*/ 1698 h 1779"/>
                  <a:gd name="T118" fmla="*/ 87 w 2194"/>
                  <a:gd name="T119" fmla="*/ 1746 h 1779"/>
                  <a:gd name="T120" fmla="*/ 183 w 2194"/>
                  <a:gd name="T121" fmla="*/ 1773 h 1779"/>
                  <a:gd name="T122" fmla="*/ 252 w 2194"/>
                  <a:gd name="T123" fmla="*/ 1779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94" h="1779">
                    <a:moveTo>
                      <a:pt x="252" y="1779"/>
                    </a:moveTo>
                    <a:lnTo>
                      <a:pt x="252" y="1779"/>
                    </a:lnTo>
                    <a:lnTo>
                      <a:pt x="280" y="1778"/>
                    </a:lnTo>
                    <a:lnTo>
                      <a:pt x="308" y="1775"/>
                    </a:lnTo>
                    <a:lnTo>
                      <a:pt x="336" y="1770"/>
                    </a:lnTo>
                    <a:lnTo>
                      <a:pt x="363" y="1764"/>
                    </a:lnTo>
                    <a:lnTo>
                      <a:pt x="390" y="1756"/>
                    </a:lnTo>
                    <a:lnTo>
                      <a:pt x="415" y="1747"/>
                    </a:lnTo>
                    <a:lnTo>
                      <a:pt x="440" y="1736"/>
                    </a:lnTo>
                    <a:lnTo>
                      <a:pt x="466" y="1723"/>
                    </a:lnTo>
                    <a:lnTo>
                      <a:pt x="488" y="1709"/>
                    </a:lnTo>
                    <a:lnTo>
                      <a:pt x="511" y="1693"/>
                    </a:lnTo>
                    <a:lnTo>
                      <a:pt x="532" y="1675"/>
                    </a:lnTo>
                    <a:lnTo>
                      <a:pt x="554" y="1658"/>
                    </a:lnTo>
                    <a:lnTo>
                      <a:pt x="573" y="1637"/>
                    </a:lnTo>
                    <a:lnTo>
                      <a:pt x="592" y="1616"/>
                    </a:lnTo>
                    <a:lnTo>
                      <a:pt x="608" y="1593"/>
                    </a:lnTo>
                    <a:lnTo>
                      <a:pt x="625" y="1569"/>
                    </a:lnTo>
                    <a:lnTo>
                      <a:pt x="625" y="1569"/>
                    </a:lnTo>
                    <a:lnTo>
                      <a:pt x="628" y="1563"/>
                    </a:lnTo>
                    <a:lnTo>
                      <a:pt x="633" y="1558"/>
                    </a:lnTo>
                    <a:lnTo>
                      <a:pt x="640" y="1554"/>
                    </a:lnTo>
                    <a:lnTo>
                      <a:pt x="646" y="1550"/>
                    </a:lnTo>
                    <a:lnTo>
                      <a:pt x="652" y="1547"/>
                    </a:lnTo>
                    <a:lnTo>
                      <a:pt x="660" y="1545"/>
                    </a:lnTo>
                    <a:lnTo>
                      <a:pt x="667" y="1544"/>
                    </a:lnTo>
                    <a:lnTo>
                      <a:pt x="675" y="1543"/>
                    </a:lnTo>
                    <a:lnTo>
                      <a:pt x="681" y="1544"/>
                    </a:lnTo>
                    <a:lnTo>
                      <a:pt x="689" y="1545"/>
                    </a:lnTo>
                    <a:lnTo>
                      <a:pt x="696" y="1547"/>
                    </a:lnTo>
                    <a:lnTo>
                      <a:pt x="703" y="1550"/>
                    </a:lnTo>
                    <a:lnTo>
                      <a:pt x="709" y="1554"/>
                    </a:lnTo>
                    <a:lnTo>
                      <a:pt x="715" y="1558"/>
                    </a:lnTo>
                    <a:lnTo>
                      <a:pt x="720" y="1563"/>
                    </a:lnTo>
                    <a:lnTo>
                      <a:pt x="725" y="1569"/>
                    </a:lnTo>
                    <a:lnTo>
                      <a:pt x="725" y="1569"/>
                    </a:lnTo>
                    <a:lnTo>
                      <a:pt x="741" y="1593"/>
                    </a:lnTo>
                    <a:lnTo>
                      <a:pt x="758" y="1616"/>
                    </a:lnTo>
                    <a:lnTo>
                      <a:pt x="776" y="1637"/>
                    </a:lnTo>
                    <a:lnTo>
                      <a:pt x="796" y="1658"/>
                    </a:lnTo>
                    <a:lnTo>
                      <a:pt x="816" y="1675"/>
                    </a:lnTo>
                    <a:lnTo>
                      <a:pt x="838" y="1693"/>
                    </a:lnTo>
                    <a:lnTo>
                      <a:pt x="860" y="1709"/>
                    </a:lnTo>
                    <a:lnTo>
                      <a:pt x="884" y="1723"/>
                    </a:lnTo>
                    <a:lnTo>
                      <a:pt x="908" y="1736"/>
                    </a:lnTo>
                    <a:lnTo>
                      <a:pt x="934" y="1747"/>
                    </a:lnTo>
                    <a:lnTo>
                      <a:pt x="959" y="1756"/>
                    </a:lnTo>
                    <a:lnTo>
                      <a:pt x="985" y="1764"/>
                    </a:lnTo>
                    <a:lnTo>
                      <a:pt x="1013" y="1770"/>
                    </a:lnTo>
                    <a:lnTo>
                      <a:pt x="1041" y="1775"/>
                    </a:lnTo>
                    <a:lnTo>
                      <a:pt x="1069" y="1778"/>
                    </a:lnTo>
                    <a:lnTo>
                      <a:pt x="1098" y="1779"/>
                    </a:lnTo>
                    <a:lnTo>
                      <a:pt x="1098" y="1779"/>
                    </a:lnTo>
                    <a:lnTo>
                      <a:pt x="1125" y="1778"/>
                    </a:lnTo>
                    <a:lnTo>
                      <a:pt x="1153" y="1775"/>
                    </a:lnTo>
                    <a:lnTo>
                      <a:pt x="1181" y="1770"/>
                    </a:lnTo>
                    <a:lnTo>
                      <a:pt x="1209" y="1764"/>
                    </a:lnTo>
                    <a:lnTo>
                      <a:pt x="1235" y="1756"/>
                    </a:lnTo>
                    <a:lnTo>
                      <a:pt x="1260" y="1747"/>
                    </a:lnTo>
                    <a:lnTo>
                      <a:pt x="1286" y="1736"/>
                    </a:lnTo>
                    <a:lnTo>
                      <a:pt x="1310" y="1723"/>
                    </a:lnTo>
                    <a:lnTo>
                      <a:pt x="1334" y="1709"/>
                    </a:lnTo>
                    <a:lnTo>
                      <a:pt x="1356" y="1693"/>
                    </a:lnTo>
                    <a:lnTo>
                      <a:pt x="1378" y="1675"/>
                    </a:lnTo>
                    <a:lnTo>
                      <a:pt x="1399" y="1658"/>
                    </a:lnTo>
                    <a:lnTo>
                      <a:pt x="1418" y="1637"/>
                    </a:lnTo>
                    <a:lnTo>
                      <a:pt x="1436" y="1616"/>
                    </a:lnTo>
                    <a:lnTo>
                      <a:pt x="1453" y="1593"/>
                    </a:lnTo>
                    <a:lnTo>
                      <a:pt x="1470" y="1569"/>
                    </a:lnTo>
                    <a:lnTo>
                      <a:pt x="1470" y="1569"/>
                    </a:lnTo>
                    <a:lnTo>
                      <a:pt x="1474" y="1563"/>
                    </a:lnTo>
                    <a:lnTo>
                      <a:pt x="1479" y="1558"/>
                    </a:lnTo>
                    <a:lnTo>
                      <a:pt x="1485" y="1554"/>
                    </a:lnTo>
                    <a:lnTo>
                      <a:pt x="1491" y="1550"/>
                    </a:lnTo>
                    <a:lnTo>
                      <a:pt x="1498" y="1547"/>
                    </a:lnTo>
                    <a:lnTo>
                      <a:pt x="1505" y="1545"/>
                    </a:lnTo>
                    <a:lnTo>
                      <a:pt x="1513" y="1544"/>
                    </a:lnTo>
                    <a:lnTo>
                      <a:pt x="1519" y="1543"/>
                    </a:lnTo>
                    <a:lnTo>
                      <a:pt x="1527" y="1544"/>
                    </a:lnTo>
                    <a:lnTo>
                      <a:pt x="1534" y="1545"/>
                    </a:lnTo>
                    <a:lnTo>
                      <a:pt x="1542" y="1547"/>
                    </a:lnTo>
                    <a:lnTo>
                      <a:pt x="1548" y="1550"/>
                    </a:lnTo>
                    <a:lnTo>
                      <a:pt x="1554" y="1554"/>
                    </a:lnTo>
                    <a:lnTo>
                      <a:pt x="1561" y="1558"/>
                    </a:lnTo>
                    <a:lnTo>
                      <a:pt x="1566" y="1563"/>
                    </a:lnTo>
                    <a:lnTo>
                      <a:pt x="1569" y="1569"/>
                    </a:lnTo>
                    <a:lnTo>
                      <a:pt x="1569" y="1569"/>
                    </a:lnTo>
                    <a:lnTo>
                      <a:pt x="1586" y="1593"/>
                    </a:lnTo>
                    <a:lnTo>
                      <a:pt x="1602" y="1616"/>
                    </a:lnTo>
                    <a:lnTo>
                      <a:pt x="1621" y="1637"/>
                    </a:lnTo>
                    <a:lnTo>
                      <a:pt x="1640" y="1658"/>
                    </a:lnTo>
                    <a:lnTo>
                      <a:pt x="1662" y="1675"/>
                    </a:lnTo>
                    <a:lnTo>
                      <a:pt x="1683" y="1693"/>
                    </a:lnTo>
                    <a:lnTo>
                      <a:pt x="1706" y="1709"/>
                    </a:lnTo>
                    <a:lnTo>
                      <a:pt x="1728" y="1723"/>
                    </a:lnTo>
                    <a:lnTo>
                      <a:pt x="1754" y="1736"/>
                    </a:lnTo>
                    <a:lnTo>
                      <a:pt x="1779" y="1747"/>
                    </a:lnTo>
                    <a:lnTo>
                      <a:pt x="1804" y="1756"/>
                    </a:lnTo>
                    <a:lnTo>
                      <a:pt x="1831" y="1764"/>
                    </a:lnTo>
                    <a:lnTo>
                      <a:pt x="1858" y="1770"/>
                    </a:lnTo>
                    <a:lnTo>
                      <a:pt x="1886" y="1775"/>
                    </a:lnTo>
                    <a:lnTo>
                      <a:pt x="1914" y="1778"/>
                    </a:lnTo>
                    <a:lnTo>
                      <a:pt x="1942" y="1779"/>
                    </a:lnTo>
                    <a:lnTo>
                      <a:pt x="1942" y="1779"/>
                    </a:lnTo>
                    <a:lnTo>
                      <a:pt x="1977" y="1778"/>
                    </a:lnTo>
                    <a:lnTo>
                      <a:pt x="2011" y="1773"/>
                    </a:lnTo>
                    <a:lnTo>
                      <a:pt x="2044" y="1766"/>
                    </a:lnTo>
                    <a:lnTo>
                      <a:pt x="2077" y="1757"/>
                    </a:lnTo>
                    <a:lnTo>
                      <a:pt x="2107" y="1746"/>
                    </a:lnTo>
                    <a:lnTo>
                      <a:pt x="2137" y="1732"/>
                    </a:lnTo>
                    <a:lnTo>
                      <a:pt x="2166" y="1716"/>
                    </a:lnTo>
                    <a:lnTo>
                      <a:pt x="2194" y="1698"/>
                    </a:lnTo>
                    <a:lnTo>
                      <a:pt x="2194" y="0"/>
                    </a:lnTo>
                    <a:lnTo>
                      <a:pt x="2194" y="0"/>
                    </a:lnTo>
                    <a:lnTo>
                      <a:pt x="2193" y="12"/>
                    </a:lnTo>
                    <a:lnTo>
                      <a:pt x="2191" y="26"/>
                    </a:lnTo>
                    <a:lnTo>
                      <a:pt x="2190" y="39"/>
                    </a:lnTo>
                    <a:lnTo>
                      <a:pt x="2186" y="52"/>
                    </a:lnTo>
                    <a:lnTo>
                      <a:pt x="2184" y="64"/>
                    </a:lnTo>
                    <a:lnTo>
                      <a:pt x="2179" y="77"/>
                    </a:lnTo>
                    <a:lnTo>
                      <a:pt x="2174" y="89"/>
                    </a:lnTo>
                    <a:lnTo>
                      <a:pt x="2168" y="101"/>
                    </a:lnTo>
                    <a:lnTo>
                      <a:pt x="2154" y="125"/>
                    </a:lnTo>
                    <a:lnTo>
                      <a:pt x="2137" y="146"/>
                    </a:lnTo>
                    <a:lnTo>
                      <a:pt x="2118" y="169"/>
                    </a:lnTo>
                    <a:lnTo>
                      <a:pt x="2097" y="189"/>
                    </a:lnTo>
                    <a:lnTo>
                      <a:pt x="2072" y="209"/>
                    </a:lnTo>
                    <a:lnTo>
                      <a:pt x="2045" y="228"/>
                    </a:lnTo>
                    <a:lnTo>
                      <a:pt x="2016" y="247"/>
                    </a:lnTo>
                    <a:lnTo>
                      <a:pt x="1985" y="265"/>
                    </a:lnTo>
                    <a:lnTo>
                      <a:pt x="1952" y="281"/>
                    </a:lnTo>
                    <a:lnTo>
                      <a:pt x="1916" y="297"/>
                    </a:lnTo>
                    <a:lnTo>
                      <a:pt x="1880" y="312"/>
                    </a:lnTo>
                    <a:lnTo>
                      <a:pt x="1841" y="327"/>
                    </a:lnTo>
                    <a:lnTo>
                      <a:pt x="1800" y="339"/>
                    </a:lnTo>
                    <a:lnTo>
                      <a:pt x="1759" y="352"/>
                    </a:lnTo>
                    <a:lnTo>
                      <a:pt x="1715" y="363"/>
                    </a:lnTo>
                    <a:lnTo>
                      <a:pt x="1670" y="375"/>
                    </a:lnTo>
                    <a:lnTo>
                      <a:pt x="1625" y="385"/>
                    </a:lnTo>
                    <a:lnTo>
                      <a:pt x="1577" y="394"/>
                    </a:lnTo>
                    <a:lnTo>
                      <a:pt x="1529" y="401"/>
                    </a:lnTo>
                    <a:lnTo>
                      <a:pt x="1480" y="409"/>
                    </a:lnTo>
                    <a:lnTo>
                      <a:pt x="1431" y="415"/>
                    </a:lnTo>
                    <a:lnTo>
                      <a:pt x="1380" y="422"/>
                    </a:lnTo>
                    <a:lnTo>
                      <a:pt x="1330" y="427"/>
                    </a:lnTo>
                    <a:lnTo>
                      <a:pt x="1278" y="430"/>
                    </a:lnTo>
                    <a:lnTo>
                      <a:pt x="1226" y="433"/>
                    </a:lnTo>
                    <a:lnTo>
                      <a:pt x="1173" y="435"/>
                    </a:lnTo>
                    <a:lnTo>
                      <a:pt x="1122" y="437"/>
                    </a:lnTo>
                    <a:lnTo>
                      <a:pt x="1069" y="437"/>
                    </a:lnTo>
                    <a:lnTo>
                      <a:pt x="1069" y="437"/>
                    </a:lnTo>
                    <a:lnTo>
                      <a:pt x="984" y="437"/>
                    </a:lnTo>
                    <a:lnTo>
                      <a:pt x="900" y="433"/>
                    </a:lnTo>
                    <a:lnTo>
                      <a:pt x="815" y="427"/>
                    </a:lnTo>
                    <a:lnTo>
                      <a:pt x="733" y="419"/>
                    </a:lnTo>
                    <a:lnTo>
                      <a:pt x="651" y="409"/>
                    </a:lnTo>
                    <a:lnTo>
                      <a:pt x="573" y="396"/>
                    </a:lnTo>
                    <a:lnTo>
                      <a:pt x="496" y="381"/>
                    </a:lnTo>
                    <a:lnTo>
                      <a:pt x="423" y="363"/>
                    </a:lnTo>
                    <a:lnTo>
                      <a:pt x="387" y="355"/>
                    </a:lnTo>
                    <a:lnTo>
                      <a:pt x="353" y="344"/>
                    </a:lnTo>
                    <a:lnTo>
                      <a:pt x="320" y="334"/>
                    </a:lnTo>
                    <a:lnTo>
                      <a:pt x="288" y="323"/>
                    </a:lnTo>
                    <a:lnTo>
                      <a:pt x="256" y="312"/>
                    </a:lnTo>
                    <a:lnTo>
                      <a:pt x="226" y="299"/>
                    </a:lnTo>
                    <a:lnTo>
                      <a:pt x="197" y="286"/>
                    </a:lnTo>
                    <a:lnTo>
                      <a:pt x="169" y="273"/>
                    </a:lnTo>
                    <a:lnTo>
                      <a:pt x="144" y="259"/>
                    </a:lnTo>
                    <a:lnTo>
                      <a:pt x="119" y="245"/>
                    </a:lnTo>
                    <a:lnTo>
                      <a:pt x="95" y="230"/>
                    </a:lnTo>
                    <a:lnTo>
                      <a:pt x="73" y="214"/>
                    </a:lnTo>
                    <a:lnTo>
                      <a:pt x="52" y="198"/>
                    </a:lnTo>
                    <a:lnTo>
                      <a:pt x="33" y="182"/>
                    </a:lnTo>
                    <a:lnTo>
                      <a:pt x="16" y="165"/>
                    </a:lnTo>
                    <a:lnTo>
                      <a:pt x="0" y="148"/>
                    </a:lnTo>
                    <a:lnTo>
                      <a:pt x="0" y="1698"/>
                    </a:lnTo>
                    <a:lnTo>
                      <a:pt x="0" y="1698"/>
                    </a:lnTo>
                    <a:lnTo>
                      <a:pt x="28" y="1716"/>
                    </a:lnTo>
                    <a:lnTo>
                      <a:pt x="57" y="1732"/>
                    </a:lnTo>
                    <a:lnTo>
                      <a:pt x="87" y="1746"/>
                    </a:lnTo>
                    <a:lnTo>
                      <a:pt x="117" y="1757"/>
                    </a:lnTo>
                    <a:lnTo>
                      <a:pt x="150" y="1766"/>
                    </a:lnTo>
                    <a:lnTo>
                      <a:pt x="183" y="1773"/>
                    </a:lnTo>
                    <a:lnTo>
                      <a:pt x="217" y="1778"/>
                    </a:lnTo>
                    <a:lnTo>
                      <a:pt x="252" y="1779"/>
                    </a:lnTo>
                    <a:lnTo>
                      <a:pt x="252" y="1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448" name="Freeform 18"/>
              <p:cNvSpPr>
                <a:spLocks/>
              </p:cNvSpPr>
              <p:nvPr/>
            </p:nvSpPr>
            <p:spPr bwMode="auto">
              <a:xfrm>
                <a:off x="3473450" y="6130925"/>
                <a:ext cx="1741488" cy="727075"/>
              </a:xfrm>
              <a:custGeom>
                <a:avLst/>
                <a:gdLst>
                  <a:gd name="T0" fmla="*/ 1911 w 2194"/>
                  <a:gd name="T1" fmla="*/ 195 h 915"/>
                  <a:gd name="T2" fmla="*/ 1821 w 2194"/>
                  <a:gd name="T3" fmla="*/ 183 h 915"/>
                  <a:gd name="T4" fmla="*/ 1736 w 2194"/>
                  <a:gd name="T5" fmla="*/ 156 h 915"/>
                  <a:gd name="T6" fmla="*/ 1655 w 2194"/>
                  <a:gd name="T7" fmla="*/ 117 h 915"/>
                  <a:gd name="T8" fmla="*/ 1583 w 2194"/>
                  <a:gd name="T9" fmla="*/ 64 h 915"/>
                  <a:gd name="T10" fmla="*/ 1519 w 2194"/>
                  <a:gd name="T11" fmla="*/ 0 h 915"/>
                  <a:gd name="T12" fmla="*/ 1479 w 2194"/>
                  <a:gd name="T13" fmla="*/ 44 h 915"/>
                  <a:gd name="T14" fmla="*/ 1408 w 2194"/>
                  <a:gd name="T15" fmla="*/ 101 h 915"/>
                  <a:gd name="T16" fmla="*/ 1331 w 2194"/>
                  <a:gd name="T17" fmla="*/ 145 h 915"/>
                  <a:gd name="T18" fmla="*/ 1247 w 2194"/>
                  <a:gd name="T19" fmla="*/ 175 h 915"/>
                  <a:gd name="T20" fmla="*/ 1158 w 2194"/>
                  <a:gd name="T21" fmla="*/ 193 h 915"/>
                  <a:gd name="T22" fmla="*/ 1098 w 2194"/>
                  <a:gd name="T23" fmla="*/ 195 h 915"/>
                  <a:gd name="T24" fmla="*/ 1006 w 2194"/>
                  <a:gd name="T25" fmla="*/ 188 h 915"/>
                  <a:gd name="T26" fmla="*/ 918 w 2194"/>
                  <a:gd name="T27" fmla="*/ 166 h 915"/>
                  <a:gd name="T28" fmla="*/ 836 w 2194"/>
                  <a:gd name="T29" fmla="*/ 131 h 915"/>
                  <a:gd name="T30" fmla="*/ 762 w 2194"/>
                  <a:gd name="T31" fmla="*/ 83 h 915"/>
                  <a:gd name="T32" fmla="*/ 695 w 2194"/>
                  <a:gd name="T33" fmla="*/ 22 h 915"/>
                  <a:gd name="T34" fmla="*/ 655 w 2194"/>
                  <a:gd name="T35" fmla="*/ 22 h 915"/>
                  <a:gd name="T36" fmla="*/ 588 w 2194"/>
                  <a:gd name="T37" fmla="*/ 83 h 915"/>
                  <a:gd name="T38" fmla="*/ 512 w 2194"/>
                  <a:gd name="T39" fmla="*/ 131 h 915"/>
                  <a:gd name="T40" fmla="*/ 430 w 2194"/>
                  <a:gd name="T41" fmla="*/ 166 h 915"/>
                  <a:gd name="T42" fmla="*/ 343 w 2194"/>
                  <a:gd name="T43" fmla="*/ 188 h 915"/>
                  <a:gd name="T44" fmla="*/ 252 w 2194"/>
                  <a:gd name="T45" fmla="*/ 195 h 915"/>
                  <a:gd name="T46" fmla="*/ 185 w 2194"/>
                  <a:gd name="T47" fmla="*/ 192 h 915"/>
                  <a:gd name="T48" fmla="*/ 90 w 2194"/>
                  <a:gd name="T49" fmla="*/ 171 h 915"/>
                  <a:gd name="T50" fmla="*/ 0 w 2194"/>
                  <a:gd name="T51" fmla="*/ 135 h 915"/>
                  <a:gd name="T52" fmla="*/ 15 w 2194"/>
                  <a:gd name="T53" fmla="*/ 703 h 915"/>
                  <a:gd name="T54" fmla="*/ 69 w 2194"/>
                  <a:gd name="T55" fmla="*/ 737 h 915"/>
                  <a:gd name="T56" fmla="*/ 136 w 2194"/>
                  <a:gd name="T57" fmla="*/ 770 h 915"/>
                  <a:gd name="T58" fmla="*/ 274 w 2194"/>
                  <a:gd name="T59" fmla="*/ 819 h 915"/>
                  <a:gd name="T60" fmla="*/ 477 w 2194"/>
                  <a:gd name="T61" fmla="*/ 866 h 915"/>
                  <a:gd name="T62" fmla="*/ 713 w 2194"/>
                  <a:gd name="T63" fmla="*/ 899 h 915"/>
                  <a:gd name="T64" fmla="*/ 975 w 2194"/>
                  <a:gd name="T65" fmla="*/ 914 h 915"/>
                  <a:gd name="T66" fmla="*/ 1125 w 2194"/>
                  <a:gd name="T67" fmla="*/ 915 h 915"/>
                  <a:gd name="T68" fmla="*/ 1294 w 2194"/>
                  <a:gd name="T69" fmla="*/ 909 h 915"/>
                  <a:gd name="T70" fmla="*/ 1455 w 2194"/>
                  <a:gd name="T71" fmla="*/ 895 h 915"/>
                  <a:gd name="T72" fmla="*/ 1604 w 2194"/>
                  <a:gd name="T73" fmla="*/ 875 h 915"/>
                  <a:gd name="T74" fmla="*/ 1741 w 2194"/>
                  <a:gd name="T75" fmla="*/ 849 h 915"/>
                  <a:gd name="T76" fmla="*/ 1863 w 2194"/>
                  <a:gd name="T77" fmla="*/ 818 h 915"/>
                  <a:gd name="T78" fmla="*/ 1969 w 2194"/>
                  <a:gd name="T79" fmla="*/ 782 h 915"/>
                  <a:gd name="T80" fmla="*/ 2058 w 2194"/>
                  <a:gd name="T81" fmla="*/ 742 h 915"/>
                  <a:gd name="T82" fmla="*/ 2125 w 2194"/>
                  <a:gd name="T83" fmla="*/ 698 h 915"/>
                  <a:gd name="T84" fmla="*/ 2170 w 2194"/>
                  <a:gd name="T85" fmla="*/ 651 h 915"/>
                  <a:gd name="T86" fmla="*/ 2191 w 2194"/>
                  <a:gd name="T87" fmla="*/ 601 h 915"/>
                  <a:gd name="T88" fmla="*/ 2194 w 2194"/>
                  <a:gd name="T89" fmla="*/ 135 h 915"/>
                  <a:gd name="T90" fmla="*/ 2104 w 2194"/>
                  <a:gd name="T91" fmla="*/ 171 h 915"/>
                  <a:gd name="T92" fmla="*/ 2009 w 2194"/>
                  <a:gd name="T93" fmla="*/ 192 h 915"/>
                  <a:gd name="T94" fmla="*/ 1942 w 2194"/>
                  <a:gd name="T95" fmla="*/ 19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94" h="915">
                    <a:moveTo>
                      <a:pt x="1942" y="195"/>
                    </a:moveTo>
                    <a:lnTo>
                      <a:pt x="1942" y="195"/>
                    </a:lnTo>
                    <a:lnTo>
                      <a:pt x="1911" y="195"/>
                    </a:lnTo>
                    <a:lnTo>
                      <a:pt x="1881" y="193"/>
                    </a:lnTo>
                    <a:lnTo>
                      <a:pt x="1851" y="188"/>
                    </a:lnTo>
                    <a:lnTo>
                      <a:pt x="1821" y="183"/>
                    </a:lnTo>
                    <a:lnTo>
                      <a:pt x="1792" y="175"/>
                    </a:lnTo>
                    <a:lnTo>
                      <a:pt x="1764" y="166"/>
                    </a:lnTo>
                    <a:lnTo>
                      <a:pt x="1736" y="156"/>
                    </a:lnTo>
                    <a:lnTo>
                      <a:pt x="1708" y="145"/>
                    </a:lnTo>
                    <a:lnTo>
                      <a:pt x="1682" y="131"/>
                    </a:lnTo>
                    <a:lnTo>
                      <a:pt x="1655" y="117"/>
                    </a:lnTo>
                    <a:lnTo>
                      <a:pt x="1631" y="101"/>
                    </a:lnTo>
                    <a:lnTo>
                      <a:pt x="1606" y="83"/>
                    </a:lnTo>
                    <a:lnTo>
                      <a:pt x="1583" y="64"/>
                    </a:lnTo>
                    <a:lnTo>
                      <a:pt x="1561" y="44"/>
                    </a:lnTo>
                    <a:lnTo>
                      <a:pt x="1539" y="22"/>
                    </a:lnTo>
                    <a:lnTo>
                      <a:pt x="1519" y="0"/>
                    </a:lnTo>
                    <a:lnTo>
                      <a:pt x="1519" y="0"/>
                    </a:lnTo>
                    <a:lnTo>
                      <a:pt x="1499" y="22"/>
                    </a:lnTo>
                    <a:lnTo>
                      <a:pt x="1479" y="44"/>
                    </a:lnTo>
                    <a:lnTo>
                      <a:pt x="1456" y="64"/>
                    </a:lnTo>
                    <a:lnTo>
                      <a:pt x="1432" y="83"/>
                    </a:lnTo>
                    <a:lnTo>
                      <a:pt x="1408" y="101"/>
                    </a:lnTo>
                    <a:lnTo>
                      <a:pt x="1383" y="117"/>
                    </a:lnTo>
                    <a:lnTo>
                      <a:pt x="1358" y="131"/>
                    </a:lnTo>
                    <a:lnTo>
                      <a:pt x="1331" y="145"/>
                    </a:lnTo>
                    <a:lnTo>
                      <a:pt x="1303" y="156"/>
                    </a:lnTo>
                    <a:lnTo>
                      <a:pt x="1276" y="166"/>
                    </a:lnTo>
                    <a:lnTo>
                      <a:pt x="1247" y="175"/>
                    </a:lnTo>
                    <a:lnTo>
                      <a:pt x="1217" y="183"/>
                    </a:lnTo>
                    <a:lnTo>
                      <a:pt x="1188" y="188"/>
                    </a:lnTo>
                    <a:lnTo>
                      <a:pt x="1158" y="193"/>
                    </a:lnTo>
                    <a:lnTo>
                      <a:pt x="1128" y="195"/>
                    </a:lnTo>
                    <a:lnTo>
                      <a:pt x="1098" y="195"/>
                    </a:lnTo>
                    <a:lnTo>
                      <a:pt x="1098" y="195"/>
                    </a:lnTo>
                    <a:lnTo>
                      <a:pt x="1066" y="195"/>
                    </a:lnTo>
                    <a:lnTo>
                      <a:pt x="1036" y="193"/>
                    </a:lnTo>
                    <a:lnTo>
                      <a:pt x="1006" y="188"/>
                    </a:lnTo>
                    <a:lnTo>
                      <a:pt x="977" y="183"/>
                    </a:lnTo>
                    <a:lnTo>
                      <a:pt x="947" y="175"/>
                    </a:lnTo>
                    <a:lnTo>
                      <a:pt x="918" y="166"/>
                    </a:lnTo>
                    <a:lnTo>
                      <a:pt x="891" y="156"/>
                    </a:lnTo>
                    <a:lnTo>
                      <a:pt x="863" y="145"/>
                    </a:lnTo>
                    <a:lnTo>
                      <a:pt x="836" y="131"/>
                    </a:lnTo>
                    <a:lnTo>
                      <a:pt x="811" y="117"/>
                    </a:lnTo>
                    <a:lnTo>
                      <a:pt x="786" y="101"/>
                    </a:lnTo>
                    <a:lnTo>
                      <a:pt x="762" y="83"/>
                    </a:lnTo>
                    <a:lnTo>
                      <a:pt x="738" y="64"/>
                    </a:lnTo>
                    <a:lnTo>
                      <a:pt x="715" y="44"/>
                    </a:lnTo>
                    <a:lnTo>
                      <a:pt x="695" y="22"/>
                    </a:lnTo>
                    <a:lnTo>
                      <a:pt x="675" y="0"/>
                    </a:lnTo>
                    <a:lnTo>
                      <a:pt x="675" y="0"/>
                    </a:lnTo>
                    <a:lnTo>
                      <a:pt x="655" y="22"/>
                    </a:lnTo>
                    <a:lnTo>
                      <a:pt x="633" y="44"/>
                    </a:lnTo>
                    <a:lnTo>
                      <a:pt x="611" y="64"/>
                    </a:lnTo>
                    <a:lnTo>
                      <a:pt x="588" y="83"/>
                    </a:lnTo>
                    <a:lnTo>
                      <a:pt x="563" y="101"/>
                    </a:lnTo>
                    <a:lnTo>
                      <a:pt x="539" y="117"/>
                    </a:lnTo>
                    <a:lnTo>
                      <a:pt x="512" y="131"/>
                    </a:lnTo>
                    <a:lnTo>
                      <a:pt x="486" y="145"/>
                    </a:lnTo>
                    <a:lnTo>
                      <a:pt x="458" y="156"/>
                    </a:lnTo>
                    <a:lnTo>
                      <a:pt x="430" y="166"/>
                    </a:lnTo>
                    <a:lnTo>
                      <a:pt x="402" y="175"/>
                    </a:lnTo>
                    <a:lnTo>
                      <a:pt x="373" y="183"/>
                    </a:lnTo>
                    <a:lnTo>
                      <a:pt x="343" y="188"/>
                    </a:lnTo>
                    <a:lnTo>
                      <a:pt x="313" y="193"/>
                    </a:lnTo>
                    <a:lnTo>
                      <a:pt x="283" y="195"/>
                    </a:lnTo>
                    <a:lnTo>
                      <a:pt x="252" y="195"/>
                    </a:lnTo>
                    <a:lnTo>
                      <a:pt x="252" y="195"/>
                    </a:lnTo>
                    <a:lnTo>
                      <a:pt x="218" y="195"/>
                    </a:lnTo>
                    <a:lnTo>
                      <a:pt x="185" y="192"/>
                    </a:lnTo>
                    <a:lnTo>
                      <a:pt x="153" y="186"/>
                    </a:lnTo>
                    <a:lnTo>
                      <a:pt x="121" y="180"/>
                    </a:lnTo>
                    <a:lnTo>
                      <a:pt x="90" y="171"/>
                    </a:lnTo>
                    <a:lnTo>
                      <a:pt x="59" y="161"/>
                    </a:lnTo>
                    <a:lnTo>
                      <a:pt x="29" y="149"/>
                    </a:lnTo>
                    <a:lnTo>
                      <a:pt x="0" y="135"/>
                    </a:lnTo>
                    <a:lnTo>
                      <a:pt x="0" y="690"/>
                    </a:lnTo>
                    <a:lnTo>
                      <a:pt x="0" y="690"/>
                    </a:lnTo>
                    <a:lnTo>
                      <a:pt x="15" y="703"/>
                    </a:lnTo>
                    <a:lnTo>
                      <a:pt x="32" y="714"/>
                    </a:lnTo>
                    <a:lnTo>
                      <a:pt x="50" y="726"/>
                    </a:lnTo>
                    <a:lnTo>
                      <a:pt x="69" y="737"/>
                    </a:lnTo>
                    <a:lnTo>
                      <a:pt x="91" y="748"/>
                    </a:lnTo>
                    <a:lnTo>
                      <a:pt x="112" y="760"/>
                    </a:lnTo>
                    <a:lnTo>
                      <a:pt x="136" y="770"/>
                    </a:lnTo>
                    <a:lnTo>
                      <a:pt x="161" y="780"/>
                    </a:lnTo>
                    <a:lnTo>
                      <a:pt x="214" y="800"/>
                    </a:lnTo>
                    <a:lnTo>
                      <a:pt x="274" y="819"/>
                    </a:lnTo>
                    <a:lnTo>
                      <a:pt x="337" y="835"/>
                    </a:lnTo>
                    <a:lnTo>
                      <a:pt x="405" y="852"/>
                    </a:lnTo>
                    <a:lnTo>
                      <a:pt x="477" y="866"/>
                    </a:lnTo>
                    <a:lnTo>
                      <a:pt x="551" y="878"/>
                    </a:lnTo>
                    <a:lnTo>
                      <a:pt x="631" y="890"/>
                    </a:lnTo>
                    <a:lnTo>
                      <a:pt x="713" y="899"/>
                    </a:lnTo>
                    <a:lnTo>
                      <a:pt x="797" y="905"/>
                    </a:lnTo>
                    <a:lnTo>
                      <a:pt x="886" y="911"/>
                    </a:lnTo>
                    <a:lnTo>
                      <a:pt x="975" y="914"/>
                    </a:lnTo>
                    <a:lnTo>
                      <a:pt x="1067" y="915"/>
                    </a:lnTo>
                    <a:lnTo>
                      <a:pt x="1067" y="915"/>
                    </a:lnTo>
                    <a:lnTo>
                      <a:pt x="1125" y="915"/>
                    </a:lnTo>
                    <a:lnTo>
                      <a:pt x="1182" y="914"/>
                    </a:lnTo>
                    <a:lnTo>
                      <a:pt x="1239" y="911"/>
                    </a:lnTo>
                    <a:lnTo>
                      <a:pt x="1294" y="909"/>
                    </a:lnTo>
                    <a:lnTo>
                      <a:pt x="1349" y="905"/>
                    </a:lnTo>
                    <a:lnTo>
                      <a:pt x="1402" y="900"/>
                    </a:lnTo>
                    <a:lnTo>
                      <a:pt x="1455" y="895"/>
                    </a:lnTo>
                    <a:lnTo>
                      <a:pt x="1505" y="888"/>
                    </a:lnTo>
                    <a:lnTo>
                      <a:pt x="1556" y="882"/>
                    </a:lnTo>
                    <a:lnTo>
                      <a:pt x="1604" y="875"/>
                    </a:lnTo>
                    <a:lnTo>
                      <a:pt x="1651" y="867"/>
                    </a:lnTo>
                    <a:lnTo>
                      <a:pt x="1697" y="858"/>
                    </a:lnTo>
                    <a:lnTo>
                      <a:pt x="1741" y="849"/>
                    </a:lnTo>
                    <a:lnTo>
                      <a:pt x="1784" y="839"/>
                    </a:lnTo>
                    <a:lnTo>
                      <a:pt x="1824" y="829"/>
                    </a:lnTo>
                    <a:lnTo>
                      <a:pt x="1863" y="818"/>
                    </a:lnTo>
                    <a:lnTo>
                      <a:pt x="1901" y="806"/>
                    </a:lnTo>
                    <a:lnTo>
                      <a:pt x="1937" y="795"/>
                    </a:lnTo>
                    <a:lnTo>
                      <a:pt x="1969" y="782"/>
                    </a:lnTo>
                    <a:lnTo>
                      <a:pt x="2001" y="769"/>
                    </a:lnTo>
                    <a:lnTo>
                      <a:pt x="2030" y="756"/>
                    </a:lnTo>
                    <a:lnTo>
                      <a:pt x="2058" y="742"/>
                    </a:lnTo>
                    <a:lnTo>
                      <a:pt x="2083" y="727"/>
                    </a:lnTo>
                    <a:lnTo>
                      <a:pt x="2104" y="713"/>
                    </a:lnTo>
                    <a:lnTo>
                      <a:pt x="2125" y="698"/>
                    </a:lnTo>
                    <a:lnTo>
                      <a:pt x="2142" y="683"/>
                    </a:lnTo>
                    <a:lnTo>
                      <a:pt x="2157" y="666"/>
                    </a:lnTo>
                    <a:lnTo>
                      <a:pt x="2170" y="651"/>
                    </a:lnTo>
                    <a:lnTo>
                      <a:pt x="2180" y="635"/>
                    </a:lnTo>
                    <a:lnTo>
                      <a:pt x="2188" y="618"/>
                    </a:lnTo>
                    <a:lnTo>
                      <a:pt x="2191" y="601"/>
                    </a:lnTo>
                    <a:lnTo>
                      <a:pt x="2194" y="584"/>
                    </a:lnTo>
                    <a:lnTo>
                      <a:pt x="2194" y="135"/>
                    </a:lnTo>
                    <a:lnTo>
                      <a:pt x="2194" y="135"/>
                    </a:lnTo>
                    <a:lnTo>
                      <a:pt x="2165" y="149"/>
                    </a:lnTo>
                    <a:lnTo>
                      <a:pt x="2135" y="161"/>
                    </a:lnTo>
                    <a:lnTo>
                      <a:pt x="2104" y="171"/>
                    </a:lnTo>
                    <a:lnTo>
                      <a:pt x="2073" y="180"/>
                    </a:lnTo>
                    <a:lnTo>
                      <a:pt x="2041" y="186"/>
                    </a:lnTo>
                    <a:lnTo>
                      <a:pt x="2009" y="192"/>
                    </a:lnTo>
                    <a:lnTo>
                      <a:pt x="1976" y="195"/>
                    </a:lnTo>
                    <a:lnTo>
                      <a:pt x="1942" y="195"/>
                    </a:lnTo>
                    <a:lnTo>
                      <a:pt x="1942"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grpSp>
        <p:sp>
          <p:nvSpPr>
            <p:cNvPr id="438" name="Rectangle 437"/>
            <p:cNvSpPr/>
            <p:nvPr/>
          </p:nvSpPr>
          <p:spPr>
            <a:xfrm>
              <a:off x="6340519" y="2443589"/>
              <a:ext cx="1268869" cy="437081"/>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Machine Learning</a:t>
              </a:r>
            </a:p>
          </p:txBody>
        </p:sp>
        <p:grpSp>
          <p:nvGrpSpPr>
            <p:cNvPr id="439" name="Group 438"/>
            <p:cNvGrpSpPr/>
            <p:nvPr/>
          </p:nvGrpSpPr>
          <p:grpSpPr>
            <a:xfrm>
              <a:off x="5982706" y="4285927"/>
              <a:ext cx="352655" cy="270905"/>
              <a:chOff x="1260022" y="5196402"/>
              <a:chExt cx="3273425" cy="2514600"/>
            </a:xfrm>
            <a:solidFill>
              <a:srgbClr val="FFFFFF"/>
            </a:solidFill>
          </p:grpSpPr>
          <p:sp>
            <p:nvSpPr>
              <p:cNvPr id="442" name="Freeform 441"/>
              <p:cNvSpPr>
                <a:spLocks/>
              </p:cNvSpPr>
              <p:nvPr/>
            </p:nvSpPr>
            <p:spPr bwMode="auto">
              <a:xfrm>
                <a:off x="2247447" y="5196402"/>
                <a:ext cx="2286000" cy="2514600"/>
              </a:xfrm>
              <a:custGeom>
                <a:avLst/>
                <a:gdLst>
                  <a:gd name="T0" fmla="*/ 307 w 609"/>
                  <a:gd name="T1" fmla="*/ 0 h 669"/>
                  <a:gd name="T2" fmla="*/ 341 w 609"/>
                  <a:gd name="T3" fmla="*/ 90 h 669"/>
                  <a:gd name="T4" fmla="*/ 395 w 609"/>
                  <a:gd name="T5" fmla="*/ 114 h 669"/>
                  <a:gd name="T6" fmla="*/ 482 w 609"/>
                  <a:gd name="T7" fmla="*/ 68 h 669"/>
                  <a:gd name="T8" fmla="*/ 537 w 609"/>
                  <a:gd name="T9" fmla="*/ 123 h 669"/>
                  <a:gd name="T10" fmla="*/ 494 w 609"/>
                  <a:gd name="T11" fmla="*/ 208 h 669"/>
                  <a:gd name="T12" fmla="*/ 516 w 609"/>
                  <a:gd name="T13" fmla="*/ 261 h 669"/>
                  <a:gd name="T14" fmla="*/ 609 w 609"/>
                  <a:gd name="T15" fmla="*/ 293 h 669"/>
                  <a:gd name="T16" fmla="*/ 609 w 609"/>
                  <a:gd name="T17" fmla="*/ 369 h 669"/>
                  <a:gd name="T18" fmla="*/ 517 w 609"/>
                  <a:gd name="T19" fmla="*/ 401 h 669"/>
                  <a:gd name="T20" fmla="*/ 493 w 609"/>
                  <a:gd name="T21" fmla="*/ 454 h 669"/>
                  <a:gd name="T22" fmla="*/ 535 w 609"/>
                  <a:gd name="T23" fmla="*/ 540 h 669"/>
                  <a:gd name="T24" fmla="*/ 480 w 609"/>
                  <a:gd name="T25" fmla="*/ 595 h 669"/>
                  <a:gd name="T26" fmla="*/ 394 w 609"/>
                  <a:gd name="T27" fmla="*/ 556 h 669"/>
                  <a:gd name="T28" fmla="*/ 339 w 609"/>
                  <a:gd name="T29" fmla="*/ 579 h 669"/>
                  <a:gd name="T30" fmla="*/ 309 w 609"/>
                  <a:gd name="T31" fmla="*/ 669 h 669"/>
                  <a:gd name="T32" fmla="*/ 231 w 609"/>
                  <a:gd name="T33" fmla="*/ 669 h 669"/>
                  <a:gd name="T34" fmla="*/ 201 w 609"/>
                  <a:gd name="T35" fmla="*/ 579 h 669"/>
                  <a:gd name="T36" fmla="*/ 148 w 609"/>
                  <a:gd name="T37" fmla="*/ 558 h 669"/>
                  <a:gd name="T38" fmla="*/ 63 w 609"/>
                  <a:gd name="T39" fmla="*/ 600 h 669"/>
                  <a:gd name="T40" fmla="*/ 7 w 609"/>
                  <a:gd name="T41" fmla="*/ 546 h 669"/>
                  <a:gd name="T42" fmla="*/ 24 w 609"/>
                  <a:gd name="T43" fmla="*/ 519 h 669"/>
                  <a:gd name="T44" fmla="*/ 102 w 609"/>
                  <a:gd name="T45" fmla="*/ 479 h 669"/>
                  <a:gd name="T46" fmla="*/ 171 w 609"/>
                  <a:gd name="T47" fmla="*/ 431 h 669"/>
                  <a:gd name="T48" fmla="*/ 208 w 609"/>
                  <a:gd name="T49" fmla="*/ 457 h 669"/>
                  <a:gd name="T50" fmla="*/ 411 w 609"/>
                  <a:gd name="T51" fmla="*/ 332 h 669"/>
                  <a:gd name="T52" fmla="*/ 339 w 609"/>
                  <a:gd name="T53" fmla="*/ 213 h 669"/>
                  <a:gd name="T54" fmla="*/ 180 w 609"/>
                  <a:gd name="T55" fmla="*/ 146 h 669"/>
                  <a:gd name="T56" fmla="*/ 28 w 609"/>
                  <a:gd name="T57" fmla="*/ 180 h 669"/>
                  <a:gd name="T58" fmla="*/ 0 w 609"/>
                  <a:gd name="T59" fmla="*/ 127 h 669"/>
                  <a:gd name="T60" fmla="*/ 51 w 609"/>
                  <a:gd name="T61" fmla="*/ 72 h 669"/>
                  <a:gd name="T62" fmla="*/ 143 w 609"/>
                  <a:gd name="T63" fmla="*/ 113 h 669"/>
                  <a:gd name="T64" fmla="*/ 196 w 609"/>
                  <a:gd name="T65" fmla="*/ 90 h 669"/>
                  <a:gd name="T66" fmla="*/ 233 w 609"/>
                  <a:gd name="T67" fmla="*/ 0 h 669"/>
                  <a:gd name="T68" fmla="*/ 307 w 609"/>
                  <a:gd name="T69"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669">
                    <a:moveTo>
                      <a:pt x="307" y="0"/>
                    </a:moveTo>
                    <a:cubicBezTo>
                      <a:pt x="319" y="29"/>
                      <a:pt x="331" y="58"/>
                      <a:pt x="341" y="90"/>
                    </a:cubicBezTo>
                    <a:cubicBezTo>
                      <a:pt x="358" y="98"/>
                      <a:pt x="378" y="105"/>
                      <a:pt x="395" y="114"/>
                    </a:cubicBezTo>
                    <a:cubicBezTo>
                      <a:pt x="423" y="98"/>
                      <a:pt x="455" y="86"/>
                      <a:pt x="482" y="68"/>
                    </a:cubicBezTo>
                    <a:cubicBezTo>
                      <a:pt x="503" y="85"/>
                      <a:pt x="521" y="103"/>
                      <a:pt x="537" y="123"/>
                    </a:cubicBezTo>
                    <a:cubicBezTo>
                      <a:pt x="521" y="150"/>
                      <a:pt x="509" y="181"/>
                      <a:pt x="494" y="208"/>
                    </a:cubicBezTo>
                    <a:cubicBezTo>
                      <a:pt x="500" y="227"/>
                      <a:pt x="510" y="242"/>
                      <a:pt x="516" y="261"/>
                    </a:cubicBezTo>
                    <a:cubicBezTo>
                      <a:pt x="546" y="272"/>
                      <a:pt x="576" y="284"/>
                      <a:pt x="609" y="293"/>
                    </a:cubicBezTo>
                    <a:cubicBezTo>
                      <a:pt x="609" y="318"/>
                      <a:pt x="609" y="344"/>
                      <a:pt x="609" y="369"/>
                    </a:cubicBezTo>
                    <a:cubicBezTo>
                      <a:pt x="579" y="380"/>
                      <a:pt x="549" y="391"/>
                      <a:pt x="517" y="401"/>
                    </a:cubicBezTo>
                    <a:cubicBezTo>
                      <a:pt x="508" y="417"/>
                      <a:pt x="502" y="437"/>
                      <a:pt x="493" y="454"/>
                    </a:cubicBezTo>
                    <a:cubicBezTo>
                      <a:pt x="506" y="484"/>
                      <a:pt x="519" y="513"/>
                      <a:pt x="535" y="540"/>
                    </a:cubicBezTo>
                    <a:cubicBezTo>
                      <a:pt x="519" y="561"/>
                      <a:pt x="501" y="579"/>
                      <a:pt x="480" y="595"/>
                    </a:cubicBezTo>
                    <a:cubicBezTo>
                      <a:pt x="453" y="581"/>
                      <a:pt x="422" y="570"/>
                      <a:pt x="394" y="556"/>
                    </a:cubicBezTo>
                    <a:cubicBezTo>
                      <a:pt x="374" y="562"/>
                      <a:pt x="357" y="572"/>
                      <a:pt x="339" y="579"/>
                    </a:cubicBezTo>
                    <a:cubicBezTo>
                      <a:pt x="329" y="609"/>
                      <a:pt x="317" y="638"/>
                      <a:pt x="309" y="669"/>
                    </a:cubicBezTo>
                    <a:cubicBezTo>
                      <a:pt x="283" y="669"/>
                      <a:pt x="257" y="669"/>
                      <a:pt x="231" y="669"/>
                    </a:cubicBezTo>
                    <a:cubicBezTo>
                      <a:pt x="221" y="640"/>
                      <a:pt x="211" y="610"/>
                      <a:pt x="201" y="579"/>
                    </a:cubicBezTo>
                    <a:cubicBezTo>
                      <a:pt x="183" y="572"/>
                      <a:pt x="166" y="564"/>
                      <a:pt x="148" y="558"/>
                    </a:cubicBezTo>
                    <a:cubicBezTo>
                      <a:pt x="118" y="571"/>
                      <a:pt x="92" y="587"/>
                      <a:pt x="63" y="600"/>
                    </a:cubicBezTo>
                    <a:cubicBezTo>
                      <a:pt x="44" y="590"/>
                      <a:pt x="23" y="565"/>
                      <a:pt x="7" y="546"/>
                    </a:cubicBezTo>
                    <a:cubicBezTo>
                      <a:pt x="14" y="538"/>
                      <a:pt x="20" y="529"/>
                      <a:pt x="24" y="519"/>
                    </a:cubicBezTo>
                    <a:cubicBezTo>
                      <a:pt x="53" y="509"/>
                      <a:pt x="77" y="498"/>
                      <a:pt x="102" y="479"/>
                    </a:cubicBezTo>
                    <a:cubicBezTo>
                      <a:pt x="119" y="466"/>
                      <a:pt x="144" y="427"/>
                      <a:pt x="171" y="431"/>
                    </a:cubicBezTo>
                    <a:cubicBezTo>
                      <a:pt x="182" y="432"/>
                      <a:pt x="193" y="450"/>
                      <a:pt x="208" y="457"/>
                    </a:cubicBezTo>
                    <a:cubicBezTo>
                      <a:pt x="301" y="505"/>
                      <a:pt x="414" y="433"/>
                      <a:pt x="411" y="332"/>
                    </a:cubicBezTo>
                    <a:cubicBezTo>
                      <a:pt x="410" y="268"/>
                      <a:pt x="377" y="244"/>
                      <a:pt x="339" y="213"/>
                    </a:cubicBezTo>
                    <a:cubicBezTo>
                      <a:pt x="299" y="181"/>
                      <a:pt x="244" y="151"/>
                      <a:pt x="180" y="146"/>
                    </a:cubicBezTo>
                    <a:cubicBezTo>
                      <a:pt x="125" y="142"/>
                      <a:pt x="75" y="156"/>
                      <a:pt x="28" y="180"/>
                    </a:cubicBezTo>
                    <a:cubicBezTo>
                      <a:pt x="19" y="162"/>
                      <a:pt x="10" y="144"/>
                      <a:pt x="0" y="127"/>
                    </a:cubicBezTo>
                    <a:cubicBezTo>
                      <a:pt x="14" y="106"/>
                      <a:pt x="35" y="92"/>
                      <a:pt x="51" y="72"/>
                    </a:cubicBezTo>
                    <a:cubicBezTo>
                      <a:pt x="81" y="86"/>
                      <a:pt x="112" y="99"/>
                      <a:pt x="143" y="113"/>
                    </a:cubicBezTo>
                    <a:cubicBezTo>
                      <a:pt x="160" y="105"/>
                      <a:pt x="177" y="97"/>
                      <a:pt x="196" y="90"/>
                    </a:cubicBezTo>
                    <a:cubicBezTo>
                      <a:pt x="209" y="60"/>
                      <a:pt x="218" y="27"/>
                      <a:pt x="233" y="0"/>
                    </a:cubicBezTo>
                    <a:cubicBezTo>
                      <a:pt x="258" y="0"/>
                      <a:pt x="282" y="0"/>
                      <a:pt x="3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39987">
                  <a:defRPr/>
                </a:pPr>
                <a:endParaRPr lang="en-US" sz="1654" dirty="0">
                  <a:solidFill>
                    <a:srgbClr val="FFFFFF"/>
                  </a:solidFill>
                  <a:latin typeface="Segoe UI"/>
                </a:endParaRPr>
              </a:p>
            </p:txBody>
          </p:sp>
          <p:sp>
            <p:nvSpPr>
              <p:cNvPr id="443" name="Freeform 442"/>
              <p:cNvSpPr>
                <a:spLocks/>
              </p:cNvSpPr>
              <p:nvPr/>
            </p:nvSpPr>
            <p:spPr bwMode="auto">
              <a:xfrm>
                <a:off x="1620384" y="5858389"/>
                <a:ext cx="1892300" cy="604838"/>
              </a:xfrm>
              <a:custGeom>
                <a:avLst/>
                <a:gdLst>
                  <a:gd name="T0" fmla="*/ 319 w 504"/>
                  <a:gd name="T1" fmla="*/ 4 h 161"/>
                  <a:gd name="T2" fmla="*/ 486 w 504"/>
                  <a:gd name="T3" fmla="*/ 67 h 161"/>
                  <a:gd name="T4" fmla="*/ 502 w 504"/>
                  <a:gd name="T5" fmla="*/ 90 h 161"/>
                  <a:gd name="T6" fmla="*/ 490 w 504"/>
                  <a:gd name="T7" fmla="*/ 115 h 161"/>
                  <a:gd name="T8" fmla="*/ 455 w 504"/>
                  <a:gd name="T9" fmla="*/ 90 h 161"/>
                  <a:gd name="T10" fmla="*/ 327 w 504"/>
                  <a:gd name="T11" fmla="*/ 37 h 161"/>
                  <a:gd name="T12" fmla="*/ 216 w 504"/>
                  <a:gd name="T13" fmla="*/ 69 h 161"/>
                  <a:gd name="T14" fmla="*/ 68 w 504"/>
                  <a:gd name="T15" fmla="*/ 143 h 161"/>
                  <a:gd name="T16" fmla="*/ 2 w 504"/>
                  <a:gd name="T17" fmla="*/ 99 h 161"/>
                  <a:gd name="T18" fmla="*/ 11 w 504"/>
                  <a:gd name="T19" fmla="*/ 76 h 161"/>
                  <a:gd name="T20" fmla="*/ 76 w 504"/>
                  <a:gd name="T21" fmla="*/ 110 h 161"/>
                  <a:gd name="T22" fmla="*/ 174 w 504"/>
                  <a:gd name="T23" fmla="*/ 57 h 161"/>
                  <a:gd name="T24" fmla="*/ 319 w 504"/>
                  <a:gd name="T25" fmla="*/ 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4" h="161">
                    <a:moveTo>
                      <a:pt x="319" y="4"/>
                    </a:moveTo>
                    <a:cubicBezTo>
                      <a:pt x="384" y="0"/>
                      <a:pt x="445" y="29"/>
                      <a:pt x="486" y="67"/>
                    </a:cubicBezTo>
                    <a:cubicBezTo>
                      <a:pt x="490" y="71"/>
                      <a:pt x="501" y="81"/>
                      <a:pt x="502" y="90"/>
                    </a:cubicBezTo>
                    <a:cubicBezTo>
                      <a:pt x="504" y="101"/>
                      <a:pt x="499" y="113"/>
                      <a:pt x="490" y="115"/>
                    </a:cubicBezTo>
                    <a:cubicBezTo>
                      <a:pt x="480" y="117"/>
                      <a:pt x="461" y="97"/>
                      <a:pt x="455" y="90"/>
                    </a:cubicBezTo>
                    <a:cubicBezTo>
                      <a:pt x="424" y="61"/>
                      <a:pt x="384" y="38"/>
                      <a:pt x="327" y="37"/>
                    </a:cubicBezTo>
                    <a:cubicBezTo>
                      <a:pt x="284" y="37"/>
                      <a:pt x="245" y="51"/>
                      <a:pt x="216" y="69"/>
                    </a:cubicBezTo>
                    <a:cubicBezTo>
                      <a:pt x="173" y="96"/>
                      <a:pt x="147" y="161"/>
                      <a:pt x="68" y="143"/>
                    </a:cubicBezTo>
                    <a:cubicBezTo>
                      <a:pt x="45" y="138"/>
                      <a:pt x="7" y="123"/>
                      <a:pt x="2" y="99"/>
                    </a:cubicBezTo>
                    <a:cubicBezTo>
                      <a:pt x="0" y="91"/>
                      <a:pt x="1" y="80"/>
                      <a:pt x="11" y="76"/>
                    </a:cubicBezTo>
                    <a:cubicBezTo>
                      <a:pt x="31" y="70"/>
                      <a:pt x="54" y="107"/>
                      <a:pt x="76" y="110"/>
                    </a:cubicBezTo>
                    <a:cubicBezTo>
                      <a:pt x="126" y="116"/>
                      <a:pt x="147" y="79"/>
                      <a:pt x="174" y="57"/>
                    </a:cubicBezTo>
                    <a:cubicBezTo>
                      <a:pt x="208" y="29"/>
                      <a:pt x="256" y="8"/>
                      <a:pt x="31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39987">
                  <a:defRPr/>
                </a:pPr>
                <a:endParaRPr lang="en-US" sz="1654" dirty="0">
                  <a:solidFill>
                    <a:srgbClr val="FFFFFF"/>
                  </a:solidFill>
                  <a:latin typeface="Segoe UI"/>
                </a:endParaRPr>
              </a:p>
            </p:txBody>
          </p:sp>
          <p:sp>
            <p:nvSpPr>
              <p:cNvPr id="444" name="Freeform 443"/>
              <p:cNvSpPr>
                <a:spLocks/>
              </p:cNvSpPr>
              <p:nvPr/>
            </p:nvSpPr>
            <p:spPr bwMode="auto">
              <a:xfrm>
                <a:off x="1394959" y="6174302"/>
                <a:ext cx="1952625" cy="593725"/>
              </a:xfrm>
              <a:custGeom>
                <a:avLst/>
                <a:gdLst>
                  <a:gd name="T0" fmla="*/ 366 w 520"/>
                  <a:gd name="T1" fmla="*/ 6 h 158"/>
                  <a:gd name="T2" fmla="*/ 508 w 520"/>
                  <a:gd name="T3" fmla="*/ 59 h 158"/>
                  <a:gd name="T4" fmla="*/ 506 w 520"/>
                  <a:gd name="T5" fmla="*/ 95 h 158"/>
                  <a:gd name="T6" fmla="*/ 453 w 520"/>
                  <a:gd name="T7" fmla="*/ 59 h 158"/>
                  <a:gd name="T8" fmla="*/ 290 w 520"/>
                  <a:gd name="T9" fmla="*/ 74 h 158"/>
                  <a:gd name="T10" fmla="*/ 260 w 520"/>
                  <a:gd name="T11" fmla="*/ 105 h 158"/>
                  <a:gd name="T12" fmla="*/ 32 w 520"/>
                  <a:gd name="T13" fmla="*/ 97 h 158"/>
                  <a:gd name="T14" fmla="*/ 27 w 520"/>
                  <a:gd name="T15" fmla="*/ 51 h 158"/>
                  <a:gd name="T16" fmla="*/ 78 w 520"/>
                  <a:gd name="T17" fmla="*/ 88 h 158"/>
                  <a:gd name="T18" fmla="*/ 230 w 520"/>
                  <a:gd name="T19" fmla="*/ 82 h 158"/>
                  <a:gd name="T20" fmla="*/ 366 w 520"/>
                  <a:gd name="T21" fmla="*/ 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0" h="158">
                    <a:moveTo>
                      <a:pt x="366" y="6"/>
                    </a:moveTo>
                    <a:cubicBezTo>
                      <a:pt x="422" y="0"/>
                      <a:pt x="479" y="24"/>
                      <a:pt x="508" y="59"/>
                    </a:cubicBezTo>
                    <a:cubicBezTo>
                      <a:pt x="520" y="75"/>
                      <a:pt x="518" y="91"/>
                      <a:pt x="506" y="95"/>
                    </a:cubicBezTo>
                    <a:cubicBezTo>
                      <a:pt x="488" y="100"/>
                      <a:pt x="467" y="68"/>
                      <a:pt x="453" y="59"/>
                    </a:cubicBezTo>
                    <a:cubicBezTo>
                      <a:pt x="402" y="29"/>
                      <a:pt x="333" y="38"/>
                      <a:pt x="290" y="74"/>
                    </a:cubicBezTo>
                    <a:cubicBezTo>
                      <a:pt x="281" y="82"/>
                      <a:pt x="270" y="97"/>
                      <a:pt x="260" y="105"/>
                    </a:cubicBezTo>
                    <a:cubicBezTo>
                      <a:pt x="195" y="158"/>
                      <a:pt x="91" y="149"/>
                      <a:pt x="32" y="97"/>
                    </a:cubicBezTo>
                    <a:cubicBezTo>
                      <a:pt x="24" y="89"/>
                      <a:pt x="0" y="56"/>
                      <a:pt x="27" y="51"/>
                    </a:cubicBezTo>
                    <a:cubicBezTo>
                      <a:pt x="43" y="47"/>
                      <a:pt x="61" y="77"/>
                      <a:pt x="78" y="88"/>
                    </a:cubicBezTo>
                    <a:cubicBezTo>
                      <a:pt x="125" y="116"/>
                      <a:pt x="190" y="109"/>
                      <a:pt x="230" y="82"/>
                    </a:cubicBezTo>
                    <a:cubicBezTo>
                      <a:pt x="277" y="51"/>
                      <a:pt x="292" y="14"/>
                      <a:pt x="366"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39987">
                  <a:defRPr/>
                </a:pPr>
                <a:endParaRPr lang="en-US" sz="1654" dirty="0">
                  <a:solidFill>
                    <a:srgbClr val="FFFFFF"/>
                  </a:solidFill>
                  <a:latin typeface="Segoe UI"/>
                </a:endParaRPr>
              </a:p>
            </p:txBody>
          </p:sp>
          <p:sp>
            <p:nvSpPr>
              <p:cNvPr id="445" name="Freeform 444"/>
              <p:cNvSpPr>
                <a:spLocks/>
              </p:cNvSpPr>
              <p:nvPr/>
            </p:nvSpPr>
            <p:spPr bwMode="auto">
              <a:xfrm>
                <a:off x="1260022" y="6493389"/>
                <a:ext cx="1930400" cy="566738"/>
              </a:xfrm>
              <a:custGeom>
                <a:avLst/>
                <a:gdLst>
                  <a:gd name="T0" fmla="*/ 10 w 514"/>
                  <a:gd name="T1" fmla="*/ 35 h 151"/>
                  <a:gd name="T2" fmla="*/ 63 w 514"/>
                  <a:gd name="T3" fmla="*/ 72 h 151"/>
                  <a:gd name="T4" fmla="*/ 211 w 514"/>
                  <a:gd name="T5" fmla="*/ 111 h 151"/>
                  <a:gd name="T6" fmla="*/ 296 w 514"/>
                  <a:gd name="T7" fmla="*/ 77 h 151"/>
                  <a:gd name="T8" fmla="*/ 436 w 514"/>
                  <a:gd name="T9" fmla="*/ 8 h 151"/>
                  <a:gd name="T10" fmla="*/ 510 w 514"/>
                  <a:gd name="T11" fmla="*/ 49 h 151"/>
                  <a:gd name="T12" fmla="*/ 501 w 514"/>
                  <a:gd name="T13" fmla="*/ 73 h 151"/>
                  <a:gd name="T14" fmla="*/ 448 w 514"/>
                  <a:gd name="T15" fmla="*/ 42 h 151"/>
                  <a:gd name="T16" fmla="*/ 323 w 514"/>
                  <a:gd name="T17" fmla="*/ 103 h 151"/>
                  <a:gd name="T18" fmla="*/ 165 w 514"/>
                  <a:gd name="T19" fmla="*/ 146 h 151"/>
                  <a:gd name="T20" fmla="*/ 63 w 514"/>
                  <a:gd name="T21" fmla="*/ 111 h 151"/>
                  <a:gd name="T22" fmla="*/ 10 w 514"/>
                  <a:gd name="T23" fmla="*/ 3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151">
                    <a:moveTo>
                      <a:pt x="10" y="35"/>
                    </a:moveTo>
                    <a:cubicBezTo>
                      <a:pt x="40" y="37"/>
                      <a:pt x="46" y="59"/>
                      <a:pt x="63" y="72"/>
                    </a:cubicBezTo>
                    <a:cubicBezTo>
                      <a:pt x="95" y="96"/>
                      <a:pt x="147" y="117"/>
                      <a:pt x="211" y="111"/>
                    </a:cubicBezTo>
                    <a:cubicBezTo>
                      <a:pt x="248" y="107"/>
                      <a:pt x="274" y="92"/>
                      <a:pt x="296" y="77"/>
                    </a:cubicBezTo>
                    <a:cubicBezTo>
                      <a:pt x="338" y="48"/>
                      <a:pt x="358" y="0"/>
                      <a:pt x="436" y="8"/>
                    </a:cubicBezTo>
                    <a:cubicBezTo>
                      <a:pt x="454" y="10"/>
                      <a:pt x="503" y="25"/>
                      <a:pt x="510" y="49"/>
                    </a:cubicBezTo>
                    <a:cubicBezTo>
                      <a:pt x="512" y="58"/>
                      <a:pt x="514" y="70"/>
                      <a:pt x="501" y="73"/>
                    </a:cubicBezTo>
                    <a:cubicBezTo>
                      <a:pt x="484" y="78"/>
                      <a:pt x="467" y="48"/>
                      <a:pt x="448" y="42"/>
                    </a:cubicBezTo>
                    <a:cubicBezTo>
                      <a:pt x="388" y="23"/>
                      <a:pt x="360" y="77"/>
                      <a:pt x="323" y="103"/>
                    </a:cubicBezTo>
                    <a:cubicBezTo>
                      <a:pt x="286" y="130"/>
                      <a:pt x="237" y="151"/>
                      <a:pt x="165" y="146"/>
                    </a:cubicBezTo>
                    <a:cubicBezTo>
                      <a:pt x="129" y="143"/>
                      <a:pt x="92" y="129"/>
                      <a:pt x="63" y="111"/>
                    </a:cubicBezTo>
                    <a:cubicBezTo>
                      <a:pt x="38" y="95"/>
                      <a:pt x="0" y="73"/>
                      <a:pt x="1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39987">
                  <a:defRPr/>
                </a:pPr>
                <a:endParaRPr lang="en-US" sz="1654" dirty="0">
                  <a:solidFill>
                    <a:srgbClr val="FFFFFF"/>
                  </a:solidFill>
                  <a:latin typeface="Segoe UI"/>
                </a:endParaRPr>
              </a:p>
            </p:txBody>
          </p:sp>
        </p:grpSp>
        <p:sp>
          <p:nvSpPr>
            <p:cNvPr id="440" name="Freeform 439"/>
            <p:cNvSpPr>
              <a:spLocks/>
            </p:cNvSpPr>
            <p:nvPr/>
          </p:nvSpPr>
          <p:spPr bwMode="auto">
            <a:xfrm>
              <a:off x="5984022" y="3716926"/>
              <a:ext cx="366380" cy="277258"/>
            </a:xfrm>
            <a:custGeom>
              <a:avLst/>
              <a:gdLst>
                <a:gd name="connsiteX0" fmla="*/ 5546725 w 8802688"/>
                <a:gd name="connsiteY0" fmla="*/ 4819650 h 6677025"/>
                <a:gd name="connsiteX1" fmla="*/ 5573713 w 8802688"/>
                <a:gd name="connsiteY1" fmla="*/ 4926013 h 6677025"/>
                <a:gd name="connsiteX2" fmla="*/ 5603875 w 8802688"/>
                <a:gd name="connsiteY2" fmla="*/ 5024438 h 6677025"/>
                <a:gd name="connsiteX3" fmla="*/ 5630863 w 8802688"/>
                <a:gd name="connsiteY3" fmla="*/ 5122863 h 6677025"/>
                <a:gd name="connsiteX4" fmla="*/ 5657850 w 8802688"/>
                <a:gd name="connsiteY4" fmla="*/ 5229225 h 6677025"/>
                <a:gd name="connsiteX5" fmla="*/ 5668963 w 8802688"/>
                <a:gd name="connsiteY5" fmla="*/ 5313363 h 6677025"/>
                <a:gd name="connsiteX6" fmla="*/ 5681663 w 8802688"/>
                <a:gd name="connsiteY6" fmla="*/ 5399088 h 6677025"/>
                <a:gd name="connsiteX7" fmla="*/ 5686425 w 8802688"/>
                <a:gd name="connsiteY7" fmla="*/ 5484813 h 6677025"/>
                <a:gd name="connsiteX8" fmla="*/ 5689600 w 8802688"/>
                <a:gd name="connsiteY8" fmla="*/ 5572126 h 6677025"/>
                <a:gd name="connsiteX9" fmla="*/ 5695950 w 8802688"/>
                <a:gd name="connsiteY9" fmla="*/ 5749926 h 6677025"/>
                <a:gd name="connsiteX10" fmla="*/ 5695950 w 8802688"/>
                <a:gd name="connsiteY10" fmla="*/ 5940426 h 6677025"/>
                <a:gd name="connsiteX11" fmla="*/ 5692775 w 8802688"/>
                <a:gd name="connsiteY11" fmla="*/ 5957888 h 6677025"/>
                <a:gd name="connsiteX12" fmla="*/ 5689600 w 8802688"/>
                <a:gd name="connsiteY12" fmla="*/ 5978526 h 6677025"/>
                <a:gd name="connsiteX13" fmla="*/ 5681663 w 8802688"/>
                <a:gd name="connsiteY13" fmla="*/ 6002338 h 6677025"/>
                <a:gd name="connsiteX14" fmla="*/ 5672138 w 8802688"/>
                <a:gd name="connsiteY14" fmla="*/ 6029326 h 6677025"/>
                <a:gd name="connsiteX15" fmla="*/ 5659438 w 8802688"/>
                <a:gd name="connsiteY15" fmla="*/ 6053138 h 6677025"/>
                <a:gd name="connsiteX16" fmla="*/ 5648325 w 8802688"/>
                <a:gd name="connsiteY16" fmla="*/ 6070601 h 6677025"/>
                <a:gd name="connsiteX17" fmla="*/ 5634038 w 8802688"/>
                <a:gd name="connsiteY17" fmla="*/ 6086476 h 6677025"/>
                <a:gd name="connsiteX18" fmla="*/ 5627688 w 8802688"/>
                <a:gd name="connsiteY18" fmla="*/ 6088063 h 6677025"/>
                <a:gd name="connsiteX19" fmla="*/ 5621338 w 8802688"/>
                <a:gd name="connsiteY19" fmla="*/ 6088063 h 6677025"/>
                <a:gd name="connsiteX20" fmla="*/ 5526088 w 8802688"/>
                <a:gd name="connsiteY20" fmla="*/ 6100763 h 6677025"/>
                <a:gd name="connsiteX21" fmla="*/ 5430838 w 8802688"/>
                <a:gd name="connsiteY21" fmla="*/ 6107113 h 6677025"/>
                <a:gd name="connsiteX22" fmla="*/ 5338763 w 8802688"/>
                <a:gd name="connsiteY22" fmla="*/ 6107113 h 6677025"/>
                <a:gd name="connsiteX23" fmla="*/ 5249862 w 8802688"/>
                <a:gd name="connsiteY23" fmla="*/ 6103938 h 6677025"/>
                <a:gd name="connsiteX24" fmla="*/ 5068887 w 8802688"/>
                <a:gd name="connsiteY24" fmla="*/ 6094413 h 6677025"/>
                <a:gd name="connsiteX25" fmla="*/ 4973637 w 8802688"/>
                <a:gd name="connsiteY25" fmla="*/ 6091238 h 6677025"/>
                <a:gd name="connsiteX26" fmla="*/ 4878387 w 8802688"/>
                <a:gd name="connsiteY26" fmla="*/ 6088063 h 6677025"/>
                <a:gd name="connsiteX27" fmla="*/ 5045075 w 8802688"/>
                <a:gd name="connsiteY27" fmla="*/ 5780088 h 6677025"/>
                <a:gd name="connsiteX28" fmla="*/ 5213350 w 8802688"/>
                <a:gd name="connsiteY28" fmla="*/ 5467350 h 6677025"/>
                <a:gd name="connsiteX29" fmla="*/ 5380038 w 8802688"/>
                <a:gd name="connsiteY29" fmla="*/ 5149850 h 6677025"/>
                <a:gd name="connsiteX30" fmla="*/ 576262 w 8802688"/>
                <a:gd name="connsiteY30" fmla="*/ 4632325 h 6677025"/>
                <a:gd name="connsiteX31" fmla="*/ 685799 w 8802688"/>
                <a:gd name="connsiteY31" fmla="*/ 4827588 h 6677025"/>
                <a:gd name="connsiteX32" fmla="*/ 796925 w 8802688"/>
                <a:gd name="connsiteY32" fmla="*/ 5030788 h 6677025"/>
                <a:gd name="connsiteX33" fmla="*/ 909637 w 8802688"/>
                <a:gd name="connsiteY33" fmla="*/ 5235575 h 6677025"/>
                <a:gd name="connsiteX34" fmla="*/ 1019175 w 8802688"/>
                <a:gd name="connsiteY34" fmla="*/ 5456238 h 6677025"/>
                <a:gd name="connsiteX35" fmla="*/ 1031875 w 8802688"/>
                <a:gd name="connsiteY35" fmla="*/ 5481638 h 6677025"/>
                <a:gd name="connsiteX36" fmla="*/ 1039812 w 8802688"/>
                <a:gd name="connsiteY36" fmla="*/ 5508626 h 6677025"/>
                <a:gd name="connsiteX37" fmla="*/ 1046162 w 8802688"/>
                <a:gd name="connsiteY37" fmla="*/ 5532438 h 6677025"/>
                <a:gd name="connsiteX38" fmla="*/ 1049337 w 8802688"/>
                <a:gd name="connsiteY38" fmla="*/ 5559426 h 6677025"/>
                <a:gd name="connsiteX39" fmla="*/ 1049337 w 8802688"/>
                <a:gd name="connsiteY39" fmla="*/ 5580063 h 6677025"/>
                <a:gd name="connsiteX40" fmla="*/ 1046162 w 8802688"/>
                <a:gd name="connsiteY40" fmla="*/ 5600701 h 6677025"/>
                <a:gd name="connsiteX41" fmla="*/ 1039812 w 8802688"/>
                <a:gd name="connsiteY41" fmla="*/ 5621338 h 6677025"/>
                <a:gd name="connsiteX42" fmla="*/ 1028699 w 8802688"/>
                <a:gd name="connsiteY42" fmla="*/ 5640388 h 6677025"/>
                <a:gd name="connsiteX43" fmla="*/ 1019175 w 8802688"/>
                <a:gd name="connsiteY43" fmla="*/ 5657851 h 6677025"/>
                <a:gd name="connsiteX44" fmla="*/ 1004887 w 8802688"/>
                <a:gd name="connsiteY44" fmla="*/ 5672138 h 6677025"/>
                <a:gd name="connsiteX45" fmla="*/ 987425 w 8802688"/>
                <a:gd name="connsiteY45" fmla="*/ 5684838 h 6677025"/>
                <a:gd name="connsiteX46" fmla="*/ 968375 w 8802688"/>
                <a:gd name="connsiteY46" fmla="*/ 5695951 h 6677025"/>
                <a:gd name="connsiteX47" fmla="*/ 947737 w 8802688"/>
                <a:gd name="connsiteY47" fmla="*/ 5705476 h 6677025"/>
                <a:gd name="connsiteX48" fmla="*/ 923925 w 8802688"/>
                <a:gd name="connsiteY48" fmla="*/ 5711826 h 6677025"/>
                <a:gd name="connsiteX49" fmla="*/ 896937 w 8802688"/>
                <a:gd name="connsiteY49" fmla="*/ 5713413 h 6677025"/>
                <a:gd name="connsiteX50" fmla="*/ 871537 w 8802688"/>
                <a:gd name="connsiteY50" fmla="*/ 5716588 h 6677025"/>
                <a:gd name="connsiteX51" fmla="*/ 844549 w 8802688"/>
                <a:gd name="connsiteY51" fmla="*/ 5716588 h 6677025"/>
                <a:gd name="connsiteX52" fmla="*/ 814387 w 8802688"/>
                <a:gd name="connsiteY52" fmla="*/ 5716588 h 6677025"/>
                <a:gd name="connsiteX53" fmla="*/ 787399 w 8802688"/>
                <a:gd name="connsiteY53" fmla="*/ 5713413 h 6677025"/>
                <a:gd name="connsiteX54" fmla="*/ 757237 w 8802688"/>
                <a:gd name="connsiteY54" fmla="*/ 5711826 h 6677025"/>
                <a:gd name="connsiteX55" fmla="*/ 728662 w 8802688"/>
                <a:gd name="connsiteY55" fmla="*/ 5702301 h 6677025"/>
                <a:gd name="connsiteX56" fmla="*/ 695325 w 8802688"/>
                <a:gd name="connsiteY56" fmla="*/ 5692776 h 6677025"/>
                <a:gd name="connsiteX57" fmla="*/ 636587 w 8802688"/>
                <a:gd name="connsiteY57" fmla="*/ 5668963 h 6677025"/>
                <a:gd name="connsiteX58" fmla="*/ 576262 w 8802688"/>
                <a:gd name="connsiteY58" fmla="*/ 5637213 h 6677025"/>
                <a:gd name="connsiteX59" fmla="*/ 520699 w 8802688"/>
                <a:gd name="connsiteY59" fmla="*/ 5600701 h 6677025"/>
                <a:gd name="connsiteX60" fmla="*/ 463549 w 8802688"/>
                <a:gd name="connsiteY60" fmla="*/ 5556251 h 6677025"/>
                <a:gd name="connsiteX61" fmla="*/ 406399 w 8802688"/>
                <a:gd name="connsiteY61" fmla="*/ 5508626 h 6677025"/>
                <a:gd name="connsiteX62" fmla="*/ 360362 w 8802688"/>
                <a:gd name="connsiteY62" fmla="*/ 5457826 h 6677025"/>
                <a:gd name="connsiteX63" fmla="*/ 312737 w 8802688"/>
                <a:gd name="connsiteY63" fmla="*/ 5405438 h 6677025"/>
                <a:gd name="connsiteX64" fmla="*/ 269875 w 8802688"/>
                <a:gd name="connsiteY64" fmla="*/ 5351463 h 6677025"/>
                <a:gd name="connsiteX65" fmla="*/ 234949 w 8802688"/>
                <a:gd name="connsiteY65" fmla="*/ 5294313 h 6677025"/>
                <a:gd name="connsiteX66" fmla="*/ 207962 w 8802688"/>
                <a:gd name="connsiteY66" fmla="*/ 5238750 h 6677025"/>
                <a:gd name="connsiteX67" fmla="*/ 184149 w 8802688"/>
                <a:gd name="connsiteY67" fmla="*/ 5184775 h 6677025"/>
                <a:gd name="connsiteX68" fmla="*/ 177799 w 8802688"/>
                <a:gd name="connsiteY68" fmla="*/ 5157788 h 6677025"/>
                <a:gd name="connsiteX69" fmla="*/ 173037 w 8802688"/>
                <a:gd name="connsiteY69" fmla="*/ 5130800 h 6677025"/>
                <a:gd name="connsiteX70" fmla="*/ 169862 w 8802688"/>
                <a:gd name="connsiteY70" fmla="*/ 5105400 h 6677025"/>
                <a:gd name="connsiteX71" fmla="*/ 166687 w 8802688"/>
                <a:gd name="connsiteY71" fmla="*/ 5081588 h 6677025"/>
                <a:gd name="connsiteX72" fmla="*/ 169862 w 8802688"/>
                <a:gd name="connsiteY72" fmla="*/ 5054600 h 6677025"/>
                <a:gd name="connsiteX73" fmla="*/ 173037 w 8802688"/>
                <a:gd name="connsiteY73" fmla="*/ 5024438 h 6677025"/>
                <a:gd name="connsiteX74" fmla="*/ 180975 w 8802688"/>
                <a:gd name="connsiteY74" fmla="*/ 4997450 h 6677025"/>
                <a:gd name="connsiteX75" fmla="*/ 190499 w 8802688"/>
                <a:gd name="connsiteY75" fmla="*/ 4973638 h 6677025"/>
                <a:gd name="connsiteX76" fmla="*/ 201612 w 8802688"/>
                <a:gd name="connsiteY76" fmla="*/ 4949825 h 6677025"/>
                <a:gd name="connsiteX77" fmla="*/ 214312 w 8802688"/>
                <a:gd name="connsiteY77" fmla="*/ 4929188 h 6677025"/>
                <a:gd name="connsiteX78" fmla="*/ 228599 w 8802688"/>
                <a:gd name="connsiteY78" fmla="*/ 4908550 h 6677025"/>
                <a:gd name="connsiteX79" fmla="*/ 241299 w 8802688"/>
                <a:gd name="connsiteY79" fmla="*/ 4894263 h 6677025"/>
                <a:gd name="connsiteX80" fmla="*/ 285749 w 8802688"/>
                <a:gd name="connsiteY80" fmla="*/ 4851400 h 6677025"/>
                <a:gd name="connsiteX81" fmla="*/ 330199 w 8802688"/>
                <a:gd name="connsiteY81" fmla="*/ 4816475 h 6677025"/>
                <a:gd name="connsiteX82" fmla="*/ 377825 w 8802688"/>
                <a:gd name="connsiteY82" fmla="*/ 4779963 h 6677025"/>
                <a:gd name="connsiteX83" fmla="*/ 422275 w 8802688"/>
                <a:gd name="connsiteY83" fmla="*/ 4748213 h 6677025"/>
                <a:gd name="connsiteX84" fmla="*/ 507999 w 8802688"/>
                <a:gd name="connsiteY84" fmla="*/ 4687888 h 6677025"/>
                <a:gd name="connsiteX85" fmla="*/ 544512 w 8802688"/>
                <a:gd name="connsiteY85" fmla="*/ 4662488 h 6677025"/>
                <a:gd name="connsiteX86" fmla="*/ 6180138 w 8802688"/>
                <a:gd name="connsiteY86" fmla="*/ 3546475 h 6677025"/>
                <a:gd name="connsiteX87" fmla="*/ 6124576 w 8802688"/>
                <a:gd name="connsiteY87" fmla="*/ 3562350 h 6677025"/>
                <a:gd name="connsiteX88" fmla="*/ 6076951 w 8802688"/>
                <a:gd name="connsiteY88" fmla="*/ 3579813 h 6677025"/>
                <a:gd name="connsiteX89" fmla="*/ 6037263 w 8802688"/>
                <a:gd name="connsiteY89" fmla="*/ 3600450 h 6677025"/>
                <a:gd name="connsiteX90" fmla="*/ 6002338 w 8802688"/>
                <a:gd name="connsiteY90" fmla="*/ 3624263 h 6677025"/>
                <a:gd name="connsiteX91" fmla="*/ 5978526 w 8802688"/>
                <a:gd name="connsiteY91" fmla="*/ 3651250 h 6677025"/>
                <a:gd name="connsiteX92" fmla="*/ 5961063 w 8802688"/>
                <a:gd name="connsiteY92" fmla="*/ 3678238 h 6677025"/>
                <a:gd name="connsiteX93" fmla="*/ 5948363 w 8802688"/>
                <a:gd name="connsiteY93" fmla="*/ 3705225 h 6677025"/>
                <a:gd name="connsiteX94" fmla="*/ 5945188 w 8802688"/>
                <a:gd name="connsiteY94" fmla="*/ 3719513 h 6677025"/>
                <a:gd name="connsiteX95" fmla="*/ 5945188 w 8802688"/>
                <a:gd name="connsiteY95" fmla="*/ 3733800 h 6677025"/>
                <a:gd name="connsiteX96" fmla="*/ 5986463 w 8802688"/>
                <a:gd name="connsiteY96" fmla="*/ 3698875 h 6677025"/>
                <a:gd name="connsiteX97" fmla="*/ 6046788 w 8802688"/>
                <a:gd name="connsiteY97" fmla="*/ 3654425 h 6677025"/>
                <a:gd name="connsiteX98" fmla="*/ 6115051 w 8802688"/>
                <a:gd name="connsiteY98" fmla="*/ 3600450 h 6677025"/>
                <a:gd name="connsiteX99" fmla="*/ 6148388 w 8802688"/>
                <a:gd name="connsiteY99" fmla="*/ 3573463 h 6677025"/>
                <a:gd name="connsiteX100" fmla="*/ 279400 w 8802688"/>
                <a:gd name="connsiteY100" fmla="*/ 2203450 h 6677025"/>
                <a:gd name="connsiteX101" fmla="*/ 354013 w 8802688"/>
                <a:gd name="connsiteY101" fmla="*/ 2203450 h 6677025"/>
                <a:gd name="connsiteX102" fmla="*/ 327025 w 8802688"/>
                <a:gd name="connsiteY102" fmla="*/ 2274888 h 6677025"/>
                <a:gd name="connsiteX103" fmla="*/ 303213 w 8802688"/>
                <a:gd name="connsiteY103" fmla="*/ 2343150 h 6677025"/>
                <a:gd name="connsiteX104" fmla="*/ 261938 w 8802688"/>
                <a:gd name="connsiteY104" fmla="*/ 2482850 h 6677025"/>
                <a:gd name="connsiteX105" fmla="*/ 217488 w 8802688"/>
                <a:gd name="connsiteY105" fmla="*/ 2625726 h 6677025"/>
                <a:gd name="connsiteX106" fmla="*/ 193675 w 8802688"/>
                <a:gd name="connsiteY106" fmla="*/ 2693988 h 6677025"/>
                <a:gd name="connsiteX107" fmla="*/ 166688 w 8802688"/>
                <a:gd name="connsiteY107" fmla="*/ 2765425 h 6677025"/>
                <a:gd name="connsiteX108" fmla="*/ 169863 w 8802688"/>
                <a:gd name="connsiteY108" fmla="*/ 2792413 h 6677025"/>
                <a:gd name="connsiteX109" fmla="*/ 173038 w 8802688"/>
                <a:gd name="connsiteY109" fmla="*/ 2819400 h 6677025"/>
                <a:gd name="connsiteX110" fmla="*/ 180975 w 8802688"/>
                <a:gd name="connsiteY110" fmla="*/ 2844801 h 6677025"/>
                <a:gd name="connsiteX111" fmla="*/ 190500 w 8802688"/>
                <a:gd name="connsiteY111" fmla="*/ 2871788 h 6677025"/>
                <a:gd name="connsiteX112" fmla="*/ 201613 w 8802688"/>
                <a:gd name="connsiteY112" fmla="*/ 2895601 h 6677025"/>
                <a:gd name="connsiteX113" fmla="*/ 214313 w 8802688"/>
                <a:gd name="connsiteY113" fmla="*/ 2916238 h 6677025"/>
                <a:gd name="connsiteX114" fmla="*/ 228600 w 8802688"/>
                <a:gd name="connsiteY114" fmla="*/ 2935288 h 6677025"/>
                <a:gd name="connsiteX115" fmla="*/ 241300 w 8802688"/>
                <a:gd name="connsiteY115" fmla="*/ 2952751 h 6677025"/>
                <a:gd name="connsiteX116" fmla="*/ 242888 w 8802688"/>
                <a:gd name="connsiteY116" fmla="*/ 2959101 h 6677025"/>
                <a:gd name="connsiteX117" fmla="*/ 242888 w 8802688"/>
                <a:gd name="connsiteY117" fmla="*/ 2963863 h 6677025"/>
                <a:gd name="connsiteX118" fmla="*/ 255588 w 8802688"/>
                <a:gd name="connsiteY118" fmla="*/ 2973388 h 6677025"/>
                <a:gd name="connsiteX119" fmla="*/ 266700 w 8802688"/>
                <a:gd name="connsiteY119" fmla="*/ 2979738 h 6677025"/>
                <a:gd name="connsiteX120" fmla="*/ 288925 w 8802688"/>
                <a:gd name="connsiteY120" fmla="*/ 2984501 h 6677025"/>
                <a:gd name="connsiteX121" fmla="*/ 336550 w 8802688"/>
                <a:gd name="connsiteY121" fmla="*/ 2987676 h 6677025"/>
                <a:gd name="connsiteX122" fmla="*/ 388938 w 8802688"/>
                <a:gd name="connsiteY122" fmla="*/ 2987676 h 6677025"/>
                <a:gd name="connsiteX123" fmla="*/ 404813 w 8802688"/>
                <a:gd name="connsiteY123" fmla="*/ 2987676 h 6677025"/>
                <a:gd name="connsiteX124" fmla="*/ 425450 w 8802688"/>
                <a:gd name="connsiteY124" fmla="*/ 2982913 h 6677025"/>
                <a:gd name="connsiteX125" fmla="*/ 469900 w 8802688"/>
                <a:gd name="connsiteY125" fmla="*/ 2963863 h 6677025"/>
                <a:gd name="connsiteX126" fmla="*/ 520700 w 8802688"/>
                <a:gd name="connsiteY126" fmla="*/ 2940051 h 6677025"/>
                <a:gd name="connsiteX127" fmla="*/ 576263 w 8802688"/>
                <a:gd name="connsiteY127" fmla="*/ 2914651 h 6677025"/>
                <a:gd name="connsiteX128" fmla="*/ 573088 w 8802688"/>
                <a:gd name="connsiteY128" fmla="*/ 2946401 h 6677025"/>
                <a:gd name="connsiteX129" fmla="*/ 568325 w 8802688"/>
                <a:gd name="connsiteY129" fmla="*/ 2979738 h 6677025"/>
                <a:gd name="connsiteX130" fmla="*/ 558801 w 8802688"/>
                <a:gd name="connsiteY130" fmla="*/ 3008313 h 6677025"/>
                <a:gd name="connsiteX131" fmla="*/ 544513 w 8802688"/>
                <a:gd name="connsiteY131" fmla="*/ 3038476 h 6677025"/>
                <a:gd name="connsiteX132" fmla="*/ 528638 w 8802688"/>
                <a:gd name="connsiteY132" fmla="*/ 3062288 h 6677025"/>
                <a:gd name="connsiteX133" fmla="*/ 508000 w 8802688"/>
                <a:gd name="connsiteY133" fmla="*/ 3086101 h 6677025"/>
                <a:gd name="connsiteX134" fmla="*/ 487363 w 8802688"/>
                <a:gd name="connsiteY134" fmla="*/ 3106738 h 6677025"/>
                <a:gd name="connsiteX135" fmla="*/ 463550 w 8802688"/>
                <a:gd name="connsiteY135" fmla="*/ 3124201 h 6677025"/>
                <a:gd name="connsiteX136" fmla="*/ 439738 w 8802688"/>
                <a:gd name="connsiteY136" fmla="*/ 3136901 h 6677025"/>
                <a:gd name="connsiteX137" fmla="*/ 412750 w 8802688"/>
                <a:gd name="connsiteY137" fmla="*/ 3148013 h 6677025"/>
                <a:gd name="connsiteX138" fmla="*/ 382588 w 8802688"/>
                <a:gd name="connsiteY138" fmla="*/ 3157538 h 6677025"/>
                <a:gd name="connsiteX139" fmla="*/ 357188 w 8802688"/>
                <a:gd name="connsiteY139" fmla="*/ 3160713 h 6677025"/>
                <a:gd name="connsiteX140" fmla="*/ 327025 w 8802688"/>
                <a:gd name="connsiteY140" fmla="*/ 3160713 h 6677025"/>
                <a:gd name="connsiteX141" fmla="*/ 296863 w 8802688"/>
                <a:gd name="connsiteY141" fmla="*/ 3157538 h 6677025"/>
                <a:gd name="connsiteX142" fmla="*/ 269875 w 8802688"/>
                <a:gd name="connsiteY142" fmla="*/ 3148013 h 6677025"/>
                <a:gd name="connsiteX143" fmla="*/ 241300 w 8802688"/>
                <a:gd name="connsiteY143" fmla="*/ 3136901 h 6677025"/>
                <a:gd name="connsiteX144" fmla="*/ 228600 w 8802688"/>
                <a:gd name="connsiteY144" fmla="*/ 3130551 h 6677025"/>
                <a:gd name="connsiteX145" fmla="*/ 214313 w 8802688"/>
                <a:gd name="connsiteY145" fmla="*/ 3119438 h 6677025"/>
                <a:gd name="connsiteX146" fmla="*/ 187325 w 8802688"/>
                <a:gd name="connsiteY146" fmla="*/ 3092451 h 6677025"/>
                <a:gd name="connsiteX147" fmla="*/ 160338 w 8802688"/>
                <a:gd name="connsiteY147" fmla="*/ 3055938 h 6677025"/>
                <a:gd name="connsiteX148" fmla="*/ 133350 w 8802688"/>
                <a:gd name="connsiteY148" fmla="*/ 3017838 h 6677025"/>
                <a:gd name="connsiteX149" fmla="*/ 109538 w 8802688"/>
                <a:gd name="connsiteY149" fmla="*/ 2970213 h 6677025"/>
                <a:gd name="connsiteX150" fmla="*/ 85725 w 8802688"/>
                <a:gd name="connsiteY150" fmla="*/ 2922588 h 6677025"/>
                <a:gd name="connsiteX151" fmla="*/ 65088 w 8802688"/>
                <a:gd name="connsiteY151" fmla="*/ 2868613 h 6677025"/>
                <a:gd name="connsiteX152" fmla="*/ 47625 w 8802688"/>
                <a:gd name="connsiteY152" fmla="*/ 2816225 h 6677025"/>
                <a:gd name="connsiteX153" fmla="*/ 30163 w 8802688"/>
                <a:gd name="connsiteY153" fmla="*/ 2762250 h 6677025"/>
                <a:gd name="connsiteX154" fmla="*/ 17463 w 8802688"/>
                <a:gd name="connsiteY154" fmla="*/ 2708275 h 6677025"/>
                <a:gd name="connsiteX155" fmla="*/ 9525 w 8802688"/>
                <a:gd name="connsiteY155" fmla="*/ 2655888 h 6677025"/>
                <a:gd name="connsiteX156" fmla="*/ 3175 w 8802688"/>
                <a:gd name="connsiteY156" fmla="*/ 2608263 h 6677025"/>
                <a:gd name="connsiteX157" fmla="*/ 0 w 8802688"/>
                <a:gd name="connsiteY157" fmla="*/ 2563813 h 6677025"/>
                <a:gd name="connsiteX158" fmla="*/ 0 w 8802688"/>
                <a:gd name="connsiteY158" fmla="*/ 2524125 h 6677025"/>
                <a:gd name="connsiteX159" fmla="*/ 9525 w 8802688"/>
                <a:gd name="connsiteY159" fmla="*/ 2492375 h 6677025"/>
                <a:gd name="connsiteX160" fmla="*/ 11113 w 8802688"/>
                <a:gd name="connsiteY160" fmla="*/ 2476500 h 6677025"/>
                <a:gd name="connsiteX161" fmla="*/ 17463 w 8802688"/>
                <a:gd name="connsiteY161" fmla="*/ 2465388 h 6677025"/>
                <a:gd name="connsiteX162" fmla="*/ 47625 w 8802688"/>
                <a:gd name="connsiteY162" fmla="*/ 2425700 h 6677025"/>
                <a:gd name="connsiteX163" fmla="*/ 79375 w 8802688"/>
                <a:gd name="connsiteY163" fmla="*/ 2387600 h 6677025"/>
                <a:gd name="connsiteX164" fmla="*/ 112713 w 8802688"/>
                <a:gd name="connsiteY164" fmla="*/ 2352675 h 6677025"/>
                <a:gd name="connsiteX165" fmla="*/ 149225 w 8802688"/>
                <a:gd name="connsiteY165" fmla="*/ 2322513 h 6677025"/>
                <a:gd name="connsiteX166" fmla="*/ 217488 w 8802688"/>
                <a:gd name="connsiteY166" fmla="*/ 2260600 h 6677025"/>
                <a:gd name="connsiteX167" fmla="*/ 5886450 w 8802688"/>
                <a:gd name="connsiteY167" fmla="*/ 2019300 h 6677025"/>
                <a:gd name="connsiteX168" fmla="*/ 5907087 w 8802688"/>
                <a:gd name="connsiteY168" fmla="*/ 2022475 h 6677025"/>
                <a:gd name="connsiteX169" fmla="*/ 5930900 w 8802688"/>
                <a:gd name="connsiteY169" fmla="*/ 2028825 h 6677025"/>
                <a:gd name="connsiteX170" fmla="*/ 5957888 w 8802688"/>
                <a:gd name="connsiteY170" fmla="*/ 2036763 h 6677025"/>
                <a:gd name="connsiteX171" fmla="*/ 5984875 w 8802688"/>
                <a:gd name="connsiteY171" fmla="*/ 2049463 h 6677025"/>
                <a:gd name="connsiteX172" fmla="*/ 6010275 w 8802688"/>
                <a:gd name="connsiteY172" fmla="*/ 2060575 h 6677025"/>
                <a:gd name="connsiteX173" fmla="*/ 6034088 w 8802688"/>
                <a:gd name="connsiteY173" fmla="*/ 2078038 h 6677025"/>
                <a:gd name="connsiteX174" fmla="*/ 6057900 w 8802688"/>
                <a:gd name="connsiteY174" fmla="*/ 2093913 h 6677025"/>
                <a:gd name="connsiteX175" fmla="*/ 5951538 w 8802688"/>
                <a:gd name="connsiteY175" fmla="*/ 2170113 h 6677025"/>
                <a:gd name="connsiteX176" fmla="*/ 5897562 w 8802688"/>
                <a:gd name="connsiteY176" fmla="*/ 2209800 h 6677025"/>
                <a:gd name="connsiteX177" fmla="*/ 5838825 w 8802688"/>
                <a:gd name="connsiteY177" fmla="*/ 2244725 h 6677025"/>
                <a:gd name="connsiteX178" fmla="*/ 5811837 w 8802688"/>
                <a:gd name="connsiteY178" fmla="*/ 2216150 h 6677025"/>
                <a:gd name="connsiteX179" fmla="*/ 5788025 w 8802688"/>
                <a:gd name="connsiteY179" fmla="*/ 2182813 h 6677025"/>
                <a:gd name="connsiteX180" fmla="*/ 5775325 w 8802688"/>
                <a:gd name="connsiteY180" fmla="*/ 2165350 h 6677025"/>
                <a:gd name="connsiteX181" fmla="*/ 5770562 w 8802688"/>
                <a:gd name="connsiteY181" fmla="*/ 2146300 h 6677025"/>
                <a:gd name="connsiteX182" fmla="*/ 5764212 w 8802688"/>
                <a:gd name="connsiteY182" fmla="*/ 2132013 h 6677025"/>
                <a:gd name="connsiteX183" fmla="*/ 5764212 w 8802688"/>
                <a:gd name="connsiteY183" fmla="*/ 2117725 h 6677025"/>
                <a:gd name="connsiteX184" fmla="*/ 5770562 w 8802688"/>
                <a:gd name="connsiteY184" fmla="*/ 2101850 h 6677025"/>
                <a:gd name="connsiteX185" fmla="*/ 5778500 w 8802688"/>
                <a:gd name="connsiteY185" fmla="*/ 2087563 h 6677025"/>
                <a:gd name="connsiteX186" fmla="*/ 5791200 w 8802688"/>
                <a:gd name="connsiteY186" fmla="*/ 2073275 h 6677025"/>
                <a:gd name="connsiteX187" fmla="*/ 5805487 w 8802688"/>
                <a:gd name="connsiteY187" fmla="*/ 2057400 h 6677025"/>
                <a:gd name="connsiteX188" fmla="*/ 5821362 w 8802688"/>
                <a:gd name="connsiteY188" fmla="*/ 2046288 h 6677025"/>
                <a:gd name="connsiteX189" fmla="*/ 5838825 w 8802688"/>
                <a:gd name="connsiteY189" fmla="*/ 2033588 h 6677025"/>
                <a:gd name="connsiteX190" fmla="*/ 5853112 w 8802688"/>
                <a:gd name="connsiteY190" fmla="*/ 2025650 h 6677025"/>
                <a:gd name="connsiteX191" fmla="*/ 5870575 w 8802688"/>
                <a:gd name="connsiteY191" fmla="*/ 2022475 h 6677025"/>
                <a:gd name="connsiteX192" fmla="*/ 6169026 w 8802688"/>
                <a:gd name="connsiteY192" fmla="*/ 1685925 h 6677025"/>
                <a:gd name="connsiteX193" fmla="*/ 6076951 w 8802688"/>
                <a:gd name="connsiteY193" fmla="*/ 1712913 h 6677025"/>
                <a:gd name="connsiteX194" fmla="*/ 5984875 w 8802688"/>
                <a:gd name="connsiteY194" fmla="*/ 1739900 h 6677025"/>
                <a:gd name="connsiteX195" fmla="*/ 5938838 w 8802688"/>
                <a:gd name="connsiteY195" fmla="*/ 1757363 h 6677025"/>
                <a:gd name="connsiteX196" fmla="*/ 5894388 w 8802688"/>
                <a:gd name="connsiteY196" fmla="*/ 1774825 h 6677025"/>
                <a:gd name="connsiteX197" fmla="*/ 5849938 w 8802688"/>
                <a:gd name="connsiteY197" fmla="*/ 1798638 h 6677025"/>
                <a:gd name="connsiteX198" fmla="*/ 5805488 w 8802688"/>
                <a:gd name="connsiteY198" fmla="*/ 1828800 h 6677025"/>
                <a:gd name="connsiteX199" fmla="*/ 5764213 w 8802688"/>
                <a:gd name="connsiteY199" fmla="*/ 1862138 h 6677025"/>
                <a:gd name="connsiteX200" fmla="*/ 5722938 w 8802688"/>
                <a:gd name="connsiteY200" fmla="*/ 1897063 h 6677025"/>
                <a:gd name="connsiteX201" fmla="*/ 5683250 w 8802688"/>
                <a:gd name="connsiteY201" fmla="*/ 1933575 h 6677025"/>
                <a:gd name="connsiteX202" fmla="*/ 5648325 w 8802688"/>
                <a:gd name="connsiteY202" fmla="*/ 1971675 h 6677025"/>
                <a:gd name="connsiteX203" fmla="*/ 5576888 w 8802688"/>
                <a:gd name="connsiteY203" fmla="*/ 2052638 h 6677025"/>
                <a:gd name="connsiteX204" fmla="*/ 5502275 w 8802688"/>
                <a:gd name="connsiteY204" fmla="*/ 2128838 h 6677025"/>
                <a:gd name="connsiteX205" fmla="*/ 5522913 w 8802688"/>
                <a:gd name="connsiteY205" fmla="*/ 2122488 h 6677025"/>
                <a:gd name="connsiteX206" fmla="*/ 5543550 w 8802688"/>
                <a:gd name="connsiteY206" fmla="*/ 2117725 h 6677025"/>
                <a:gd name="connsiteX207" fmla="*/ 5586413 w 8802688"/>
                <a:gd name="connsiteY207" fmla="*/ 2098675 h 6677025"/>
                <a:gd name="connsiteX208" fmla="*/ 5607050 w 8802688"/>
                <a:gd name="connsiteY208" fmla="*/ 2093913 h 6677025"/>
                <a:gd name="connsiteX209" fmla="*/ 5624513 w 8802688"/>
                <a:gd name="connsiteY209" fmla="*/ 2087563 h 6677025"/>
                <a:gd name="connsiteX210" fmla="*/ 5641975 w 8802688"/>
                <a:gd name="connsiteY210" fmla="*/ 2087563 h 6677025"/>
                <a:gd name="connsiteX211" fmla="*/ 5657850 w 8802688"/>
                <a:gd name="connsiteY211" fmla="*/ 2093913 h 6677025"/>
                <a:gd name="connsiteX212" fmla="*/ 5832475 w 8802688"/>
                <a:gd name="connsiteY212" fmla="*/ 2357438 h 6677025"/>
                <a:gd name="connsiteX213" fmla="*/ 5975350 w 8802688"/>
                <a:gd name="connsiteY213" fmla="*/ 2265363 h 6677025"/>
                <a:gd name="connsiteX214" fmla="*/ 6115051 w 8802688"/>
                <a:gd name="connsiteY214" fmla="*/ 2170113 h 6677025"/>
                <a:gd name="connsiteX215" fmla="*/ 6264276 w 8802688"/>
                <a:gd name="connsiteY215" fmla="*/ 2078038 h 6677025"/>
                <a:gd name="connsiteX216" fmla="*/ 6340476 w 8802688"/>
                <a:gd name="connsiteY216" fmla="*/ 2030413 h 6677025"/>
                <a:gd name="connsiteX217" fmla="*/ 6424613 w 8802688"/>
                <a:gd name="connsiteY217" fmla="*/ 1982788 h 6677025"/>
                <a:gd name="connsiteX218" fmla="*/ 6400801 w 8802688"/>
                <a:gd name="connsiteY218" fmla="*/ 1981200 h 6677025"/>
                <a:gd name="connsiteX219" fmla="*/ 6364288 w 8802688"/>
                <a:gd name="connsiteY219" fmla="*/ 1971675 h 6677025"/>
                <a:gd name="connsiteX220" fmla="*/ 6323013 w 8802688"/>
                <a:gd name="connsiteY220" fmla="*/ 1958975 h 6677025"/>
                <a:gd name="connsiteX221" fmla="*/ 6302376 w 8802688"/>
                <a:gd name="connsiteY221" fmla="*/ 1947863 h 6677025"/>
                <a:gd name="connsiteX222" fmla="*/ 6281738 w 8802688"/>
                <a:gd name="connsiteY222" fmla="*/ 1935163 h 6677025"/>
                <a:gd name="connsiteX223" fmla="*/ 6261101 w 8802688"/>
                <a:gd name="connsiteY223" fmla="*/ 1917700 h 6677025"/>
                <a:gd name="connsiteX224" fmla="*/ 6240463 w 8802688"/>
                <a:gd name="connsiteY224" fmla="*/ 1900238 h 6677025"/>
                <a:gd name="connsiteX225" fmla="*/ 6221413 w 8802688"/>
                <a:gd name="connsiteY225" fmla="*/ 1876425 h 6677025"/>
                <a:gd name="connsiteX226" fmla="*/ 6203951 w 8802688"/>
                <a:gd name="connsiteY226" fmla="*/ 1849438 h 6677025"/>
                <a:gd name="connsiteX227" fmla="*/ 6192838 w 8802688"/>
                <a:gd name="connsiteY227" fmla="*/ 1817688 h 6677025"/>
                <a:gd name="connsiteX228" fmla="*/ 6180138 w 8802688"/>
                <a:gd name="connsiteY228" fmla="*/ 1778000 h 6677025"/>
                <a:gd name="connsiteX229" fmla="*/ 6170613 w 8802688"/>
                <a:gd name="connsiteY229" fmla="*/ 1736725 h 6677025"/>
                <a:gd name="connsiteX230" fmla="*/ 8401050 w 8802688"/>
                <a:gd name="connsiteY230" fmla="*/ 1338262 h 6677025"/>
                <a:gd name="connsiteX231" fmla="*/ 8332788 w 8802688"/>
                <a:gd name="connsiteY231" fmla="*/ 1382712 h 6677025"/>
                <a:gd name="connsiteX232" fmla="*/ 8264525 w 8802688"/>
                <a:gd name="connsiteY232" fmla="*/ 1430337 h 6677025"/>
                <a:gd name="connsiteX233" fmla="*/ 8131175 w 8802688"/>
                <a:gd name="connsiteY233" fmla="*/ 1531937 h 6677025"/>
                <a:gd name="connsiteX234" fmla="*/ 8002588 w 8802688"/>
                <a:gd name="connsiteY234" fmla="*/ 1630363 h 6677025"/>
                <a:gd name="connsiteX235" fmla="*/ 7886700 w 8802688"/>
                <a:gd name="connsiteY235" fmla="*/ 1722438 h 6677025"/>
                <a:gd name="connsiteX236" fmla="*/ 7920038 w 8802688"/>
                <a:gd name="connsiteY236" fmla="*/ 1727200 h 6677025"/>
                <a:gd name="connsiteX237" fmla="*/ 7954963 w 8802688"/>
                <a:gd name="connsiteY237" fmla="*/ 1727200 h 6677025"/>
                <a:gd name="connsiteX238" fmla="*/ 7993063 w 8802688"/>
                <a:gd name="connsiteY238" fmla="*/ 1725613 h 6677025"/>
                <a:gd name="connsiteX239" fmla="*/ 8029575 w 8802688"/>
                <a:gd name="connsiteY239" fmla="*/ 1716088 h 6677025"/>
                <a:gd name="connsiteX240" fmla="*/ 8064500 w 8802688"/>
                <a:gd name="connsiteY240" fmla="*/ 1703388 h 6677025"/>
                <a:gd name="connsiteX241" fmla="*/ 8101013 w 8802688"/>
                <a:gd name="connsiteY241" fmla="*/ 1689100 h 6677025"/>
                <a:gd name="connsiteX242" fmla="*/ 8135938 w 8802688"/>
                <a:gd name="connsiteY242" fmla="*/ 1668463 h 6677025"/>
                <a:gd name="connsiteX243" fmla="*/ 8172450 w 8802688"/>
                <a:gd name="connsiteY243" fmla="*/ 1644650 h 6677025"/>
                <a:gd name="connsiteX244" fmla="*/ 8204200 w 8802688"/>
                <a:gd name="connsiteY244" fmla="*/ 1617662 h 6677025"/>
                <a:gd name="connsiteX245" fmla="*/ 8237538 w 8802688"/>
                <a:gd name="connsiteY245" fmla="*/ 1587500 h 6677025"/>
                <a:gd name="connsiteX246" fmla="*/ 8270875 w 8802688"/>
                <a:gd name="connsiteY246" fmla="*/ 1555750 h 6677025"/>
                <a:gd name="connsiteX247" fmla="*/ 8299450 w 8802688"/>
                <a:gd name="connsiteY247" fmla="*/ 1516062 h 6677025"/>
                <a:gd name="connsiteX248" fmla="*/ 8329613 w 8802688"/>
                <a:gd name="connsiteY248" fmla="*/ 1477963 h 6677025"/>
                <a:gd name="connsiteX249" fmla="*/ 8356600 w 8802688"/>
                <a:gd name="connsiteY249" fmla="*/ 1433512 h 6677025"/>
                <a:gd name="connsiteX250" fmla="*/ 8380413 w 8802688"/>
                <a:gd name="connsiteY250" fmla="*/ 1389062 h 6677025"/>
                <a:gd name="connsiteX251" fmla="*/ 4067176 w 8802688"/>
                <a:gd name="connsiteY251" fmla="*/ 1181100 h 6677025"/>
                <a:gd name="connsiteX252" fmla="*/ 3979864 w 8802688"/>
                <a:gd name="connsiteY252" fmla="*/ 1184275 h 6677025"/>
                <a:gd name="connsiteX253" fmla="*/ 3900489 w 8802688"/>
                <a:gd name="connsiteY253" fmla="*/ 1192213 h 6677025"/>
                <a:gd name="connsiteX254" fmla="*/ 3860801 w 8802688"/>
                <a:gd name="connsiteY254" fmla="*/ 1201738 h 6677025"/>
                <a:gd name="connsiteX255" fmla="*/ 3825876 w 8802688"/>
                <a:gd name="connsiteY255" fmla="*/ 1211263 h 6677025"/>
                <a:gd name="connsiteX256" fmla="*/ 3790951 w 8802688"/>
                <a:gd name="connsiteY256" fmla="*/ 1219200 h 6677025"/>
                <a:gd name="connsiteX257" fmla="*/ 3757613 w 8802688"/>
                <a:gd name="connsiteY257" fmla="*/ 1231900 h 6677025"/>
                <a:gd name="connsiteX258" fmla="*/ 3724276 w 8802688"/>
                <a:gd name="connsiteY258" fmla="*/ 1246188 h 6677025"/>
                <a:gd name="connsiteX259" fmla="*/ 3695701 w 8802688"/>
                <a:gd name="connsiteY259" fmla="*/ 1260475 h 6677025"/>
                <a:gd name="connsiteX260" fmla="*/ 3665538 w 8802688"/>
                <a:gd name="connsiteY260" fmla="*/ 1279525 h 6677025"/>
                <a:gd name="connsiteX261" fmla="*/ 3635376 w 8802688"/>
                <a:gd name="connsiteY261" fmla="*/ 1296988 h 6677025"/>
                <a:gd name="connsiteX262" fmla="*/ 3608388 w 8802688"/>
                <a:gd name="connsiteY262" fmla="*/ 1317625 h 6677025"/>
                <a:gd name="connsiteX263" fmla="*/ 3581401 w 8802688"/>
                <a:gd name="connsiteY263" fmla="*/ 1341438 h 6677025"/>
                <a:gd name="connsiteX264" fmla="*/ 3557588 w 8802688"/>
                <a:gd name="connsiteY264" fmla="*/ 1365250 h 6677025"/>
                <a:gd name="connsiteX265" fmla="*/ 3533776 w 8802688"/>
                <a:gd name="connsiteY265" fmla="*/ 1392238 h 6677025"/>
                <a:gd name="connsiteX266" fmla="*/ 3509963 w 8802688"/>
                <a:gd name="connsiteY266" fmla="*/ 1419225 h 6677025"/>
                <a:gd name="connsiteX267" fmla="*/ 3489326 w 8802688"/>
                <a:gd name="connsiteY267" fmla="*/ 1450975 h 6677025"/>
                <a:gd name="connsiteX268" fmla="*/ 3468688 w 8802688"/>
                <a:gd name="connsiteY268" fmla="*/ 1481138 h 6677025"/>
                <a:gd name="connsiteX269" fmla="*/ 3448051 w 8802688"/>
                <a:gd name="connsiteY269" fmla="*/ 1516063 h 6677025"/>
                <a:gd name="connsiteX270" fmla="*/ 3413126 w 8802688"/>
                <a:gd name="connsiteY270" fmla="*/ 1590675 h 6677025"/>
                <a:gd name="connsiteX271" fmla="*/ 3379788 w 8802688"/>
                <a:gd name="connsiteY271" fmla="*/ 1671638 h 6677025"/>
                <a:gd name="connsiteX272" fmla="*/ 3349626 w 8802688"/>
                <a:gd name="connsiteY272" fmla="*/ 1763713 h 6677025"/>
                <a:gd name="connsiteX273" fmla="*/ 3325813 w 8802688"/>
                <a:gd name="connsiteY273" fmla="*/ 1865313 h 6677025"/>
                <a:gd name="connsiteX274" fmla="*/ 3302001 w 8802688"/>
                <a:gd name="connsiteY274" fmla="*/ 1971676 h 6677025"/>
                <a:gd name="connsiteX275" fmla="*/ 3281363 w 8802688"/>
                <a:gd name="connsiteY275" fmla="*/ 2090738 h 6677025"/>
                <a:gd name="connsiteX276" fmla="*/ 3368676 w 8802688"/>
                <a:gd name="connsiteY276" fmla="*/ 1944688 h 6677025"/>
                <a:gd name="connsiteX277" fmla="*/ 3451226 w 8802688"/>
                <a:gd name="connsiteY277" fmla="*/ 1787526 h 6677025"/>
                <a:gd name="connsiteX278" fmla="*/ 3533776 w 8802688"/>
                <a:gd name="connsiteY278" fmla="*/ 1624013 h 6677025"/>
                <a:gd name="connsiteX279" fmla="*/ 3617913 w 8802688"/>
                <a:gd name="connsiteY279" fmla="*/ 1454150 h 6677025"/>
                <a:gd name="connsiteX280" fmla="*/ 3652838 w 8802688"/>
                <a:gd name="connsiteY280" fmla="*/ 1454150 h 6677025"/>
                <a:gd name="connsiteX281" fmla="*/ 3656013 w 8802688"/>
                <a:gd name="connsiteY281" fmla="*/ 1495425 h 6677025"/>
                <a:gd name="connsiteX282" fmla="*/ 3659188 w 8802688"/>
                <a:gd name="connsiteY282" fmla="*/ 1531938 h 6677025"/>
                <a:gd name="connsiteX283" fmla="*/ 3673476 w 8802688"/>
                <a:gd name="connsiteY283" fmla="*/ 1600200 h 6677025"/>
                <a:gd name="connsiteX284" fmla="*/ 3686176 w 8802688"/>
                <a:gd name="connsiteY284" fmla="*/ 1658938 h 6677025"/>
                <a:gd name="connsiteX285" fmla="*/ 3689351 w 8802688"/>
                <a:gd name="connsiteY285" fmla="*/ 1689100 h 6677025"/>
                <a:gd name="connsiteX286" fmla="*/ 3692526 w 8802688"/>
                <a:gd name="connsiteY286" fmla="*/ 1716088 h 6677025"/>
                <a:gd name="connsiteX287" fmla="*/ 3713163 w 8802688"/>
                <a:gd name="connsiteY287" fmla="*/ 1662113 h 6677025"/>
                <a:gd name="connsiteX288" fmla="*/ 3736976 w 8802688"/>
                <a:gd name="connsiteY288" fmla="*/ 1609725 h 6677025"/>
                <a:gd name="connsiteX289" fmla="*/ 3757613 w 8802688"/>
                <a:gd name="connsiteY289" fmla="*/ 1562101 h 6677025"/>
                <a:gd name="connsiteX290" fmla="*/ 3784601 w 8802688"/>
                <a:gd name="connsiteY290" fmla="*/ 1514475 h 6677025"/>
                <a:gd name="connsiteX291" fmla="*/ 3811588 w 8802688"/>
                <a:gd name="connsiteY291" fmla="*/ 1471613 h 6677025"/>
                <a:gd name="connsiteX292" fmla="*/ 3840163 w 8802688"/>
                <a:gd name="connsiteY292" fmla="*/ 1430338 h 6677025"/>
                <a:gd name="connsiteX293" fmla="*/ 3870326 w 8802688"/>
                <a:gd name="connsiteY293" fmla="*/ 1392238 h 6677025"/>
                <a:gd name="connsiteX294" fmla="*/ 3906839 w 8802688"/>
                <a:gd name="connsiteY294" fmla="*/ 1355725 h 6677025"/>
                <a:gd name="connsiteX295" fmla="*/ 3941764 w 8802688"/>
                <a:gd name="connsiteY295" fmla="*/ 1327150 h 6677025"/>
                <a:gd name="connsiteX296" fmla="*/ 3979864 w 8802688"/>
                <a:gd name="connsiteY296" fmla="*/ 1296988 h 6677025"/>
                <a:gd name="connsiteX297" fmla="*/ 4022726 w 8802688"/>
                <a:gd name="connsiteY297" fmla="*/ 1273175 h 6677025"/>
                <a:gd name="connsiteX298" fmla="*/ 4067176 w 8802688"/>
                <a:gd name="connsiteY298" fmla="*/ 1249363 h 6677025"/>
                <a:gd name="connsiteX299" fmla="*/ 4117976 w 8802688"/>
                <a:gd name="connsiteY299" fmla="*/ 1231900 h 6677025"/>
                <a:gd name="connsiteX300" fmla="*/ 4167189 w 8802688"/>
                <a:gd name="connsiteY300" fmla="*/ 1216025 h 6677025"/>
                <a:gd name="connsiteX301" fmla="*/ 4224339 w 8802688"/>
                <a:gd name="connsiteY301" fmla="*/ 1201738 h 6677025"/>
                <a:gd name="connsiteX302" fmla="*/ 4286251 w 8802688"/>
                <a:gd name="connsiteY302" fmla="*/ 1195388 h 6677025"/>
                <a:gd name="connsiteX303" fmla="*/ 4170364 w 8802688"/>
                <a:gd name="connsiteY303" fmla="*/ 1184275 h 6677025"/>
                <a:gd name="connsiteX304" fmla="*/ 4117976 w 8802688"/>
                <a:gd name="connsiteY304" fmla="*/ 1181100 h 6677025"/>
                <a:gd name="connsiteX305" fmla="*/ 5586413 w 8802688"/>
                <a:gd name="connsiteY305" fmla="*/ 1166812 h 6677025"/>
                <a:gd name="connsiteX306" fmla="*/ 5481638 w 8802688"/>
                <a:gd name="connsiteY306" fmla="*/ 1204912 h 6677025"/>
                <a:gd name="connsiteX307" fmla="*/ 5437188 w 8802688"/>
                <a:gd name="connsiteY307" fmla="*/ 1225550 h 6677025"/>
                <a:gd name="connsiteX308" fmla="*/ 5399088 w 8802688"/>
                <a:gd name="connsiteY308" fmla="*/ 1243012 h 6677025"/>
                <a:gd name="connsiteX309" fmla="*/ 5365751 w 8802688"/>
                <a:gd name="connsiteY309" fmla="*/ 1260475 h 6677025"/>
                <a:gd name="connsiteX310" fmla="*/ 5335588 w 8802688"/>
                <a:gd name="connsiteY310" fmla="*/ 1282700 h 6677025"/>
                <a:gd name="connsiteX311" fmla="*/ 5308601 w 8802688"/>
                <a:gd name="connsiteY311" fmla="*/ 1300162 h 6677025"/>
                <a:gd name="connsiteX312" fmla="*/ 5287963 w 8802688"/>
                <a:gd name="connsiteY312" fmla="*/ 1320800 h 6677025"/>
                <a:gd name="connsiteX313" fmla="*/ 5270501 w 8802688"/>
                <a:gd name="connsiteY313" fmla="*/ 1341437 h 6677025"/>
                <a:gd name="connsiteX314" fmla="*/ 5259388 w 8802688"/>
                <a:gd name="connsiteY314" fmla="*/ 1362075 h 6677025"/>
                <a:gd name="connsiteX315" fmla="*/ 5246688 w 8802688"/>
                <a:gd name="connsiteY315" fmla="*/ 1385887 h 6677025"/>
                <a:gd name="connsiteX316" fmla="*/ 5240338 w 8802688"/>
                <a:gd name="connsiteY316" fmla="*/ 1409700 h 6677025"/>
                <a:gd name="connsiteX317" fmla="*/ 5237163 w 8802688"/>
                <a:gd name="connsiteY317" fmla="*/ 1436687 h 6677025"/>
                <a:gd name="connsiteX318" fmla="*/ 5237163 w 8802688"/>
                <a:gd name="connsiteY318" fmla="*/ 1463675 h 6677025"/>
                <a:gd name="connsiteX319" fmla="*/ 5240338 w 8802688"/>
                <a:gd name="connsiteY319" fmla="*/ 1492250 h 6677025"/>
                <a:gd name="connsiteX320" fmla="*/ 5246688 w 8802688"/>
                <a:gd name="connsiteY320" fmla="*/ 1525587 h 6677025"/>
                <a:gd name="connsiteX321" fmla="*/ 5287963 w 8802688"/>
                <a:gd name="connsiteY321" fmla="*/ 1484312 h 6677025"/>
                <a:gd name="connsiteX322" fmla="*/ 5330826 w 8802688"/>
                <a:gd name="connsiteY322" fmla="*/ 1439862 h 6677025"/>
                <a:gd name="connsiteX323" fmla="*/ 5416551 w 8802688"/>
                <a:gd name="connsiteY323" fmla="*/ 1347787 h 6677025"/>
                <a:gd name="connsiteX324" fmla="*/ 5499101 w 8802688"/>
                <a:gd name="connsiteY324" fmla="*/ 1252537 h 6677025"/>
                <a:gd name="connsiteX325" fmla="*/ 5540376 w 8802688"/>
                <a:gd name="connsiteY325" fmla="*/ 1208087 h 6677025"/>
                <a:gd name="connsiteX326" fmla="*/ 5434013 w 8802688"/>
                <a:gd name="connsiteY326" fmla="*/ 0 h 6677025"/>
                <a:gd name="connsiteX327" fmla="*/ 5519738 w 8802688"/>
                <a:gd name="connsiteY327" fmla="*/ 3175 h 6677025"/>
                <a:gd name="connsiteX328" fmla="*/ 5610226 w 8802688"/>
                <a:gd name="connsiteY328" fmla="*/ 12700 h 6677025"/>
                <a:gd name="connsiteX329" fmla="*/ 5699126 w 8802688"/>
                <a:gd name="connsiteY329" fmla="*/ 30163 h 6677025"/>
                <a:gd name="connsiteX330" fmla="*/ 5788026 w 8802688"/>
                <a:gd name="connsiteY330" fmla="*/ 50800 h 6677025"/>
                <a:gd name="connsiteX331" fmla="*/ 5876926 w 8802688"/>
                <a:gd name="connsiteY331" fmla="*/ 77788 h 6677025"/>
                <a:gd name="connsiteX332" fmla="*/ 5965826 w 8802688"/>
                <a:gd name="connsiteY332" fmla="*/ 111125 h 6677025"/>
                <a:gd name="connsiteX333" fmla="*/ 6054726 w 8802688"/>
                <a:gd name="connsiteY333" fmla="*/ 146050 h 6677025"/>
                <a:gd name="connsiteX334" fmla="*/ 6142038 w 8802688"/>
                <a:gd name="connsiteY334" fmla="*/ 187325 h 6677025"/>
                <a:gd name="connsiteX335" fmla="*/ 6237288 w 8802688"/>
                <a:gd name="connsiteY335" fmla="*/ 258763 h 6677025"/>
                <a:gd name="connsiteX336" fmla="*/ 6329363 w 8802688"/>
                <a:gd name="connsiteY336" fmla="*/ 333375 h 6677025"/>
                <a:gd name="connsiteX337" fmla="*/ 6418263 w 8802688"/>
                <a:gd name="connsiteY337" fmla="*/ 407988 h 6677025"/>
                <a:gd name="connsiteX338" fmla="*/ 6507163 w 8802688"/>
                <a:gd name="connsiteY338" fmla="*/ 485775 h 6677025"/>
                <a:gd name="connsiteX339" fmla="*/ 6677026 w 8802688"/>
                <a:gd name="connsiteY339" fmla="*/ 639763 h 6677025"/>
                <a:gd name="connsiteX340" fmla="*/ 6762751 w 8802688"/>
                <a:gd name="connsiteY340" fmla="*/ 714375 h 6677025"/>
                <a:gd name="connsiteX341" fmla="*/ 6846888 w 8802688"/>
                <a:gd name="connsiteY341" fmla="*/ 785813 h 6677025"/>
                <a:gd name="connsiteX342" fmla="*/ 6846888 w 8802688"/>
                <a:gd name="connsiteY342" fmla="*/ 796926 h 6677025"/>
                <a:gd name="connsiteX343" fmla="*/ 6851651 w 8802688"/>
                <a:gd name="connsiteY343" fmla="*/ 812801 h 6677025"/>
                <a:gd name="connsiteX344" fmla="*/ 6858001 w 8802688"/>
                <a:gd name="connsiteY344" fmla="*/ 823913 h 6677025"/>
                <a:gd name="connsiteX345" fmla="*/ 6867526 w 8802688"/>
                <a:gd name="connsiteY345" fmla="*/ 836613 h 6677025"/>
                <a:gd name="connsiteX346" fmla="*/ 6878638 w 8802688"/>
                <a:gd name="connsiteY346" fmla="*/ 844550 h 6677025"/>
                <a:gd name="connsiteX347" fmla="*/ 6891338 w 8802688"/>
                <a:gd name="connsiteY347" fmla="*/ 854075 h 6677025"/>
                <a:gd name="connsiteX348" fmla="*/ 6905626 w 8802688"/>
                <a:gd name="connsiteY348" fmla="*/ 857250 h 6677025"/>
                <a:gd name="connsiteX349" fmla="*/ 6919913 w 8802688"/>
                <a:gd name="connsiteY349" fmla="*/ 860425 h 6677025"/>
                <a:gd name="connsiteX350" fmla="*/ 6973888 w 8802688"/>
                <a:gd name="connsiteY350" fmla="*/ 868363 h 6677025"/>
                <a:gd name="connsiteX351" fmla="*/ 7024688 w 8802688"/>
                <a:gd name="connsiteY351" fmla="*/ 884238 h 6677025"/>
                <a:gd name="connsiteX352" fmla="*/ 7072313 w 8802688"/>
                <a:gd name="connsiteY352" fmla="*/ 901700 h 6677025"/>
                <a:gd name="connsiteX353" fmla="*/ 7116763 w 8802688"/>
                <a:gd name="connsiteY353" fmla="*/ 925513 h 6677025"/>
                <a:gd name="connsiteX354" fmla="*/ 7158038 w 8802688"/>
                <a:gd name="connsiteY354" fmla="*/ 952500 h 6677025"/>
                <a:gd name="connsiteX355" fmla="*/ 7199313 w 8802688"/>
                <a:gd name="connsiteY355" fmla="*/ 981075 h 6677025"/>
                <a:gd name="connsiteX356" fmla="*/ 7235826 w 8802688"/>
                <a:gd name="connsiteY356" fmla="*/ 1014413 h 6677025"/>
                <a:gd name="connsiteX357" fmla="*/ 7270751 w 8802688"/>
                <a:gd name="connsiteY357" fmla="*/ 1049338 h 6677025"/>
                <a:gd name="connsiteX358" fmla="*/ 7307263 w 8802688"/>
                <a:gd name="connsiteY358" fmla="*/ 1089025 h 6677025"/>
                <a:gd name="connsiteX359" fmla="*/ 7337426 w 8802688"/>
                <a:gd name="connsiteY359" fmla="*/ 1127125 h 6677025"/>
                <a:gd name="connsiteX360" fmla="*/ 7399338 w 8802688"/>
                <a:gd name="connsiteY360" fmla="*/ 1211263 h 6677025"/>
                <a:gd name="connsiteX361" fmla="*/ 7454901 w 8802688"/>
                <a:gd name="connsiteY361" fmla="*/ 1296988 h 6677025"/>
                <a:gd name="connsiteX362" fmla="*/ 7512051 w 8802688"/>
                <a:gd name="connsiteY362" fmla="*/ 1382713 h 6677025"/>
                <a:gd name="connsiteX363" fmla="*/ 7069138 w 8802688"/>
                <a:gd name="connsiteY363" fmla="*/ 1492250 h 6677025"/>
                <a:gd name="connsiteX364" fmla="*/ 7083426 w 8802688"/>
                <a:gd name="connsiteY364" fmla="*/ 1573213 h 6677025"/>
                <a:gd name="connsiteX365" fmla="*/ 7092951 w 8802688"/>
                <a:gd name="connsiteY365" fmla="*/ 1611313 h 6677025"/>
                <a:gd name="connsiteX366" fmla="*/ 7104063 w 8802688"/>
                <a:gd name="connsiteY366" fmla="*/ 1647826 h 6677025"/>
                <a:gd name="connsiteX367" fmla="*/ 7116763 w 8802688"/>
                <a:gd name="connsiteY367" fmla="*/ 1677988 h 6677025"/>
                <a:gd name="connsiteX368" fmla="*/ 7131051 w 8802688"/>
                <a:gd name="connsiteY368" fmla="*/ 1706563 h 6677025"/>
                <a:gd name="connsiteX369" fmla="*/ 7150101 w 8802688"/>
                <a:gd name="connsiteY369" fmla="*/ 1733550 h 6677025"/>
                <a:gd name="connsiteX370" fmla="*/ 7170738 w 8802688"/>
                <a:gd name="connsiteY370" fmla="*/ 1754188 h 6677025"/>
                <a:gd name="connsiteX371" fmla="*/ 7191376 w 8802688"/>
                <a:gd name="connsiteY371" fmla="*/ 1774825 h 6677025"/>
                <a:gd name="connsiteX372" fmla="*/ 7218363 w 8802688"/>
                <a:gd name="connsiteY372" fmla="*/ 1790700 h 6677025"/>
                <a:gd name="connsiteX373" fmla="*/ 7243763 w 8802688"/>
                <a:gd name="connsiteY373" fmla="*/ 1801813 h 6677025"/>
                <a:gd name="connsiteX374" fmla="*/ 7277101 w 8802688"/>
                <a:gd name="connsiteY374" fmla="*/ 1811338 h 6677025"/>
                <a:gd name="connsiteX375" fmla="*/ 7310438 w 8802688"/>
                <a:gd name="connsiteY375" fmla="*/ 1814513 h 6677025"/>
                <a:gd name="connsiteX376" fmla="*/ 7348538 w 8802688"/>
                <a:gd name="connsiteY376" fmla="*/ 1811338 h 6677025"/>
                <a:gd name="connsiteX377" fmla="*/ 7392988 w 8802688"/>
                <a:gd name="connsiteY377" fmla="*/ 1804988 h 6677025"/>
                <a:gd name="connsiteX378" fmla="*/ 7437438 w 8802688"/>
                <a:gd name="connsiteY378" fmla="*/ 1793875 h 6677025"/>
                <a:gd name="connsiteX379" fmla="*/ 7550151 w 8802688"/>
                <a:gd name="connsiteY379" fmla="*/ 1906588 h 6677025"/>
                <a:gd name="connsiteX380" fmla="*/ 7362826 w 8802688"/>
                <a:gd name="connsiteY380" fmla="*/ 1941513 h 6677025"/>
                <a:gd name="connsiteX381" fmla="*/ 7221538 w 8802688"/>
                <a:gd name="connsiteY381" fmla="*/ 1974850 h 6677025"/>
                <a:gd name="connsiteX382" fmla="*/ 7164388 w 8802688"/>
                <a:gd name="connsiteY382" fmla="*/ 1992313 h 6677025"/>
                <a:gd name="connsiteX383" fmla="*/ 7116763 w 8802688"/>
                <a:gd name="connsiteY383" fmla="*/ 2006600 h 6677025"/>
                <a:gd name="connsiteX384" fmla="*/ 7075488 w 8802688"/>
                <a:gd name="connsiteY384" fmla="*/ 2025650 h 6677025"/>
                <a:gd name="connsiteX385" fmla="*/ 7038976 w 8802688"/>
                <a:gd name="connsiteY385" fmla="*/ 2046288 h 6677025"/>
                <a:gd name="connsiteX386" fmla="*/ 7011988 w 8802688"/>
                <a:gd name="connsiteY386" fmla="*/ 2066925 h 6677025"/>
                <a:gd name="connsiteX387" fmla="*/ 6988176 w 8802688"/>
                <a:gd name="connsiteY387" fmla="*/ 2093913 h 6677025"/>
                <a:gd name="connsiteX388" fmla="*/ 6970713 w 8802688"/>
                <a:gd name="connsiteY388" fmla="*/ 2122488 h 6677025"/>
                <a:gd name="connsiteX389" fmla="*/ 6956426 w 8802688"/>
                <a:gd name="connsiteY389" fmla="*/ 2159000 h 6677025"/>
                <a:gd name="connsiteX390" fmla="*/ 6943726 w 8802688"/>
                <a:gd name="connsiteY390" fmla="*/ 2197100 h 6677025"/>
                <a:gd name="connsiteX391" fmla="*/ 6935788 w 8802688"/>
                <a:gd name="connsiteY391" fmla="*/ 2241550 h 6677025"/>
                <a:gd name="connsiteX392" fmla="*/ 6926263 w 8802688"/>
                <a:gd name="connsiteY392" fmla="*/ 2295525 h 6677025"/>
                <a:gd name="connsiteX393" fmla="*/ 6919913 w 8802688"/>
                <a:gd name="connsiteY393" fmla="*/ 2355850 h 6677025"/>
                <a:gd name="connsiteX394" fmla="*/ 6946901 w 8802688"/>
                <a:gd name="connsiteY394" fmla="*/ 2298700 h 6677025"/>
                <a:gd name="connsiteX395" fmla="*/ 6973888 w 8802688"/>
                <a:gd name="connsiteY395" fmla="*/ 2244725 h 6677025"/>
                <a:gd name="connsiteX396" fmla="*/ 7004051 w 8802688"/>
                <a:gd name="connsiteY396" fmla="*/ 2200275 h 6677025"/>
                <a:gd name="connsiteX397" fmla="*/ 7015163 w 8802688"/>
                <a:gd name="connsiteY397" fmla="*/ 2182813 h 6677025"/>
                <a:gd name="connsiteX398" fmla="*/ 7031038 w 8802688"/>
                <a:gd name="connsiteY398" fmla="*/ 2168525 h 6677025"/>
                <a:gd name="connsiteX399" fmla="*/ 7081838 w 8802688"/>
                <a:gd name="connsiteY399" fmla="*/ 2117725 h 6677025"/>
                <a:gd name="connsiteX400" fmla="*/ 7127876 w 8802688"/>
                <a:gd name="connsiteY400" fmla="*/ 2073276 h 6677025"/>
                <a:gd name="connsiteX401" fmla="*/ 7181851 w 8802688"/>
                <a:gd name="connsiteY401" fmla="*/ 2030413 h 6677025"/>
                <a:gd name="connsiteX402" fmla="*/ 7253288 w 8802688"/>
                <a:gd name="connsiteY402" fmla="*/ 1981200 h 6677025"/>
                <a:gd name="connsiteX403" fmla="*/ 7226301 w 8802688"/>
                <a:gd name="connsiteY403" fmla="*/ 2135188 h 6677025"/>
                <a:gd name="connsiteX404" fmla="*/ 7197726 w 8802688"/>
                <a:gd name="connsiteY404" fmla="*/ 2268538 h 6677025"/>
                <a:gd name="connsiteX405" fmla="*/ 7170738 w 8802688"/>
                <a:gd name="connsiteY405" fmla="*/ 2390775 h 6677025"/>
                <a:gd name="connsiteX406" fmla="*/ 7140576 w 8802688"/>
                <a:gd name="connsiteY406" fmla="*/ 2503488 h 6677025"/>
                <a:gd name="connsiteX407" fmla="*/ 7178676 w 8802688"/>
                <a:gd name="connsiteY407" fmla="*/ 2503488 h 6677025"/>
                <a:gd name="connsiteX408" fmla="*/ 7235826 w 8802688"/>
                <a:gd name="connsiteY408" fmla="*/ 2414588 h 6677025"/>
                <a:gd name="connsiteX409" fmla="*/ 7289801 w 8802688"/>
                <a:gd name="connsiteY409" fmla="*/ 2316163 h 6677025"/>
                <a:gd name="connsiteX410" fmla="*/ 7345363 w 8802688"/>
                <a:gd name="connsiteY410" fmla="*/ 2217738 h 6677025"/>
                <a:gd name="connsiteX411" fmla="*/ 7402513 w 8802688"/>
                <a:gd name="connsiteY411" fmla="*/ 2128838 h 6677025"/>
                <a:gd name="connsiteX412" fmla="*/ 7405688 w 8802688"/>
                <a:gd name="connsiteY412" fmla="*/ 2117725 h 6677025"/>
                <a:gd name="connsiteX413" fmla="*/ 7413626 w 8802688"/>
                <a:gd name="connsiteY413" fmla="*/ 2108200 h 6677025"/>
                <a:gd name="connsiteX414" fmla="*/ 7426326 w 8802688"/>
                <a:gd name="connsiteY414" fmla="*/ 2098675 h 6677025"/>
                <a:gd name="connsiteX415" fmla="*/ 7443788 w 8802688"/>
                <a:gd name="connsiteY415" fmla="*/ 2093913 h 6677025"/>
                <a:gd name="connsiteX416" fmla="*/ 7478713 w 8802688"/>
                <a:gd name="connsiteY416" fmla="*/ 2076451 h 6677025"/>
                <a:gd name="connsiteX417" fmla="*/ 7497763 w 8802688"/>
                <a:gd name="connsiteY417" fmla="*/ 2066925 h 6677025"/>
                <a:gd name="connsiteX418" fmla="*/ 7512051 w 8802688"/>
                <a:gd name="connsiteY418" fmla="*/ 2054225 h 6677025"/>
                <a:gd name="connsiteX419" fmla="*/ 7539038 w 8802688"/>
                <a:gd name="connsiteY419" fmla="*/ 2084388 h 6677025"/>
                <a:gd name="connsiteX420" fmla="*/ 7553326 w 8802688"/>
                <a:gd name="connsiteY420" fmla="*/ 2098675 h 6677025"/>
                <a:gd name="connsiteX421" fmla="*/ 7562851 w 8802688"/>
                <a:gd name="connsiteY421" fmla="*/ 2114550 h 6677025"/>
                <a:gd name="connsiteX422" fmla="*/ 7573963 w 8802688"/>
                <a:gd name="connsiteY422" fmla="*/ 2135188 h 6677025"/>
                <a:gd name="connsiteX423" fmla="*/ 7580313 w 8802688"/>
                <a:gd name="connsiteY423" fmla="*/ 2155825 h 6677025"/>
                <a:gd name="connsiteX424" fmla="*/ 7586663 w 8802688"/>
                <a:gd name="connsiteY424" fmla="*/ 2176463 h 6677025"/>
                <a:gd name="connsiteX425" fmla="*/ 7586663 w 8802688"/>
                <a:gd name="connsiteY425" fmla="*/ 2203450 h 6677025"/>
                <a:gd name="connsiteX426" fmla="*/ 7586663 w 8802688"/>
                <a:gd name="connsiteY426" fmla="*/ 2262188 h 6677025"/>
                <a:gd name="connsiteX427" fmla="*/ 7580313 w 8802688"/>
                <a:gd name="connsiteY427" fmla="*/ 2322513 h 6677025"/>
                <a:gd name="connsiteX428" fmla="*/ 7569201 w 8802688"/>
                <a:gd name="connsiteY428" fmla="*/ 2452688 h 6677025"/>
                <a:gd name="connsiteX429" fmla="*/ 7556501 w 8802688"/>
                <a:gd name="connsiteY429" fmla="*/ 2587625 h 6677025"/>
                <a:gd name="connsiteX430" fmla="*/ 7550151 w 8802688"/>
                <a:gd name="connsiteY430" fmla="*/ 2659063 h 6677025"/>
                <a:gd name="connsiteX431" fmla="*/ 7550151 w 8802688"/>
                <a:gd name="connsiteY431" fmla="*/ 2727325 h 6677025"/>
                <a:gd name="connsiteX432" fmla="*/ 7589838 w 8802688"/>
                <a:gd name="connsiteY432" fmla="*/ 2613025 h 6677025"/>
                <a:gd name="connsiteX433" fmla="*/ 7624763 w 8802688"/>
                <a:gd name="connsiteY433" fmla="*/ 2503488 h 6677025"/>
                <a:gd name="connsiteX434" fmla="*/ 7654926 w 8802688"/>
                <a:gd name="connsiteY434" fmla="*/ 2390775 h 6677025"/>
                <a:gd name="connsiteX435" fmla="*/ 7666038 w 8802688"/>
                <a:gd name="connsiteY435" fmla="*/ 2333625 h 6677025"/>
                <a:gd name="connsiteX436" fmla="*/ 7675563 w 8802688"/>
                <a:gd name="connsiteY436" fmla="*/ 2278063 h 6677025"/>
                <a:gd name="connsiteX437" fmla="*/ 7681913 w 8802688"/>
                <a:gd name="connsiteY437" fmla="*/ 2224088 h 6677025"/>
                <a:gd name="connsiteX438" fmla="*/ 7688263 w 8802688"/>
                <a:gd name="connsiteY438" fmla="*/ 2168525 h 6677025"/>
                <a:gd name="connsiteX439" fmla="*/ 7689851 w 8802688"/>
                <a:gd name="connsiteY439" fmla="*/ 2111375 h 6677025"/>
                <a:gd name="connsiteX440" fmla="*/ 7689851 w 8802688"/>
                <a:gd name="connsiteY440" fmla="*/ 2054225 h 6677025"/>
                <a:gd name="connsiteX441" fmla="*/ 7688263 w 8802688"/>
                <a:gd name="connsiteY441" fmla="*/ 1998663 h 6677025"/>
                <a:gd name="connsiteX442" fmla="*/ 7681913 w 8802688"/>
                <a:gd name="connsiteY442" fmla="*/ 1941513 h 6677025"/>
                <a:gd name="connsiteX443" fmla="*/ 7672388 w 8802688"/>
                <a:gd name="connsiteY443" fmla="*/ 1885950 h 6677025"/>
                <a:gd name="connsiteX444" fmla="*/ 7661276 w 8802688"/>
                <a:gd name="connsiteY444" fmla="*/ 1831975 h 6677025"/>
                <a:gd name="connsiteX445" fmla="*/ 7654926 w 8802688"/>
                <a:gd name="connsiteY445" fmla="*/ 1811338 h 6677025"/>
                <a:gd name="connsiteX446" fmla="*/ 7651751 w 8802688"/>
                <a:gd name="connsiteY446" fmla="*/ 1790700 h 6677025"/>
                <a:gd name="connsiteX447" fmla="*/ 7651751 w 8802688"/>
                <a:gd name="connsiteY447" fmla="*/ 1773238 h 6677025"/>
                <a:gd name="connsiteX448" fmla="*/ 7651751 w 8802688"/>
                <a:gd name="connsiteY448" fmla="*/ 1754188 h 6677025"/>
                <a:gd name="connsiteX449" fmla="*/ 7654926 w 8802688"/>
                <a:gd name="connsiteY449" fmla="*/ 1736725 h 6677025"/>
                <a:gd name="connsiteX450" fmla="*/ 7661276 w 8802688"/>
                <a:gd name="connsiteY450" fmla="*/ 1719263 h 6677025"/>
                <a:gd name="connsiteX451" fmla="*/ 7675563 w 8802688"/>
                <a:gd name="connsiteY451" fmla="*/ 1689100 h 6677025"/>
                <a:gd name="connsiteX452" fmla="*/ 7696201 w 8802688"/>
                <a:gd name="connsiteY452" fmla="*/ 1665288 h 6677025"/>
                <a:gd name="connsiteX453" fmla="*/ 7720013 w 8802688"/>
                <a:gd name="connsiteY453" fmla="*/ 1641476 h 6677025"/>
                <a:gd name="connsiteX454" fmla="*/ 7743826 w 8802688"/>
                <a:gd name="connsiteY454" fmla="*/ 1620838 h 6677025"/>
                <a:gd name="connsiteX455" fmla="*/ 7773988 w 8802688"/>
                <a:gd name="connsiteY455" fmla="*/ 1606550 h 6677025"/>
                <a:gd name="connsiteX456" fmla="*/ 7805738 w 8802688"/>
                <a:gd name="connsiteY456" fmla="*/ 1590675 h 6677025"/>
                <a:gd name="connsiteX457" fmla="*/ 7839076 w 8802688"/>
                <a:gd name="connsiteY457" fmla="*/ 1576388 h 6677025"/>
                <a:gd name="connsiteX458" fmla="*/ 7904163 w 8802688"/>
                <a:gd name="connsiteY458" fmla="*/ 1538288 h 6677025"/>
                <a:gd name="connsiteX459" fmla="*/ 7967663 w 8802688"/>
                <a:gd name="connsiteY459" fmla="*/ 1495425 h 6677025"/>
                <a:gd name="connsiteX460" fmla="*/ 8026401 w 8802688"/>
                <a:gd name="connsiteY460" fmla="*/ 1447801 h 6677025"/>
                <a:gd name="connsiteX461" fmla="*/ 8085138 w 8802688"/>
                <a:gd name="connsiteY461" fmla="*/ 1398588 h 6677025"/>
                <a:gd name="connsiteX462" fmla="*/ 8142288 w 8802688"/>
                <a:gd name="connsiteY462" fmla="*/ 1344613 h 6677025"/>
                <a:gd name="connsiteX463" fmla="*/ 8255001 w 8802688"/>
                <a:gd name="connsiteY463" fmla="*/ 1235076 h 6677025"/>
                <a:gd name="connsiteX464" fmla="*/ 8275638 w 8802688"/>
                <a:gd name="connsiteY464" fmla="*/ 1208088 h 6677025"/>
                <a:gd name="connsiteX465" fmla="*/ 8296276 w 8802688"/>
                <a:gd name="connsiteY465" fmla="*/ 1187450 h 6677025"/>
                <a:gd name="connsiteX466" fmla="*/ 8318501 w 8802688"/>
                <a:gd name="connsiteY466" fmla="*/ 1168400 h 6677025"/>
                <a:gd name="connsiteX467" fmla="*/ 8339138 w 8802688"/>
                <a:gd name="connsiteY467" fmla="*/ 1154113 h 6677025"/>
                <a:gd name="connsiteX468" fmla="*/ 8359776 w 8802688"/>
                <a:gd name="connsiteY468" fmla="*/ 1144588 h 6677025"/>
                <a:gd name="connsiteX469" fmla="*/ 8377238 w 8802688"/>
                <a:gd name="connsiteY469" fmla="*/ 1139825 h 6677025"/>
                <a:gd name="connsiteX470" fmla="*/ 8397876 w 8802688"/>
                <a:gd name="connsiteY470" fmla="*/ 1139825 h 6677025"/>
                <a:gd name="connsiteX471" fmla="*/ 8415338 w 8802688"/>
                <a:gd name="connsiteY471" fmla="*/ 1139825 h 6677025"/>
                <a:gd name="connsiteX472" fmla="*/ 8435976 w 8802688"/>
                <a:gd name="connsiteY472" fmla="*/ 1144588 h 6677025"/>
                <a:gd name="connsiteX473" fmla="*/ 8455026 w 8802688"/>
                <a:gd name="connsiteY473" fmla="*/ 1154113 h 6677025"/>
                <a:gd name="connsiteX474" fmla="*/ 8472488 w 8802688"/>
                <a:gd name="connsiteY474" fmla="*/ 1166813 h 6677025"/>
                <a:gd name="connsiteX475" fmla="*/ 8489951 w 8802688"/>
                <a:gd name="connsiteY475" fmla="*/ 1181100 h 6677025"/>
                <a:gd name="connsiteX476" fmla="*/ 8504238 w 8802688"/>
                <a:gd name="connsiteY476" fmla="*/ 1198563 h 6677025"/>
                <a:gd name="connsiteX477" fmla="*/ 8523288 w 8802688"/>
                <a:gd name="connsiteY477" fmla="*/ 1219201 h 6677025"/>
                <a:gd name="connsiteX478" fmla="*/ 8537576 w 8802688"/>
                <a:gd name="connsiteY478" fmla="*/ 1243013 h 6677025"/>
                <a:gd name="connsiteX479" fmla="*/ 8551863 w 8802688"/>
                <a:gd name="connsiteY479" fmla="*/ 1270000 h 6677025"/>
                <a:gd name="connsiteX480" fmla="*/ 8605838 w 8802688"/>
                <a:gd name="connsiteY480" fmla="*/ 1403350 h 6677025"/>
                <a:gd name="connsiteX481" fmla="*/ 8659813 w 8802688"/>
                <a:gd name="connsiteY481" fmla="*/ 1531938 h 6677025"/>
                <a:gd name="connsiteX482" fmla="*/ 8680451 w 8802688"/>
                <a:gd name="connsiteY482" fmla="*/ 1593850 h 6677025"/>
                <a:gd name="connsiteX483" fmla="*/ 8704263 w 8802688"/>
                <a:gd name="connsiteY483" fmla="*/ 1658938 h 6677025"/>
                <a:gd name="connsiteX484" fmla="*/ 8721726 w 8802688"/>
                <a:gd name="connsiteY484" fmla="*/ 1725613 h 6677025"/>
                <a:gd name="connsiteX485" fmla="*/ 8737601 w 8802688"/>
                <a:gd name="connsiteY485" fmla="*/ 1793875 h 6677025"/>
                <a:gd name="connsiteX486" fmla="*/ 8763001 w 8802688"/>
                <a:gd name="connsiteY486" fmla="*/ 1974850 h 6677025"/>
                <a:gd name="connsiteX487" fmla="*/ 8785226 w 8802688"/>
                <a:gd name="connsiteY487" fmla="*/ 2149475 h 6677025"/>
                <a:gd name="connsiteX488" fmla="*/ 8789988 w 8802688"/>
                <a:gd name="connsiteY488" fmla="*/ 2238375 h 6677025"/>
                <a:gd name="connsiteX489" fmla="*/ 8796338 w 8802688"/>
                <a:gd name="connsiteY489" fmla="*/ 2325688 h 6677025"/>
                <a:gd name="connsiteX490" fmla="*/ 8802688 w 8802688"/>
                <a:gd name="connsiteY490" fmla="*/ 2411413 h 6677025"/>
                <a:gd name="connsiteX491" fmla="*/ 8802688 w 8802688"/>
                <a:gd name="connsiteY491" fmla="*/ 2497138 h 6677025"/>
                <a:gd name="connsiteX492" fmla="*/ 8802688 w 8802688"/>
                <a:gd name="connsiteY492" fmla="*/ 2584450 h 6677025"/>
                <a:gd name="connsiteX493" fmla="*/ 8796338 w 8802688"/>
                <a:gd name="connsiteY493" fmla="*/ 2670175 h 6677025"/>
                <a:gd name="connsiteX494" fmla="*/ 8789988 w 8802688"/>
                <a:gd name="connsiteY494" fmla="*/ 2752725 h 6677025"/>
                <a:gd name="connsiteX495" fmla="*/ 8778876 w 8802688"/>
                <a:gd name="connsiteY495" fmla="*/ 2840038 h 6677025"/>
                <a:gd name="connsiteX496" fmla="*/ 8763001 w 8802688"/>
                <a:gd name="connsiteY496" fmla="*/ 2922588 h 6677025"/>
                <a:gd name="connsiteX497" fmla="*/ 8748713 w 8802688"/>
                <a:gd name="connsiteY497" fmla="*/ 3006725 h 6677025"/>
                <a:gd name="connsiteX498" fmla="*/ 8724901 w 8802688"/>
                <a:gd name="connsiteY498" fmla="*/ 3092450 h 6677025"/>
                <a:gd name="connsiteX499" fmla="*/ 8701088 w 8802688"/>
                <a:gd name="connsiteY499" fmla="*/ 3175000 h 6677025"/>
                <a:gd name="connsiteX500" fmla="*/ 8670926 w 8802688"/>
                <a:gd name="connsiteY500" fmla="*/ 3249613 h 6677025"/>
                <a:gd name="connsiteX501" fmla="*/ 8642351 w 8802688"/>
                <a:gd name="connsiteY501" fmla="*/ 3321050 h 6677025"/>
                <a:gd name="connsiteX502" fmla="*/ 8609013 w 8802688"/>
                <a:gd name="connsiteY502" fmla="*/ 3389313 h 6677025"/>
                <a:gd name="connsiteX503" fmla="*/ 8575676 w 8802688"/>
                <a:gd name="connsiteY503" fmla="*/ 3451225 h 6677025"/>
                <a:gd name="connsiteX504" fmla="*/ 8543926 w 8802688"/>
                <a:gd name="connsiteY504" fmla="*/ 3514725 h 6677025"/>
                <a:gd name="connsiteX505" fmla="*/ 8507413 w 8802688"/>
                <a:gd name="connsiteY505" fmla="*/ 3570288 h 6677025"/>
                <a:gd name="connsiteX506" fmla="*/ 8469313 w 8802688"/>
                <a:gd name="connsiteY506" fmla="*/ 3621088 h 6677025"/>
                <a:gd name="connsiteX507" fmla="*/ 8431213 w 8802688"/>
                <a:gd name="connsiteY507" fmla="*/ 3671888 h 6677025"/>
                <a:gd name="connsiteX508" fmla="*/ 8391526 w 8802688"/>
                <a:gd name="connsiteY508" fmla="*/ 3719513 h 6677025"/>
                <a:gd name="connsiteX509" fmla="*/ 8350251 w 8802688"/>
                <a:gd name="connsiteY509" fmla="*/ 3760788 h 6677025"/>
                <a:gd name="connsiteX510" fmla="*/ 8305801 w 8802688"/>
                <a:gd name="connsiteY510" fmla="*/ 3802063 h 6677025"/>
                <a:gd name="connsiteX511" fmla="*/ 8261351 w 8802688"/>
                <a:gd name="connsiteY511" fmla="*/ 3838575 h 6677025"/>
                <a:gd name="connsiteX512" fmla="*/ 8216901 w 8802688"/>
                <a:gd name="connsiteY512" fmla="*/ 3870325 h 6677025"/>
                <a:gd name="connsiteX513" fmla="*/ 8172451 w 8802688"/>
                <a:gd name="connsiteY513" fmla="*/ 3903663 h 6677025"/>
                <a:gd name="connsiteX514" fmla="*/ 8124826 w 8802688"/>
                <a:gd name="connsiteY514" fmla="*/ 3930650 h 6677025"/>
                <a:gd name="connsiteX515" fmla="*/ 8074026 w 8802688"/>
                <a:gd name="connsiteY515" fmla="*/ 3954463 h 6677025"/>
                <a:gd name="connsiteX516" fmla="*/ 8023226 w 8802688"/>
                <a:gd name="connsiteY516" fmla="*/ 3978275 h 6677025"/>
                <a:gd name="connsiteX517" fmla="*/ 7972426 w 8802688"/>
                <a:gd name="connsiteY517" fmla="*/ 3995738 h 6677025"/>
                <a:gd name="connsiteX518" fmla="*/ 7920038 w 8802688"/>
                <a:gd name="connsiteY518" fmla="*/ 4013200 h 6677025"/>
                <a:gd name="connsiteX519" fmla="*/ 7866063 w 8802688"/>
                <a:gd name="connsiteY519" fmla="*/ 4029075 h 6677025"/>
                <a:gd name="connsiteX520" fmla="*/ 7812088 w 8802688"/>
                <a:gd name="connsiteY520" fmla="*/ 4040188 h 6677025"/>
                <a:gd name="connsiteX521" fmla="*/ 7756526 w 8802688"/>
                <a:gd name="connsiteY521" fmla="*/ 4049713 h 6677025"/>
                <a:gd name="connsiteX522" fmla="*/ 7699376 w 8802688"/>
                <a:gd name="connsiteY522" fmla="*/ 4057650 h 6677025"/>
                <a:gd name="connsiteX523" fmla="*/ 7640638 w 8802688"/>
                <a:gd name="connsiteY523" fmla="*/ 4064000 h 6677025"/>
                <a:gd name="connsiteX524" fmla="*/ 7583488 w 8802688"/>
                <a:gd name="connsiteY524" fmla="*/ 4067175 h 6677025"/>
                <a:gd name="connsiteX525" fmla="*/ 7521576 w 8802688"/>
                <a:gd name="connsiteY525" fmla="*/ 4067175 h 6677025"/>
                <a:gd name="connsiteX526" fmla="*/ 7461251 w 8802688"/>
                <a:gd name="connsiteY526" fmla="*/ 4067175 h 6677025"/>
                <a:gd name="connsiteX527" fmla="*/ 7399338 w 8802688"/>
                <a:gd name="connsiteY527" fmla="*/ 4064000 h 6677025"/>
                <a:gd name="connsiteX528" fmla="*/ 7270751 w 8802688"/>
                <a:gd name="connsiteY528" fmla="*/ 4052888 h 6677025"/>
                <a:gd name="connsiteX529" fmla="*/ 7140576 w 8802688"/>
                <a:gd name="connsiteY529" fmla="*/ 4033838 h 6677025"/>
                <a:gd name="connsiteX530" fmla="*/ 7018338 w 8802688"/>
                <a:gd name="connsiteY530" fmla="*/ 4016375 h 6677025"/>
                <a:gd name="connsiteX531" fmla="*/ 6896101 w 8802688"/>
                <a:gd name="connsiteY531" fmla="*/ 3992563 h 6677025"/>
                <a:gd name="connsiteX532" fmla="*/ 6780213 w 8802688"/>
                <a:gd name="connsiteY532" fmla="*/ 3965575 h 6677025"/>
                <a:gd name="connsiteX533" fmla="*/ 6664326 w 8802688"/>
                <a:gd name="connsiteY533" fmla="*/ 3937000 h 6677025"/>
                <a:gd name="connsiteX534" fmla="*/ 6438901 w 8802688"/>
                <a:gd name="connsiteY534" fmla="*/ 3870325 h 6677025"/>
                <a:gd name="connsiteX535" fmla="*/ 6326188 w 8802688"/>
                <a:gd name="connsiteY535" fmla="*/ 3841750 h 6677025"/>
                <a:gd name="connsiteX536" fmla="*/ 6216651 w 8802688"/>
                <a:gd name="connsiteY536" fmla="*/ 3811588 h 6677025"/>
                <a:gd name="connsiteX537" fmla="*/ 6186488 w 8802688"/>
                <a:gd name="connsiteY537" fmla="*/ 3951288 h 6677025"/>
                <a:gd name="connsiteX538" fmla="*/ 6162676 w 8802688"/>
                <a:gd name="connsiteY538" fmla="*/ 4094163 h 6677025"/>
                <a:gd name="connsiteX539" fmla="*/ 6153151 w 8802688"/>
                <a:gd name="connsiteY539" fmla="*/ 4171950 h 6677025"/>
                <a:gd name="connsiteX540" fmla="*/ 6148388 w 8802688"/>
                <a:gd name="connsiteY540" fmla="*/ 4244975 h 6677025"/>
                <a:gd name="connsiteX541" fmla="*/ 6142038 w 8802688"/>
                <a:gd name="connsiteY541" fmla="*/ 4325938 h 6677025"/>
                <a:gd name="connsiteX542" fmla="*/ 6142038 w 8802688"/>
                <a:gd name="connsiteY542" fmla="*/ 4408488 h 6677025"/>
                <a:gd name="connsiteX543" fmla="*/ 6142038 w 8802688"/>
                <a:gd name="connsiteY543" fmla="*/ 4438650 h 6677025"/>
                <a:gd name="connsiteX544" fmla="*/ 6148388 w 8802688"/>
                <a:gd name="connsiteY544" fmla="*/ 4468813 h 6677025"/>
                <a:gd name="connsiteX545" fmla="*/ 6156326 w 8802688"/>
                <a:gd name="connsiteY545" fmla="*/ 4500563 h 6677025"/>
                <a:gd name="connsiteX546" fmla="*/ 6169026 w 8802688"/>
                <a:gd name="connsiteY546" fmla="*/ 4530725 h 6677025"/>
                <a:gd name="connsiteX547" fmla="*/ 6183313 w 8802688"/>
                <a:gd name="connsiteY547" fmla="*/ 4554538 h 6677025"/>
                <a:gd name="connsiteX548" fmla="*/ 6203951 w 8802688"/>
                <a:gd name="connsiteY548" fmla="*/ 4575175 h 6677025"/>
                <a:gd name="connsiteX549" fmla="*/ 6213476 w 8802688"/>
                <a:gd name="connsiteY549" fmla="*/ 4584700 h 6677025"/>
                <a:gd name="connsiteX550" fmla="*/ 6224588 w 8802688"/>
                <a:gd name="connsiteY550" fmla="*/ 4591050 h 6677025"/>
                <a:gd name="connsiteX551" fmla="*/ 6237288 w 8802688"/>
                <a:gd name="connsiteY551" fmla="*/ 4594225 h 6677025"/>
                <a:gd name="connsiteX552" fmla="*/ 6251576 w 8802688"/>
                <a:gd name="connsiteY552" fmla="*/ 4595813 h 6677025"/>
                <a:gd name="connsiteX553" fmla="*/ 6281738 w 8802688"/>
                <a:gd name="connsiteY553" fmla="*/ 4608513 h 6677025"/>
                <a:gd name="connsiteX554" fmla="*/ 6313488 w 8802688"/>
                <a:gd name="connsiteY554" fmla="*/ 4619625 h 6677025"/>
                <a:gd name="connsiteX555" fmla="*/ 6350001 w 8802688"/>
                <a:gd name="connsiteY555" fmla="*/ 4629150 h 6677025"/>
                <a:gd name="connsiteX556" fmla="*/ 6384926 w 8802688"/>
                <a:gd name="connsiteY556" fmla="*/ 4632325 h 6677025"/>
                <a:gd name="connsiteX557" fmla="*/ 6405563 w 8802688"/>
                <a:gd name="connsiteY557" fmla="*/ 4632325 h 6677025"/>
                <a:gd name="connsiteX558" fmla="*/ 6424613 w 8802688"/>
                <a:gd name="connsiteY558" fmla="*/ 4629150 h 6677025"/>
                <a:gd name="connsiteX559" fmla="*/ 6445251 w 8802688"/>
                <a:gd name="connsiteY559" fmla="*/ 4622800 h 6677025"/>
                <a:gd name="connsiteX560" fmla="*/ 6465888 w 8802688"/>
                <a:gd name="connsiteY560" fmla="*/ 4616450 h 6677025"/>
                <a:gd name="connsiteX561" fmla="*/ 6486526 w 8802688"/>
                <a:gd name="connsiteY561" fmla="*/ 4605338 h 6677025"/>
                <a:gd name="connsiteX562" fmla="*/ 6507163 w 8802688"/>
                <a:gd name="connsiteY562" fmla="*/ 4594225 h 6677025"/>
                <a:gd name="connsiteX563" fmla="*/ 6527801 w 8802688"/>
                <a:gd name="connsiteY563" fmla="*/ 4575175 h 6677025"/>
                <a:gd name="connsiteX564" fmla="*/ 6548438 w 8802688"/>
                <a:gd name="connsiteY564" fmla="*/ 4557713 h 6677025"/>
                <a:gd name="connsiteX565" fmla="*/ 6578601 w 8802688"/>
                <a:gd name="connsiteY565" fmla="*/ 4516438 h 6677025"/>
                <a:gd name="connsiteX566" fmla="*/ 6608763 w 8802688"/>
                <a:gd name="connsiteY566" fmla="*/ 4476750 h 6677025"/>
                <a:gd name="connsiteX567" fmla="*/ 6673851 w 8802688"/>
                <a:gd name="connsiteY567" fmla="*/ 4403725 h 6677025"/>
                <a:gd name="connsiteX568" fmla="*/ 6704013 w 8802688"/>
                <a:gd name="connsiteY568" fmla="*/ 4364038 h 6677025"/>
                <a:gd name="connsiteX569" fmla="*/ 6731001 w 8802688"/>
                <a:gd name="connsiteY569" fmla="*/ 4319588 h 6677025"/>
                <a:gd name="connsiteX570" fmla="*/ 6754813 w 8802688"/>
                <a:gd name="connsiteY570" fmla="*/ 4275138 h 6677025"/>
                <a:gd name="connsiteX571" fmla="*/ 6762751 w 8802688"/>
                <a:gd name="connsiteY571" fmla="*/ 4248150 h 6677025"/>
                <a:gd name="connsiteX572" fmla="*/ 6772276 w 8802688"/>
                <a:gd name="connsiteY572" fmla="*/ 4221163 h 6677025"/>
                <a:gd name="connsiteX573" fmla="*/ 6775451 w 8802688"/>
                <a:gd name="connsiteY573" fmla="*/ 4210050 h 6677025"/>
                <a:gd name="connsiteX574" fmla="*/ 6783388 w 8802688"/>
                <a:gd name="connsiteY574" fmla="*/ 4197350 h 6677025"/>
                <a:gd name="connsiteX575" fmla="*/ 6796088 w 8802688"/>
                <a:gd name="connsiteY575" fmla="*/ 4192588 h 6677025"/>
                <a:gd name="connsiteX576" fmla="*/ 6813551 w 8802688"/>
                <a:gd name="connsiteY576" fmla="*/ 4183063 h 6677025"/>
                <a:gd name="connsiteX577" fmla="*/ 6848476 w 8802688"/>
                <a:gd name="connsiteY577" fmla="*/ 4168775 h 6677025"/>
                <a:gd name="connsiteX578" fmla="*/ 6867526 w 8802688"/>
                <a:gd name="connsiteY578" fmla="*/ 4159250 h 6677025"/>
                <a:gd name="connsiteX579" fmla="*/ 6881813 w 8802688"/>
                <a:gd name="connsiteY579" fmla="*/ 4148138 h 6677025"/>
                <a:gd name="connsiteX580" fmla="*/ 6881813 w 8802688"/>
                <a:gd name="connsiteY580" fmla="*/ 4200525 h 6677025"/>
                <a:gd name="connsiteX581" fmla="*/ 6875463 w 8802688"/>
                <a:gd name="connsiteY581" fmla="*/ 4254500 h 6677025"/>
                <a:gd name="connsiteX582" fmla="*/ 6867526 w 8802688"/>
                <a:gd name="connsiteY582" fmla="*/ 4302125 h 6677025"/>
                <a:gd name="connsiteX583" fmla="*/ 6854826 w 8802688"/>
                <a:gd name="connsiteY583" fmla="*/ 4349750 h 6677025"/>
                <a:gd name="connsiteX584" fmla="*/ 6840538 w 8802688"/>
                <a:gd name="connsiteY584" fmla="*/ 4394200 h 6677025"/>
                <a:gd name="connsiteX585" fmla="*/ 6823076 w 8802688"/>
                <a:gd name="connsiteY585" fmla="*/ 4435475 h 6677025"/>
                <a:gd name="connsiteX586" fmla="*/ 6800851 w 8802688"/>
                <a:gd name="connsiteY586" fmla="*/ 4475163 h 6677025"/>
                <a:gd name="connsiteX587" fmla="*/ 6775451 w 8802688"/>
                <a:gd name="connsiteY587" fmla="*/ 4510088 h 6677025"/>
                <a:gd name="connsiteX588" fmla="*/ 6748463 w 8802688"/>
                <a:gd name="connsiteY588" fmla="*/ 4546600 h 6677025"/>
                <a:gd name="connsiteX589" fmla="*/ 6718301 w 8802688"/>
                <a:gd name="connsiteY589" fmla="*/ 4575175 h 6677025"/>
                <a:gd name="connsiteX590" fmla="*/ 6683376 w 8802688"/>
                <a:gd name="connsiteY590" fmla="*/ 4605338 h 6677025"/>
                <a:gd name="connsiteX591" fmla="*/ 6646863 w 8802688"/>
                <a:gd name="connsiteY591" fmla="*/ 4629150 h 6677025"/>
                <a:gd name="connsiteX592" fmla="*/ 6608763 w 8802688"/>
                <a:gd name="connsiteY592" fmla="*/ 4652963 h 6677025"/>
                <a:gd name="connsiteX593" fmla="*/ 6567488 w 8802688"/>
                <a:gd name="connsiteY593" fmla="*/ 4673600 h 6677025"/>
                <a:gd name="connsiteX594" fmla="*/ 6521451 w 8802688"/>
                <a:gd name="connsiteY594" fmla="*/ 4691063 h 6677025"/>
                <a:gd name="connsiteX595" fmla="*/ 6473826 w 8802688"/>
                <a:gd name="connsiteY595" fmla="*/ 4706938 h 6677025"/>
                <a:gd name="connsiteX596" fmla="*/ 6438901 w 8802688"/>
                <a:gd name="connsiteY596" fmla="*/ 4718050 h 6677025"/>
                <a:gd name="connsiteX597" fmla="*/ 6403976 w 8802688"/>
                <a:gd name="connsiteY597" fmla="*/ 4727575 h 6677025"/>
                <a:gd name="connsiteX598" fmla="*/ 6370638 w 8802688"/>
                <a:gd name="connsiteY598" fmla="*/ 4733925 h 6677025"/>
                <a:gd name="connsiteX599" fmla="*/ 6334126 w 8802688"/>
                <a:gd name="connsiteY599" fmla="*/ 4735513 h 6677025"/>
                <a:gd name="connsiteX600" fmla="*/ 6302376 w 8802688"/>
                <a:gd name="connsiteY600" fmla="*/ 4735513 h 6677025"/>
                <a:gd name="connsiteX601" fmla="*/ 6265863 w 8802688"/>
                <a:gd name="connsiteY601" fmla="*/ 4733925 h 6677025"/>
                <a:gd name="connsiteX602" fmla="*/ 6234113 w 8802688"/>
                <a:gd name="connsiteY602" fmla="*/ 4724400 h 6677025"/>
                <a:gd name="connsiteX603" fmla="*/ 6200776 w 8802688"/>
                <a:gd name="connsiteY603" fmla="*/ 4714875 h 6677025"/>
                <a:gd name="connsiteX604" fmla="*/ 6169026 w 8802688"/>
                <a:gd name="connsiteY604" fmla="*/ 4703763 h 6677025"/>
                <a:gd name="connsiteX605" fmla="*/ 6135688 w 8802688"/>
                <a:gd name="connsiteY605" fmla="*/ 4691063 h 6677025"/>
                <a:gd name="connsiteX606" fmla="*/ 6102351 w 8802688"/>
                <a:gd name="connsiteY606" fmla="*/ 4673600 h 6677025"/>
                <a:gd name="connsiteX607" fmla="*/ 6073776 w 8802688"/>
                <a:gd name="connsiteY607" fmla="*/ 4656138 h 6677025"/>
                <a:gd name="connsiteX608" fmla="*/ 6040438 w 8802688"/>
                <a:gd name="connsiteY608" fmla="*/ 4632325 h 6677025"/>
                <a:gd name="connsiteX609" fmla="*/ 6010276 w 8802688"/>
                <a:gd name="connsiteY609" fmla="*/ 4611688 h 6677025"/>
                <a:gd name="connsiteX610" fmla="*/ 5984876 w 8802688"/>
                <a:gd name="connsiteY610" fmla="*/ 4584700 h 6677025"/>
                <a:gd name="connsiteX611" fmla="*/ 5954713 w 8802688"/>
                <a:gd name="connsiteY611" fmla="*/ 4557713 h 6677025"/>
                <a:gd name="connsiteX612" fmla="*/ 5903913 w 8802688"/>
                <a:gd name="connsiteY612" fmla="*/ 4510088 h 6677025"/>
                <a:gd name="connsiteX613" fmla="*/ 5853113 w 8802688"/>
                <a:gd name="connsiteY613" fmla="*/ 4465638 h 6677025"/>
                <a:gd name="connsiteX614" fmla="*/ 5802313 w 8802688"/>
                <a:gd name="connsiteY614" fmla="*/ 4424363 h 6677025"/>
                <a:gd name="connsiteX615" fmla="*/ 5746751 w 8802688"/>
                <a:gd name="connsiteY615" fmla="*/ 4384675 h 6677025"/>
                <a:gd name="connsiteX616" fmla="*/ 5692776 w 8802688"/>
                <a:gd name="connsiteY616" fmla="*/ 4349750 h 6677025"/>
                <a:gd name="connsiteX617" fmla="*/ 5635626 w 8802688"/>
                <a:gd name="connsiteY617" fmla="*/ 4316413 h 6677025"/>
                <a:gd name="connsiteX618" fmla="*/ 5576888 w 8802688"/>
                <a:gd name="connsiteY618" fmla="*/ 4284663 h 6677025"/>
                <a:gd name="connsiteX619" fmla="*/ 5519738 w 8802688"/>
                <a:gd name="connsiteY619" fmla="*/ 4254500 h 6677025"/>
                <a:gd name="connsiteX620" fmla="*/ 5399088 w 8802688"/>
                <a:gd name="connsiteY620" fmla="*/ 4197350 h 6677025"/>
                <a:gd name="connsiteX621" fmla="*/ 5276851 w 8802688"/>
                <a:gd name="connsiteY621" fmla="*/ 4141788 h 6677025"/>
                <a:gd name="connsiteX622" fmla="*/ 5027613 w 8802688"/>
                <a:gd name="connsiteY622" fmla="*/ 4033838 h 6677025"/>
                <a:gd name="connsiteX623" fmla="*/ 5110163 w 8802688"/>
                <a:gd name="connsiteY623" fmla="*/ 4090988 h 6677025"/>
                <a:gd name="connsiteX624" fmla="*/ 5151438 w 8802688"/>
                <a:gd name="connsiteY624" fmla="*/ 4121150 h 6677025"/>
                <a:gd name="connsiteX625" fmla="*/ 5191126 w 8802688"/>
                <a:gd name="connsiteY625" fmla="*/ 4151313 h 6677025"/>
                <a:gd name="connsiteX626" fmla="*/ 5226051 w 8802688"/>
                <a:gd name="connsiteY626" fmla="*/ 4183063 h 6677025"/>
                <a:gd name="connsiteX627" fmla="*/ 5260976 w 8802688"/>
                <a:gd name="connsiteY627" fmla="*/ 4219575 h 6677025"/>
                <a:gd name="connsiteX628" fmla="*/ 5294313 w 8802688"/>
                <a:gd name="connsiteY628" fmla="*/ 4254500 h 6677025"/>
                <a:gd name="connsiteX629" fmla="*/ 5324476 w 8802688"/>
                <a:gd name="connsiteY629" fmla="*/ 4295775 h 6677025"/>
                <a:gd name="connsiteX630" fmla="*/ 5356226 w 8802688"/>
                <a:gd name="connsiteY630" fmla="*/ 4329113 h 6677025"/>
                <a:gd name="connsiteX631" fmla="*/ 5392738 w 8802688"/>
                <a:gd name="connsiteY631" fmla="*/ 4370388 h 6677025"/>
                <a:gd name="connsiteX632" fmla="*/ 5410201 w 8802688"/>
                <a:gd name="connsiteY632" fmla="*/ 4391025 h 6677025"/>
                <a:gd name="connsiteX633" fmla="*/ 5422901 w 8802688"/>
                <a:gd name="connsiteY633" fmla="*/ 4411663 h 6677025"/>
                <a:gd name="connsiteX634" fmla="*/ 5430838 w 8802688"/>
                <a:gd name="connsiteY634" fmla="*/ 4430713 h 6677025"/>
                <a:gd name="connsiteX635" fmla="*/ 5434013 w 8802688"/>
                <a:gd name="connsiteY635" fmla="*/ 4445000 h 6677025"/>
                <a:gd name="connsiteX636" fmla="*/ 5376863 w 8802688"/>
                <a:gd name="connsiteY636" fmla="*/ 4656138 h 6677025"/>
                <a:gd name="connsiteX637" fmla="*/ 5348288 w 8802688"/>
                <a:gd name="connsiteY637" fmla="*/ 4759325 h 6677025"/>
                <a:gd name="connsiteX638" fmla="*/ 5314951 w 8802688"/>
                <a:gd name="connsiteY638" fmla="*/ 4864100 h 6677025"/>
                <a:gd name="connsiteX639" fmla="*/ 5280026 w 8802688"/>
                <a:gd name="connsiteY639" fmla="*/ 4965700 h 6677025"/>
                <a:gd name="connsiteX640" fmla="*/ 5243513 w 8802688"/>
                <a:gd name="connsiteY640" fmla="*/ 5068888 h 6677025"/>
                <a:gd name="connsiteX641" fmla="*/ 5205413 w 8802688"/>
                <a:gd name="connsiteY641" fmla="*/ 5167313 h 6677025"/>
                <a:gd name="connsiteX642" fmla="*/ 5160963 w 8802688"/>
                <a:gd name="connsiteY642" fmla="*/ 5268913 h 6677025"/>
                <a:gd name="connsiteX643" fmla="*/ 5116513 w 8802688"/>
                <a:gd name="connsiteY643" fmla="*/ 5362575 h 6677025"/>
                <a:gd name="connsiteX644" fmla="*/ 5068888 w 8802688"/>
                <a:gd name="connsiteY644" fmla="*/ 5457825 h 6677025"/>
                <a:gd name="connsiteX645" fmla="*/ 5014913 w 8802688"/>
                <a:gd name="connsiteY645" fmla="*/ 5553075 h 6677025"/>
                <a:gd name="connsiteX646" fmla="*/ 4960938 w 8802688"/>
                <a:gd name="connsiteY646" fmla="*/ 5643563 h 6677025"/>
                <a:gd name="connsiteX647" fmla="*/ 4902201 w 8802688"/>
                <a:gd name="connsiteY647" fmla="*/ 5732463 h 6677025"/>
                <a:gd name="connsiteX648" fmla="*/ 4837113 w 8802688"/>
                <a:gd name="connsiteY648" fmla="*/ 5815013 h 6677025"/>
                <a:gd name="connsiteX649" fmla="*/ 4768850 w 8802688"/>
                <a:gd name="connsiteY649" fmla="*/ 5899150 h 6677025"/>
                <a:gd name="connsiteX650" fmla="*/ 4694238 w 8802688"/>
                <a:gd name="connsiteY650" fmla="*/ 5978525 h 6677025"/>
                <a:gd name="connsiteX651" fmla="*/ 4581525 w 8802688"/>
                <a:gd name="connsiteY651" fmla="*/ 6062663 h 6677025"/>
                <a:gd name="connsiteX652" fmla="*/ 4470400 w 8802688"/>
                <a:gd name="connsiteY652" fmla="*/ 6151563 h 6677025"/>
                <a:gd name="connsiteX653" fmla="*/ 4360863 w 8802688"/>
                <a:gd name="connsiteY653" fmla="*/ 6246813 h 6677025"/>
                <a:gd name="connsiteX654" fmla="*/ 4303713 w 8802688"/>
                <a:gd name="connsiteY654" fmla="*/ 6296025 h 6677025"/>
                <a:gd name="connsiteX655" fmla="*/ 4248150 w 8802688"/>
                <a:gd name="connsiteY655" fmla="*/ 6350000 h 6677025"/>
                <a:gd name="connsiteX656" fmla="*/ 4221163 w 8802688"/>
                <a:gd name="connsiteY656" fmla="*/ 6365875 h 6677025"/>
                <a:gd name="connsiteX657" fmla="*/ 4194175 w 8802688"/>
                <a:gd name="connsiteY657" fmla="*/ 6386513 h 6677025"/>
                <a:gd name="connsiteX658" fmla="*/ 4167188 w 8802688"/>
                <a:gd name="connsiteY658" fmla="*/ 6407150 h 6677025"/>
                <a:gd name="connsiteX659" fmla="*/ 4140200 w 8802688"/>
                <a:gd name="connsiteY659" fmla="*/ 6430963 h 6677025"/>
                <a:gd name="connsiteX660" fmla="*/ 4117975 w 8802688"/>
                <a:gd name="connsiteY660" fmla="*/ 6454775 h 6677025"/>
                <a:gd name="connsiteX661" fmla="*/ 4095750 w 8802688"/>
                <a:gd name="connsiteY661" fmla="*/ 6481763 h 6677025"/>
                <a:gd name="connsiteX662" fmla="*/ 4078288 w 8802688"/>
                <a:gd name="connsiteY662" fmla="*/ 6510338 h 6677025"/>
                <a:gd name="connsiteX663" fmla="*/ 4064000 w 8802688"/>
                <a:gd name="connsiteY663" fmla="*/ 6537325 h 6677025"/>
                <a:gd name="connsiteX664" fmla="*/ 4033838 w 8802688"/>
                <a:gd name="connsiteY664" fmla="*/ 6564313 h 6677025"/>
                <a:gd name="connsiteX665" fmla="*/ 4003675 w 8802688"/>
                <a:gd name="connsiteY665" fmla="*/ 6588125 h 6677025"/>
                <a:gd name="connsiteX666" fmla="*/ 3975100 w 8802688"/>
                <a:gd name="connsiteY666" fmla="*/ 6608763 h 6677025"/>
                <a:gd name="connsiteX667" fmla="*/ 3944938 w 8802688"/>
                <a:gd name="connsiteY667" fmla="*/ 6626225 h 6677025"/>
                <a:gd name="connsiteX668" fmla="*/ 3914775 w 8802688"/>
                <a:gd name="connsiteY668" fmla="*/ 6645275 h 6677025"/>
                <a:gd name="connsiteX669" fmla="*/ 3884613 w 8802688"/>
                <a:gd name="connsiteY669" fmla="*/ 6656388 h 6677025"/>
                <a:gd name="connsiteX670" fmla="*/ 3852863 w 8802688"/>
                <a:gd name="connsiteY670" fmla="*/ 6665913 h 6677025"/>
                <a:gd name="connsiteX671" fmla="*/ 3822700 w 8802688"/>
                <a:gd name="connsiteY671" fmla="*/ 6673850 h 6677025"/>
                <a:gd name="connsiteX672" fmla="*/ 3790950 w 8802688"/>
                <a:gd name="connsiteY672" fmla="*/ 6677025 h 6677025"/>
                <a:gd name="connsiteX673" fmla="*/ 3760788 w 8802688"/>
                <a:gd name="connsiteY673" fmla="*/ 6677025 h 6677025"/>
                <a:gd name="connsiteX674" fmla="*/ 3727450 w 8802688"/>
                <a:gd name="connsiteY674" fmla="*/ 6673850 h 6677025"/>
                <a:gd name="connsiteX675" fmla="*/ 3697288 w 8802688"/>
                <a:gd name="connsiteY675" fmla="*/ 6669088 h 6677025"/>
                <a:gd name="connsiteX676" fmla="*/ 3668713 w 8802688"/>
                <a:gd name="connsiteY676" fmla="*/ 6659563 h 6677025"/>
                <a:gd name="connsiteX677" fmla="*/ 3638550 w 8802688"/>
                <a:gd name="connsiteY677" fmla="*/ 6646863 h 6677025"/>
                <a:gd name="connsiteX678" fmla="*/ 3608388 w 8802688"/>
                <a:gd name="connsiteY678" fmla="*/ 6632575 h 6677025"/>
                <a:gd name="connsiteX679" fmla="*/ 3579813 w 8802688"/>
                <a:gd name="connsiteY679" fmla="*/ 6611938 h 6677025"/>
                <a:gd name="connsiteX680" fmla="*/ 3525838 w 8802688"/>
                <a:gd name="connsiteY680" fmla="*/ 6543675 h 6677025"/>
                <a:gd name="connsiteX681" fmla="*/ 3475038 w 8802688"/>
                <a:gd name="connsiteY681" fmla="*/ 6472238 h 6677025"/>
                <a:gd name="connsiteX682" fmla="*/ 3427413 w 8802688"/>
                <a:gd name="connsiteY682" fmla="*/ 6400800 h 6677025"/>
                <a:gd name="connsiteX683" fmla="*/ 3379788 w 8802688"/>
                <a:gd name="connsiteY683" fmla="*/ 6326188 h 6677025"/>
                <a:gd name="connsiteX684" fmla="*/ 3335338 w 8802688"/>
                <a:gd name="connsiteY684" fmla="*/ 6251575 h 6677025"/>
                <a:gd name="connsiteX685" fmla="*/ 3294063 w 8802688"/>
                <a:gd name="connsiteY685" fmla="*/ 6175375 h 6677025"/>
                <a:gd name="connsiteX686" fmla="*/ 3252788 w 8802688"/>
                <a:gd name="connsiteY686" fmla="*/ 6097588 h 6677025"/>
                <a:gd name="connsiteX687" fmla="*/ 3209925 w 8802688"/>
                <a:gd name="connsiteY687" fmla="*/ 6015038 h 6677025"/>
                <a:gd name="connsiteX688" fmla="*/ 3195638 w 8802688"/>
                <a:gd name="connsiteY688" fmla="*/ 5999163 h 6677025"/>
                <a:gd name="connsiteX689" fmla="*/ 3186113 w 8802688"/>
                <a:gd name="connsiteY689" fmla="*/ 5984875 h 6677025"/>
                <a:gd name="connsiteX690" fmla="*/ 3181350 w 8802688"/>
                <a:gd name="connsiteY690" fmla="*/ 5967413 h 6677025"/>
                <a:gd name="connsiteX691" fmla="*/ 3175000 w 8802688"/>
                <a:gd name="connsiteY691" fmla="*/ 5946775 h 6677025"/>
                <a:gd name="connsiteX692" fmla="*/ 3171825 w 8802688"/>
                <a:gd name="connsiteY692" fmla="*/ 5927725 h 6677025"/>
                <a:gd name="connsiteX693" fmla="*/ 3171825 w 8802688"/>
                <a:gd name="connsiteY693" fmla="*/ 5907088 h 6677025"/>
                <a:gd name="connsiteX694" fmla="*/ 3175000 w 8802688"/>
                <a:gd name="connsiteY694" fmla="*/ 5886450 h 6677025"/>
                <a:gd name="connsiteX695" fmla="*/ 3181350 w 8802688"/>
                <a:gd name="connsiteY695" fmla="*/ 5865813 h 6677025"/>
                <a:gd name="connsiteX696" fmla="*/ 3189288 w 8802688"/>
                <a:gd name="connsiteY696" fmla="*/ 5845175 h 6677025"/>
                <a:gd name="connsiteX697" fmla="*/ 3201988 w 8802688"/>
                <a:gd name="connsiteY697" fmla="*/ 5824538 h 6677025"/>
                <a:gd name="connsiteX698" fmla="*/ 3213100 w 8802688"/>
                <a:gd name="connsiteY698" fmla="*/ 5803900 h 6677025"/>
                <a:gd name="connsiteX699" fmla="*/ 3230563 w 8802688"/>
                <a:gd name="connsiteY699" fmla="*/ 5783263 h 6677025"/>
                <a:gd name="connsiteX700" fmla="*/ 3249613 w 8802688"/>
                <a:gd name="connsiteY700" fmla="*/ 5764213 h 6677025"/>
                <a:gd name="connsiteX701" fmla="*/ 3270250 w 8802688"/>
                <a:gd name="connsiteY701" fmla="*/ 5746750 h 6677025"/>
                <a:gd name="connsiteX702" fmla="*/ 3294063 w 8802688"/>
                <a:gd name="connsiteY702" fmla="*/ 5732463 h 6677025"/>
                <a:gd name="connsiteX703" fmla="*/ 3321050 w 8802688"/>
                <a:gd name="connsiteY703" fmla="*/ 5716588 h 6677025"/>
                <a:gd name="connsiteX704" fmla="*/ 3362325 w 8802688"/>
                <a:gd name="connsiteY704" fmla="*/ 5699125 h 6677025"/>
                <a:gd name="connsiteX705" fmla="*/ 3403600 w 8802688"/>
                <a:gd name="connsiteY705" fmla="*/ 5681663 h 6677025"/>
                <a:gd name="connsiteX706" fmla="*/ 3492500 w 8802688"/>
                <a:gd name="connsiteY706" fmla="*/ 5637213 h 6677025"/>
                <a:gd name="connsiteX707" fmla="*/ 3587750 w 8802688"/>
                <a:gd name="connsiteY707" fmla="*/ 5583238 h 6677025"/>
                <a:gd name="connsiteX708" fmla="*/ 3692525 w 8802688"/>
                <a:gd name="connsiteY708" fmla="*/ 5529263 h 6677025"/>
                <a:gd name="connsiteX709" fmla="*/ 3692525 w 8802688"/>
                <a:gd name="connsiteY709" fmla="*/ 5081588 h 6677025"/>
                <a:gd name="connsiteX710" fmla="*/ 3683000 w 8802688"/>
                <a:gd name="connsiteY710" fmla="*/ 5116513 h 6677025"/>
                <a:gd name="connsiteX711" fmla="*/ 3673475 w 8802688"/>
                <a:gd name="connsiteY711" fmla="*/ 5153025 h 6677025"/>
                <a:gd name="connsiteX712" fmla="*/ 3665538 w 8802688"/>
                <a:gd name="connsiteY712" fmla="*/ 5184775 h 6677025"/>
                <a:gd name="connsiteX713" fmla="*/ 3652838 w 8802688"/>
                <a:gd name="connsiteY713" fmla="*/ 5211763 h 6677025"/>
                <a:gd name="connsiteX714" fmla="*/ 3641725 w 8802688"/>
                <a:gd name="connsiteY714" fmla="*/ 5238750 h 6677025"/>
                <a:gd name="connsiteX715" fmla="*/ 3629025 w 8802688"/>
                <a:gd name="connsiteY715" fmla="*/ 5265738 h 6677025"/>
                <a:gd name="connsiteX716" fmla="*/ 3614738 w 8802688"/>
                <a:gd name="connsiteY716" fmla="*/ 5286375 h 6677025"/>
                <a:gd name="connsiteX717" fmla="*/ 3600450 w 8802688"/>
                <a:gd name="connsiteY717" fmla="*/ 5307013 h 6677025"/>
                <a:gd name="connsiteX718" fmla="*/ 3581400 w 8802688"/>
                <a:gd name="connsiteY718" fmla="*/ 5324475 h 6677025"/>
                <a:gd name="connsiteX719" fmla="*/ 3567113 w 8802688"/>
                <a:gd name="connsiteY719" fmla="*/ 5340350 h 6677025"/>
                <a:gd name="connsiteX720" fmla="*/ 3549650 w 8802688"/>
                <a:gd name="connsiteY720" fmla="*/ 5354638 h 6677025"/>
                <a:gd name="connsiteX721" fmla="*/ 3529013 w 8802688"/>
                <a:gd name="connsiteY721" fmla="*/ 5365750 h 6677025"/>
                <a:gd name="connsiteX722" fmla="*/ 3489325 w 8802688"/>
                <a:gd name="connsiteY722" fmla="*/ 5386388 h 6677025"/>
                <a:gd name="connsiteX723" fmla="*/ 3451225 w 8802688"/>
                <a:gd name="connsiteY723" fmla="*/ 5402263 h 6677025"/>
                <a:gd name="connsiteX724" fmla="*/ 3406775 w 8802688"/>
                <a:gd name="connsiteY724" fmla="*/ 5413375 h 6677025"/>
                <a:gd name="connsiteX725" fmla="*/ 3365500 w 8802688"/>
                <a:gd name="connsiteY725" fmla="*/ 5419725 h 6677025"/>
                <a:gd name="connsiteX726" fmla="*/ 3321050 w 8802688"/>
                <a:gd name="connsiteY726" fmla="*/ 5422900 h 6677025"/>
                <a:gd name="connsiteX727" fmla="*/ 3273425 w 8802688"/>
                <a:gd name="connsiteY727" fmla="*/ 5422900 h 6677025"/>
                <a:gd name="connsiteX728" fmla="*/ 3182938 w 8802688"/>
                <a:gd name="connsiteY728" fmla="*/ 5419725 h 6677025"/>
                <a:gd name="connsiteX729" fmla="*/ 3097213 w 8802688"/>
                <a:gd name="connsiteY729" fmla="*/ 5416550 h 6677025"/>
                <a:gd name="connsiteX730" fmla="*/ 2838450 w 8802688"/>
                <a:gd name="connsiteY730" fmla="*/ 5416550 h 6677025"/>
                <a:gd name="connsiteX731" fmla="*/ 2770188 w 8802688"/>
                <a:gd name="connsiteY731" fmla="*/ 5416550 h 6677025"/>
                <a:gd name="connsiteX732" fmla="*/ 2708275 w 8802688"/>
                <a:gd name="connsiteY732" fmla="*/ 5413375 h 6677025"/>
                <a:gd name="connsiteX733" fmla="*/ 2678113 w 8802688"/>
                <a:gd name="connsiteY733" fmla="*/ 5408613 h 6677025"/>
                <a:gd name="connsiteX734" fmla="*/ 2647950 w 8802688"/>
                <a:gd name="connsiteY734" fmla="*/ 5402263 h 6677025"/>
                <a:gd name="connsiteX735" fmla="*/ 2622550 w 8802688"/>
                <a:gd name="connsiteY735" fmla="*/ 5395913 h 6677025"/>
                <a:gd name="connsiteX736" fmla="*/ 2598738 w 8802688"/>
                <a:gd name="connsiteY736" fmla="*/ 5384800 h 6677025"/>
                <a:gd name="connsiteX737" fmla="*/ 2574925 w 8802688"/>
                <a:gd name="connsiteY737" fmla="*/ 5368925 h 6677025"/>
                <a:gd name="connsiteX738" fmla="*/ 2554288 w 8802688"/>
                <a:gd name="connsiteY738" fmla="*/ 5354638 h 6677025"/>
                <a:gd name="connsiteX739" fmla="*/ 2532063 w 8802688"/>
                <a:gd name="connsiteY739" fmla="*/ 5330825 h 6677025"/>
                <a:gd name="connsiteX740" fmla="*/ 2514600 w 8802688"/>
                <a:gd name="connsiteY740" fmla="*/ 5307013 h 6677025"/>
                <a:gd name="connsiteX741" fmla="*/ 2500313 w 8802688"/>
                <a:gd name="connsiteY741" fmla="*/ 5276850 h 6677025"/>
                <a:gd name="connsiteX742" fmla="*/ 2484438 w 8802688"/>
                <a:gd name="connsiteY742" fmla="*/ 5241925 h 6677025"/>
                <a:gd name="connsiteX743" fmla="*/ 2476500 w 8802688"/>
                <a:gd name="connsiteY743" fmla="*/ 5202238 h 6677025"/>
                <a:gd name="connsiteX744" fmla="*/ 2466975 w 8802688"/>
                <a:gd name="connsiteY744" fmla="*/ 5154613 h 6677025"/>
                <a:gd name="connsiteX745" fmla="*/ 2466975 w 8802688"/>
                <a:gd name="connsiteY745" fmla="*/ 5229225 h 6677025"/>
                <a:gd name="connsiteX746" fmla="*/ 2466975 w 8802688"/>
                <a:gd name="connsiteY746" fmla="*/ 5341938 h 6677025"/>
                <a:gd name="connsiteX747" fmla="*/ 2466975 w 8802688"/>
                <a:gd name="connsiteY747" fmla="*/ 5440363 h 6677025"/>
                <a:gd name="connsiteX748" fmla="*/ 2463800 w 8802688"/>
                <a:gd name="connsiteY748" fmla="*/ 5538788 h 6677025"/>
                <a:gd name="connsiteX749" fmla="*/ 2459038 w 8802688"/>
                <a:gd name="connsiteY749" fmla="*/ 5634038 h 6677025"/>
                <a:gd name="connsiteX750" fmla="*/ 2452688 w 8802688"/>
                <a:gd name="connsiteY750" fmla="*/ 5681663 h 6677025"/>
                <a:gd name="connsiteX751" fmla="*/ 2443163 w 8802688"/>
                <a:gd name="connsiteY751" fmla="*/ 5729288 h 6677025"/>
                <a:gd name="connsiteX752" fmla="*/ 2435225 w 8802688"/>
                <a:gd name="connsiteY752" fmla="*/ 5776913 h 6677025"/>
                <a:gd name="connsiteX753" fmla="*/ 2422525 w 8802688"/>
                <a:gd name="connsiteY753" fmla="*/ 5824538 h 6677025"/>
                <a:gd name="connsiteX754" fmla="*/ 2408238 w 8802688"/>
                <a:gd name="connsiteY754" fmla="*/ 5868988 h 6677025"/>
                <a:gd name="connsiteX755" fmla="*/ 2390775 w 8802688"/>
                <a:gd name="connsiteY755" fmla="*/ 5916613 h 6677025"/>
                <a:gd name="connsiteX756" fmla="*/ 2368550 w 8802688"/>
                <a:gd name="connsiteY756" fmla="*/ 5961063 h 6677025"/>
                <a:gd name="connsiteX757" fmla="*/ 2343150 w 8802688"/>
                <a:gd name="connsiteY757" fmla="*/ 6002338 h 6677025"/>
                <a:gd name="connsiteX758" fmla="*/ 2316163 w 8802688"/>
                <a:gd name="connsiteY758" fmla="*/ 6046788 h 6677025"/>
                <a:gd name="connsiteX759" fmla="*/ 2282825 w 8802688"/>
                <a:gd name="connsiteY759" fmla="*/ 6088063 h 6677025"/>
                <a:gd name="connsiteX760" fmla="*/ 2268538 w 8802688"/>
                <a:gd name="connsiteY760" fmla="*/ 6103938 h 6677025"/>
                <a:gd name="connsiteX761" fmla="*/ 2255838 w 8802688"/>
                <a:gd name="connsiteY761" fmla="*/ 6121400 h 6677025"/>
                <a:gd name="connsiteX762" fmla="*/ 2238375 w 8802688"/>
                <a:gd name="connsiteY762" fmla="*/ 6156325 h 6677025"/>
                <a:gd name="connsiteX763" fmla="*/ 2224088 w 8802688"/>
                <a:gd name="connsiteY763" fmla="*/ 6199188 h 6677025"/>
                <a:gd name="connsiteX764" fmla="*/ 2211388 w 8802688"/>
                <a:gd name="connsiteY764" fmla="*/ 6243638 h 6677025"/>
                <a:gd name="connsiteX765" fmla="*/ 2193925 w 8802688"/>
                <a:gd name="connsiteY765" fmla="*/ 6335713 h 6677025"/>
                <a:gd name="connsiteX766" fmla="*/ 2181225 w 8802688"/>
                <a:gd name="connsiteY766" fmla="*/ 6383338 h 6677025"/>
                <a:gd name="connsiteX767" fmla="*/ 2170113 w 8802688"/>
                <a:gd name="connsiteY767" fmla="*/ 6424613 h 6677025"/>
                <a:gd name="connsiteX768" fmla="*/ 2166938 w 8802688"/>
                <a:gd name="connsiteY768" fmla="*/ 6442075 h 6677025"/>
                <a:gd name="connsiteX769" fmla="*/ 2157413 w 8802688"/>
                <a:gd name="connsiteY769" fmla="*/ 6459538 h 6677025"/>
                <a:gd name="connsiteX770" fmla="*/ 2143125 w 8802688"/>
                <a:gd name="connsiteY770" fmla="*/ 6478588 h 6677025"/>
                <a:gd name="connsiteX771" fmla="*/ 2125663 w 8802688"/>
                <a:gd name="connsiteY771" fmla="*/ 6496050 h 6677025"/>
                <a:gd name="connsiteX772" fmla="*/ 2101850 w 8802688"/>
                <a:gd name="connsiteY772" fmla="*/ 6510338 h 6677025"/>
                <a:gd name="connsiteX773" fmla="*/ 2078038 w 8802688"/>
                <a:gd name="connsiteY773" fmla="*/ 6526213 h 6677025"/>
                <a:gd name="connsiteX774" fmla="*/ 2051050 w 8802688"/>
                <a:gd name="connsiteY774" fmla="*/ 6534150 h 6677025"/>
                <a:gd name="connsiteX775" fmla="*/ 2020888 w 8802688"/>
                <a:gd name="connsiteY775" fmla="*/ 6537325 h 6677025"/>
                <a:gd name="connsiteX776" fmla="*/ 1828800 w 8802688"/>
                <a:gd name="connsiteY776" fmla="*/ 6507163 h 6677025"/>
                <a:gd name="connsiteX777" fmla="*/ 1628775 w 8802688"/>
                <a:gd name="connsiteY777" fmla="*/ 6478588 h 6677025"/>
                <a:gd name="connsiteX778" fmla="*/ 1525588 w 8802688"/>
                <a:gd name="connsiteY778" fmla="*/ 6457950 h 6677025"/>
                <a:gd name="connsiteX779" fmla="*/ 1420813 w 8802688"/>
                <a:gd name="connsiteY779" fmla="*/ 6435725 h 6677025"/>
                <a:gd name="connsiteX780" fmla="*/ 1316038 w 8802688"/>
                <a:gd name="connsiteY780" fmla="*/ 6415088 h 6677025"/>
                <a:gd name="connsiteX781" fmla="*/ 1206500 w 8802688"/>
                <a:gd name="connsiteY781" fmla="*/ 6389688 h 6677025"/>
                <a:gd name="connsiteX782" fmla="*/ 1168400 w 8802688"/>
                <a:gd name="connsiteY782" fmla="*/ 6370638 h 6677025"/>
                <a:gd name="connsiteX783" fmla="*/ 1150938 w 8802688"/>
                <a:gd name="connsiteY783" fmla="*/ 6362700 h 6677025"/>
                <a:gd name="connsiteX784" fmla="*/ 1135063 w 8802688"/>
                <a:gd name="connsiteY784" fmla="*/ 6353175 h 6677025"/>
                <a:gd name="connsiteX785" fmla="*/ 1123950 w 8802688"/>
                <a:gd name="connsiteY785" fmla="*/ 6342063 h 6677025"/>
                <a:gd name="connsiteX786" fmla="*/ 1111250 w 8802688"/>
                <a:gd name="connsiteY786" fmla="*/ 6326188 h 6677025"/>
                <a:gd name="connsiteX787" fmla="*/ 1103313 w 8802688"/>
                <a:gd name="connsiteY787" fmla="*/ 6311900 h 6677025"/>
                <a:gd name="connsiteX788" fmla="*/ 1093788 w 8802688"/>
                <a:gd name="connsiteY788" fmla="*/ 6294438 h 6677025"/>
                <a:gd name="connsiteX789" fmla="*/ 1087438 w 8802688"/>
                <a:gd name="connsiteY789" fmla="*/ 6275388 h 6677025"/>
                <a:gd name="connsiteX790" fmla="*/ 1084263 w 8802688"/>
                <a:gd name="connsiteY790" fmla="*/ 6254750 h 6677025"/>
                <a:gd name="connsiteX791" fmla="*/ 1082675 w 8802688"/>
                <a:gd name="connsiteY791" fmla="*/ 6234113 h 6677025"/>
                <a:gd name="connsiteX792" fmla="*/ 1082675 w 8802688"/>
                <a:gd name="connsiteY792" fmla="*/ 6210300 h 6677025"/>
                <a:gd name="connsiteX793" fmla="*/ 1084263 w 8802688"/>
                <a:gd name="connsiteY793" fmla="*/ 6154738 h 6677025"/>
                <a:gd name="connsiteX794" fmla="*/ 1093788 w 8802688"/>
                <a:gd name="connsiteY794" fmla="*/ 6088063 h 6677025"/>
                <a:gd name="connsiteX795" fmla="*/ 1120775 w 8802688"/>
                <a:gd name="connsiteY795" fmla="*/ 6046788 h 6677025"/>
                <a:gd name="connsiteX796" fmla="*/ 1144588 w 8802688"/>
                <a:gd name="connsiteY796" fmla="*/ 5999163 h 6677025"/>
                <a:gd name="connsiteX797" fmla="*/ 1162050 w 8802688"/>
                <a:gd name="connsiteY797" fmla="*/ 5948363 h 6677025"/>
                <a:gd name="connsiteX798" fmla="*/ 1176338 w 8802688"/>
                <a:gd name="connsiteY798" fmla="*/ 5899150 h 6677025"/>
                <a:gd name="connsiteX799" fmla="*/ 1189038 w 8802688"/>
                <a:gd name="connsiteY799" fmla="*/ 5845175 h 6677025"/>
                <a:gd name="connsiteX800" fmla="*/ 1198563 w 8802688"/>
                <a:gd name="connsiteY800" fmla="*/ 5788025 h 6677025"/>
                <a:gd name="connsiteX801" fmla="*/ 1203325 w 8802688"/>
                <a:gd name="connsiteY801" fmla="*/ 5735638 h 6677025"/>
                <a:gd name="connsiteX802" fmla="*/ 1206500 w 8802688"/>
                <a:gd name="connsiteY802" fmla="*/ 5678488 h 6677025"/>
                <a:gd name="connsiteX803" fmla="*/ 1212850 w 8802688"/>
                <a:gd name="connsiteY803" fmla="*/ 5657850 h 6677025"/>
                <a:gd name="connsiteX804" fmla="*/ 1216025 w 8802688"/>
                <a:gd name="connsiteY804" fmla="*/ 5634038 h 6677025"/>
                <a:gd name="connsiteX805" fmla="*/ 1216025 w 8802688"/>
                <a:gd name="connsiteY805" fmla="*/ 5613400 h 6677025"/>
                <a:gd name="connsiteX806" fmla="*/ 1216025 w 8802688"/>
                <a:gd name="connsiteY806" fmla="*/ 5589588 h 6677025"/>
                <a:gd name="connsiteX807" fmla="*/ 1209675 w 8802688"/>
                <a:gd name="connsiteY807" fmla="*/ 5541963 h 6677025"/>
                <a:gd name="connsiteX808" fmla="*/ 1198563 w 8802688"/>
                <a:gd name="connsiteY808" fmla="*/ 5497513 h 6677025"/>
                <a:gd name="connsiteX809" fmla="*/ 1179513 w 8802688"/>
                <a:gd name="connsiteY809" fmla="*/ 5453063 h 6677025"/>
                <a:gd name="connsiteX810" fmla="*/ 1165225 w 8802688"/>
                <a:gd name="connsiteY810" fmla="*/ 5410200 h 6677025"/>
                <a:gd name="connsiteX811" fmla="*/ 1131888 w 8802688"/>
                <a:gd name="connsiteY811" fmla="*/ 5341938 h 6677025"/>
                <a:gd name="connsiteX812" fmla="*/ 1069975 w 8802688"/>
                <a:gd name="connsiteY812" fmla="*/ 5238750 h 6677025"/>
                <a:gd name="connsiteX813" fmla="*/ 1012825 w 8802688"/>
                <a:gd name="connsiteY813" fmla="*/ 5130800 h 6677025"/>
                <a:gd name="connsiteX814" fmla="*/ 957263 w 8802688"/>
                <a:gd name="connsiteY814" fmla="*/ 5027613 h 6677025"/>
                <a:gd name="connsiteX815" fmla="*/ 903288 w 8802688"/>
                <a:gd name="connsiteY815" fmla="*/ 4919663 h 6677025"/>
                <a:gd name="connsiteX816" fmla="*/ 855663 w 8802688"/>
                <a:gd name="connsiteY816" fmla="*/ 4813300 h 6677025"/>
                <a:gd name="connsiteX817" fmla="*/ 811213 w 8802688"/>
                <a:gd name="connsiteY817" fmla="*/ 4706938 h 6677025"/>
                <a:gd name="connsiteX818" fmla="*/ 769938 w 8802688"/>
                <a:gd name="connsiteY818" fmla="*/ 4598988 h 6677025"/>
                <a:gd name="connsiteX819" fmla="*/ 733425 w 8802688"/>
                <a:gd name="connsiteY819" fmla="*/ 4492625 h 6677025"/>
                <a:gd name="connsiteX820" fmla="*/ 701675 w 8802688"/>
                <a:gd name="connsiteY820" fmla="*/ 4383088 h 6677025"/>
                <a:gd name="connsiteX821" fmla="*/ 671513 w 8802688"/>
                <a:gd name="connsiteY821" fmla="*/ 4271963 h 6677025"/>
                <a:gd name="connsiteX822" fmla="*/ 647700 w 8802688"/>
                <a:gd name="connsiteY822" fmla="*/ 4162425 h 6677025"/>
                <a:gd name="connsiteX823" fmla="*/ 630238 w 8802688"/>
                <a:gd name="connsiteY823" fmla="*/ 4049713 h 6677025"/>
                <a:gd name="connsiteX824" fmla="*/ 617538 w 8802688"/>
                <a:gd name="connsiteY824" fmla="*/ 3937000 h 6677025"/>
                <a:gd name="connsiteX825" fmla="*/ 609600 w 8802688"/>
                <a:gd name="connsiteY825" fmla="*/ 3821113 h 6677025"/>
                <a:gd name="connsiteX826" fmla="*/ 609600 w 8802688"/>
                <a:gd name="connsiteY826" fmla="*/ 3705225 h 6677025"/>
                <a:gd name="connsiteX827" fmla="*/ 612775 w 8802688"/>
                <a:gd name="connsiteY827" fmla="*/ 3586163 h 6677025"/>
                <a:gd name="connsiteX828" fmla="*/ 620713 w 8802688"/>
                <a:gd name="connsiteY828" fmla="*/ 3470275 h 6677025"/>
                <a:gd name="connsiteX829" fmla="*/ 636588 w 8802688"/>
                <a:gd name="connsiteY829" fmla="*/ 3354388 h 6677025"/>
                <a:gd name="connsiteX830" fmla="*/ 657225 w 8802688"/>
                <a:gd name="connsiteY830" fmla="*/ 3243263 h 6677025"/>
                <a:gd name="connsiteX831" fmla="*/ 681038 w 8802688"/>
                <a:gd name="connsiteY831" fmla="*/ 3136900 h 6677025"/>
                <a:gd name="connsiteX832" fmla="*/ 709613 w 8802688"/>
                <a:gd name="connsiteY832" fmla="*/ 3032125 h 6677025"/>
                <a:gd name="connsiteX833" fmla="*/ 746125 w 8802688"/>
                <a:gd name="connsiteY833" fmla="*/ 2932113 h 6677025"/>
                <a:gd name="connsiteX834" fmla="*/ 784225 w 8802688"/>
                <a:gd name="connsiteY834" fmla="*/ 2833688 h 6677025"/>
                <a:gd name="connsiteX835" fmla="*/ 828675 w 8802688"/>
                <a:gd name="connsiteY835" fmla="*/ 2735263 h 6677025"/>
                <a:gd name="connsiteX836" fmla="*/ 879475 w 8802688"/>
                <a:gd name="connsiteY836" fmla="*/ 2643188 h 6677025"/>
                <a:gd name="connsiteX837" fmla="*/ 933450 w 8802688"/>
                <a:gd name="connsiteY837" fmla="*/ 2551113 h 6677025"/>
                <a:gd name="connsiteX838" fmla="*/ 992188 w 8802688"/>
                <a:gd name="connsiteY838" fmla="*/ 2465388 h 6677025"/>
                <a:gd name="connsiteX839" fmla="*/ 1055688 w 8802688"/>
                <a:gd name="connsiteY839" fmla="*/ 2379663 h 6677025"/>
                <a:gd name="connsiteX840" fmla="*/ 1123950 w 8802688"/>
                <a:gd name="connsiteY840" fmla="*/ 2295525 h 6677025"/>
                <a:gd name="connsiteX841" fmla="*/ 1195388 w 8802688"/>
                <a:gd name="connsiteY841" fmla="*/ 2212975 h 6677025"/>
                <a:gd name="connsiteX842" fmla="*/ 1271588 w 8802688"/>
                <a:gd name="connsiteY842" fmla="*/ 2132013 h 6677025"/>
                <a:gd name="connsiteX843" fmla="*/ 1355725 w 8802688"/>
                <a:gd name="connsiteY843" fmla="*/ 2054225 h 6677025"/>
                <a:gd name="connsiteX844" fmla="*/ 1423988 w 8802688"/>
                <a:gd name="connsiteY844" fmla="*/ 2001838 h 6677025"/>
                <a:gd name="connsiteX845" fmla="*/ 1495425 w 8802688"/>
                <a:gd name="connsiteY845" fmla="*/ 1951038 h 6677025"/>
                <a:gd name="connsiteX846" fmla="*/ 1566863 w 8802688"/>
                <a:gd name="connsiteY846" fmla="*/ 1900238 h 6677025"/>
                <a:gd name="connsiteX847" fmla="*/ 1641475 w 8802688"/>
                <a:gd name="connsiteY847" fmla="*/ 1855788 h 6677025"/>
                <a:gd name="connsiteX848" fmla="*/ 1714500 w 8802688"/>
                <a:gd name="connsiteY848" fmla="*/ 1814513 h 6677025"/>
                <a:gd name="connsiteX849" fmla="*/ 1789113 w 8802688"/>
                <a:gd name="connsiteY849" fmla="*/ 1774825 h 6677025"/>
                <a:gd name="connsiteX850" fmla="*/ 1866900 w 8802688"/>
                <a:gd name="connsiteY850" fmla="*/ 1739900 h 6677025"/>
                <a:gd name="connsiteX851" fmla="*/ 1944688 w 8802688"/>
                <a:gd name="connsiteY851" fmla="*/ 1703388 h 6677025"/>
                <a:gd name="connsiteX852" fmla="*/ 2020888 w 8802688"/>
                <a:gd name="connsiteY852" fmla="*/ 1671638 h 6677025"/>
                <a:gd name="connsiteX853" fmla="*/ 2101850 w 8802688"/>
                <a:gd name="connsiteY853" fmla="*/ 1641476 h 6677025"/>
                <a:gd name="connsiteX854" fmla="*/ 2184400 w 8802688"/>
                <a:gd name="connsiteY854" fmla="*/ 1614488 h 6677025"/>
                <a:gd name="connsiteX855" fmla="*/ 2268538 w 8802688"/>
                <a:gd name="connsiteY855" fmla="*/ 1587500 h 6677025"/>
                <a:gd name="connsiteX856" fmla="*/ 2351088 w 8802688"/>
                <a:gd name="connsiteY856" fmla="*/ 1562100 h 6677025"/>
                <a:gd name="connsiteX857" fmla="*/ 2436813 w 8802688"/>
                <a:gd name="connsiteY857" fmla="*/ 1538288 h 6677025"/>
                <a:gd name="connsiteX858" fmla="*/ 2616200 w 8802688"/>
                <a:gd name="connsiteY858" fmla="*/ 1492250 h 6677025"/>
                <a:gd name="connsiteX859" fmla="*/ 2725738 w 8802688"/>
                <a:gd name="connsiteY859" fmla="*/ 1492250 h 6677025"/>
                <a:gd name="connsiteX860" fmla="*/ 2654300 w 8802688"/>
                <a:gd name="connsiteY860" fmla="*/ 1590675 h 6677025"/>
                <a:gd name="connsiteX861" fmla="*/ 2582863 w 8802688"/>
                <a:gd name="connsiteY861" fmla="*/ 1682750 h 6677025"/>
                <a:gd name="connsiteX862" fmla="*/ 2435225 w 8802688"/>
                <a:gd name="connsiteY862" fmla="*/ 1866901 h 6677025"/>
                <a:gd name="connsiteX863" fmla="*/ 2363788 w 8802688"/>
                <a:gd name="connsiteY863" fmla="*/ 1958975 h 6677025"/>
                <a:gd name="connsiteX864" fmla="*/ 2295525 w 8802688"/>
                <a:gd name="connsiteY864" fmla="*/ 2052638 h 6677025"/>
                <a:gd name="connsiteX865" fmla="*/ 2228850 w 8802688"/>
                <a:gd name="connsiteY865" fmla="*/ 2144713 h 6677025"/>
                <a:gd name="connsiteX866" fmla="*/ 2200275 w 8802688"/>
                <a:gd name="connsiteY866" fmla="*/ 2192338 h 6677025"/>
                <a:gd name="connsiteX867" fmla="*/ 2170113 w 8802688"/>
                <a:gd name="connsiteY867" fmla="*/ 2241550 h 6677025"/>
                <a:gd name="connsiteX868" fmla="*/ 2089150 w 8802688"/>
                <a:gd name="connsiteY868" fmla="*/ 2355850 h 6677025"/>
                <a:gd name="connsiteX869" fmla="*/ 2047875 w 8802688"/>
                <a:gd name="connsiteY869" fmla="*/ 2411413 h 6677025"/>
                <a:gd name="connsiteX870" fmla="*/ 2012950 w 8802688"/>
                <a:gd name="connsiteY870" fmla="*/ 2471738 h 6677025"/>
                <a:gd name="connsiteX871" fmla="*/ 1979613 w 8802688"/>
                <a:gd name="connsiteY871" fmla="*/ 2530475 h 6677025"/>
                <a:gd name="connsiteX872" fmla="*/ 1952625 w 8802688"/>
                <a:gd name="connsiteY872" fmla="*/ 2592388 h 6677025"/>
                <a:gd name="connsiteX873" fmla="*/ 1928813 w 8802688"/>
                <a:gd name="connsiteY873" fmla="*/ 2659063 h 6677025"/>
                <a:gd name="connsiteX874" fmla="*/ 1917700 w 8802688"/>
                <a:gd name="connsiteY874" fmla="*/ 2693988 h 6677025"/>
                <a:gd name="connsiteX875" fmla="*/ 1911350 w 8802688"/>
                <a:gd name="connsiteY875" fmla="*/ 2727325 h 6677025"/>
                <a:gd name="connsiteX876" fmla="*/ 1893888 w 8802688"/>
                <a:gd name="connsiteY876" fmla="*/ 2776538 h 6677025"/>
                <a:gd name="connsiteX877" fmla="*/ 1881188 w 8802688"/>
                <a:gd name="connsiteY877" fmla="*/ 2824163 h 6677025"/>
                <a:gd name="connsiteX878" fmla="*/ 1873250 w 8802688"/>
                <a:gd name="connsiteY878" fmla="*/ 2868613 h 6677025"/>
                <a:gd name="connsiteX879" fmla="*/ 1873250 w 8802688"/>
                <a:gd name="connsiteY879" fmla="*/ 2916238 h 6677025"/>
                <a:gd name="connsiteX880" fmla="*/ 1876425 w 8802688"/>
                <a:gd name="connsiteY880" fmla="*/ 2962275 h 6677025"/>
                <a:gd name="connsiteX881" fmla="*/ 1881188 w 8802688"/>
                <a:gd name="connsiteY881" fmla="*/ 3006725 h 6677025"/>
                <a:gd name="connsiteX882" fmla="*/ 1893888 w 8802688"/>
                <a:gd name="connsiteY882" fmla="*/ 3048000 h 6677025"/>
                <a:gd name="connsiteX883" fmla="*/ 1905000 w 8802688"/>
                <a:gd name="connsiteY883" fmla="*/ 3092450 h 6677025"/>
                <a:gd name="connsiteX884" fmla="*/ 1924050 w 8802688"/>
                <a:gd name="connsiteY884" fmla="*/ 3133725 h 6677025"/>
                <a:gd name="connsiteX885" fmla="*/ 1944688 w 8802688"/>
                <a:gd name="connsiteY885" fmla="*/ 3171825 h 6677025"/>
                <a:gd name="connsiteX886" fmla="*/ 1965325 w 8802688"/>
                <a:gd name="connsiteY886" fmla="*/ 3214688 h 6677025"/>
                <a:gd name="connsiteX887" fmla="*/ 1989138 w 8802688"/>
                <a:gd name="connsiteY887" fmla="*/ 3252788 h 6677025"/>
                <a:gd name="connsiteX888" fmla="*/ 2041525 w 8802688"/>
                <a:gd name="connsiteY888" fmla="*/ 3327400 h 6677025"/>
                <a:gd name="connsiteX889" fmla="*/ 2095500 w 8802688"/>
                <a:gd name="connsiteY889" fmla="*/ 3398838 h 6677025"/>
                <a:gd name="connsiteX890" fmla="*/ 2149475 w 8802688"/>
                <a:gd name="connsiteY890" fmla="*/ 3470275 h 6677025"/>
                <a:gd name="connsiteX891" fmla="*/ 2197100 w 8802688"/>
                <a:gd name="connsiteY891" fmla="*/ 3541713 h 6677025"/>
                <a:gd name="connsiteX892" fmla="*/ 2217738 w 8802688"/>
                <a:gd name="connsiteY892" fmla="*/ 3576638 h 6677025"/>
                <a:gd name="connsiteX893" fmla="*/ 2238375 w 8802688"/>
                <a:gd name="connsiteY893" fmla="*/ 3613150 h 6677025"/>
                <a:gd name="connsiteX894" fmla="*/ 2252663 w 8802688"/>
                <a:gd name="connsiteY894" fmla="*/ 3648075 h 6677025"/>
                <a:gd name="connsiteX895" fmla="*/ 2268538 w 8802688"/>
                <a:gd name="connsiteY895" fmla="*/ 3684588 h 6677025"/>
                <a:gd name="connsiteX896" fmla="*/ 2279650 w 8802688"/>
                <a:gd name="connsiteY896" fmla="*/ 3722688 h 6677025"/>
                <a:gd name="connsiteX897" fmla="*/ 2286000 w 8802688"/>
                <a:gd name="connsiteY897" fmla="*/ 3757613 h 6677025"/>
                <a:gd name="connsiteX898" fmla="*/ 2289175 w 8802688"/>
                <a:gd name="connsiteY898" fmla="*/ 3797300 h 6677025"/>
                <a:gd name="connsiteX899" fmla="*/ 2289175 w 8802688"/>
                <a:gd name="connsiteY899" fmla="*/ 3835400 h 6677025"/>
                <a:gd name="connsiteX900" fmla="*/ 2286000 w 8802688"/>
                <a:gd name="connsiteY900" fmla="*/ 3873500 h 6677025"/>
                <a:gd name="connsiteX901" fmla="*/ 2276475 w 8802688"/>
                <a:gd name="connsiteY901" fmla="*/ 3916363 h 6677025"/>
                <a:gd name="connsiteX902" fmla="*/ 2262188 w 8802688"/>
                <a:gd name="connsiteY902" fmla="*/ 3954463 h 6677025"/>
                <a:gd name="connsiteX903" fmla="*/ 2244725 w 8802688"/>
                <a:gd name="connsiteY903" fmla="*/ 3995738 h 6677025"/>
                <a:gd name="connsiteX904" fmla="*/ 2232025 w 8802688"/>
                <a:gd name="connsiteY904" fmla="*/ 4013200 h 6677025"/>
                <a:gd name="connsiteX905" fmla="*/ 2224088 w 8802688"/>
                <a:gd name="connsiteY905" fmla="*/ 4037013 h 6677025"/>
                <a:gd name="connsiteX906" fmla="*/ 2217738 w 8802688"/>
                <a:gd name="connsiteY906" fmla="*/ 4064000 h 6677025"/>
                <a:gd name="connsiteX907" fmla="*/ 2217738 w 8802688"/>
                <a:gd name="connsiteY907" fmla="*/ 4090988 h 6677025"/>
                <a:gd name="connsiteX908" fmla="*/ 2217738 w 8802688"/>
                <a:gd name="connsiteY908" fmla="*/ 4117975 h 6677025"/>
                <a:gd name="connsiteX909" fmla="*/ 2224088 w 8802688"/>
                <a:gd name="connsiteY909" fmla="*/ 4144963 h 6677025"/>
                <a:gd name="connsiteX910" fmla="*/ 2232025 w 8802688"/>
                <a:gd name="connsiteY910" fmla="*/ 4168775 h 6677025"/>
                <a:gd name="connsiteX911" fmla="*/ 2244725 w 8802688"/>
                <a:gd name="connsiteY911" fmla="*/ 4183063 h 6677025"/>
                <a:gd name="connsiteX912" fmla="*/ 2306638 w 8802688"/>
                <a:gd name="connsiteY912" fmla="*/ 4251325 h 6677025"/>
                <a:gd name="connsiteX913" fmla="*/ 2368550 w 8802688"/>
                <a:gd name="connsiteY913" fmla="*/ 4313238 h 6677025"/>
                <a:gd name="connsiteX914" fmla="*/ 2435225 w 8802688"/>
                <a:gd name="connsiteY914" fmla="*/ 4373563 h 6677025"/>
                <a:gd name="connsiteX915" fmla="*/ 2497138 w 8802688"/>
                <a:gd name="connsiteY915" fmla="*/ 4424363 h 6677025"/>
                <a:gd name="connsiteX916" fmla="*/ 2562225 w 8802688"/>
                <a:gd name="connsiteY916" fmla="*/ 4471988 h 6677025"/>
                <a:gd name="connsiteX917" fmla="*/ 2627313 w 8802688"/>
                <a:gd name="connsiteY917" fmla="*/ 4510088 h 6677025"/>
                <a:gd name="connsiteX918" fmla="*/ 2660650 w 8802688"/>
                <a:gd name="connsiteY918" fmla="*/ 4527550 h 6677025"/>
                <a:gd name="connsiteX919" fmla="*/ 2695575 w 8802688"/>
                <a:gd name="connsiteY919" fmla="*/ 4543425 h 6677025"/>
                <a:gd name="connsiteX920" fmla="*/ 2728913 w 8802688"/>
                <a:gd name="connsiteY920" fmla="*/ 4554538 h 6677025"/>
                <a:gd name="connsiteX921" fmla="*/ 2763838 w 8802688"/>
                <a:gd name="connsiteY921" fmla="*/ 4567238 h 6677025"/>
                <a:gd name="connsiteX922" fmla="*/ 2800350 w 8802688"/>
                <a:gd name="connsiteY922" fmla="*/ 4575175 h 6677025"/>
                <a:gd name="connsiteX923" fmla="*/ 2835275 w 8802688"/>
                <a:gd name="connsiteY923" fmla="*/ 4584700 h 6677025"/>
                <a:gd name="connsiteX924" fmla="*/ 2871788 w 8802688"/>
                <a:gd name="connsiteY924" fmla="*/ 4591050 h 6677025"/>
                <a:gd name="connsiteX925" fmla="*/ 2906713 w 8802688"/>
                <a:gd name="connsiteY925" fmla="*/ 4594225 h 6677025"/>
                <a:gd name="connsiteX926" fmla="*/ 2943225 w 8802688"/>
                <a:gd name="connsiteY926" fmla="*/ 4594225 h 6677025"/>
                <a:gd name="connsiteX927" fmla="*/ 2981325 w 8802688"/>
                <a:gd name="connsiteY927" fmla="*/ 4594225 h 6677025"/>
                <a:gd name="connsiteX928" fmla="*/ 3021013 w 8802688"/>
                <a:gd name="connsiteY928" fmla="*/ 4591050 h 6677025"/>
                <a:gd name="connsiteX929" fmla="*/ 3059113 w 8802688"/>
                <a:gd name="connsiteY929" fmla="*/ 4584700 h 6677025"/>
                <a:gd name="connsiteX930" fmla="*/ 3097213 w 8802688"/>
                <a:gd name="connsiteY930" fmla="*/ 4575175 h 6677025"/>
                <a:gd name="connsiteX931" fmla="*/ 3138488 w 8802688"/>
                <a:gd name="connsiteY931" fmla="*/ 4564063 h 6677025"/>
                <a:gd name="connsiteX932" fmla="*/ 3178175 w 8802688"/>
                <a:gd name="connsiteY932" fmla="*/ 4551363 h 6677025"/>
                <a:gd name="connsiteX933" fmla="*/ 3219450 w 8802688"/>
                <a:gd name="connsiteY933" fmla="*/ 4537075 h 6677025"/>
                <a:gd name="connsiteX934" fmla="*/ 3263900 w 8802688"/>
                <a:gd name="connsiteY934" fmla="*/ 4516438 h 6677025"/>
                <a:gd name="connsiteX935" fmla="*/ 3305175 w 8802688"/>
                <a:gd name="connsiteY935" fmla="*/ 4495800 h 6677025"/>
                <a:gd name="connsiteX936" fmla="*/ 3349625 w 8802688"/>
                <a:gd name="connsiteY936" fmla="*/ 4471988 h 6677025"/>
                <a:gd name="connsiteX937" fmla="*/ 3394075 w 8802688"/>
                <a:gd name="connsiteY937" fmla="*/ 4445000 h 6677025"/>
                <a:gd name="connsiteX938" fmla="*/ 3617913 w 8802688"/>
                <a:gd name="connsiteY938" fmla="*/ 4329113 h 6677025"/>
                <a:gd name="connsiteX939" fmla="*/ 3730625 w 8802688"/>
                <a:gd name="connsiteY939" fmla="*/ 4271963 h 6677025"/>
                <a:gd name="connsiteX940" fmla="*/ 3843338 w 8802688"/>
                <a:gd name="connsiteY940" fmla="*/ 4216400 h 6677025"/>
                <a:gd name="connsiteX941" fmla="*/ 3959225 w 8802688"/>
                <a:gd name="connsiteY941" fmla="*/ 4168775 h 6677025"/>
                <a:gd name="connsiteX942" fmla="*/ 4019550 w 8802688"/>
                <a:gd name="connsiteY942" fmla="*/ 4144963 h 6677025"/>
                <a:gd name="connsiteX943" fmla="*/ 4078288 w 8802688"/>
                <a:gd name="connsiteY943" fmla="*/ 4124325 h 6677025"/>
                <a:gd name="connsiteX944" fmla="*/ 4138613 w 8802688"/>
                <a:gd name="connsiteY944" fmla="*/ 4108450 h 6677025"/>
                <a:gd name="connsiteX945" fmla="*/ 4197350 w 8802688"/>
                <a:gd name="connsiteY945" fmla="*/ 4094163 h 6677025"/>
                <a:gd name="connsiteX946" fmla="*/ 4259263 w 8802688"/>
                <a:gd name="connsiteY946" fmla="*/ 4081463 h 6677025"/>
                <a:gd name="connsiteX947" fmla="*/ 4322763 w 8802688"/>
                <a:gd name="connsiteY947" fmla="*/ 4073525 h 6677025"/>
                <a:gd name="connsiteX948" fmla="*/ 4337050 w 8802688"/>
                <a:gd name="connsiteY948" fmla="*/ 4067175 h 6677025"/>
                <a:gd name="connsiteX949" fmla="*/ 4354513 w 8802688"/>
                <a:gd name="connsiteY949" fmla="*/ 4057650 h 6677025"/>
                <a:gd name="connsiteX950" fmla="*/ 4375150 w 8802688"/>
                <a:gd name="connsiteY950" fmla="*/ 4043363 h 6677025"/>
                <a:gd name="connsiteX951" fmla="*/ 4397375 w 8802688"/>
                <a:gd name="connsiteY951" fmla="*/ 4025900 h 6677025"/>
                <a:gd name="connsiteX952" fmla="*/ 4418013 w 8802688"/>
                <a:gd name="connsiteY952" fmla="*/ 4002088 h 6677025"/>
                <a:gd name="connsiteX953" fmla="*/ 4438650 w 8802688"/>
                <a:gd name="connsiteY953" fmla="*/ 3978275 h 6677025"/>
                <a:gd name="connsiteX954" fmla="*/ 4456113 w 8802688"/>
                <a:gd name="connsiteY954" fmla="*/ 3951288 h 6677025"/>
                <a:gd name="connsiteX955" fmla="*/ 4470400 w 8802688"/>
                <a:gd name="connsiteY955" fmla="*/ 3921125 h 6677025"/>
                <a:gd name="connsiteX956" fmla="*/ 4497388 w 8802688"/>
                <a:gd name="connsiteY956" fmla="*/ 3844925 h 6677025"/>
                <a:gd name="connsiteX957" fmla="*/ 4518025 w 8802688"/>
                <a:gd name="connsiteY957" fmla="*/ 3767138 h 6677025"/>
                <a:gd name="connsiteX958" fmla="*/ 4537075 w 8802688"/>
                <a:gd name="connsiteY958" fmla="*/ 3689350 h 6677025"/>
                <a:gd name="connsiteX959" fmla="*/ 4548188 w 8802688"/>
                <a:gd name="connsiteY959" fmla="*/ 3613150 h 6677025"/>
                <a:gd name="connsiteX960" fmla="*/ 4560888 w 8802688"/>
                <a:gd name="connsiteY960" fmla="*/ 3535363 h 6677025"/>
                <a:gd name="connsiteX961" fmla="*/ 4565650 w 8802688"/>
                <a:gd name="connsiteY961" fmla="*/ 3457575 h 6677025"/>
                <a:gd name="connsiteX962" fmla="*/ 4572000 w 8802688"/>
                <a:gd name="connsiteY962" fmla="*/ 3381375 h 6677025"/>
                <a:gd name="connsiteX963" fmla="*/ 4572000 w 8802688"/>
                <a:gd name="connsiteY963" fmla="*/ 3300413 h 6677025"/>
                <a:gd name="connsiteX964" fmla="*/ 4572000 w 8802688"/>
                <a:gd name="connsiteY964" fmla="*/ 3222625 h 6677025"/>
                <a:gd name="connsiteX965" fmla="*/ 4568825 w 8802688"/>
                <a:gd name="connsiteY965" fmla="*/ 3143250 h 6677025"/>
                <a:gd name="connsiteX966" fmla="*/ 4562475 w 8802688"/>
                <a:gd name="connsiteY966" fmla="*/ 3062288 h 6677025"/>
                <a:gd name="connsiteX967" fmla="*/ 4554538 w 8802688"/>
                <a:gd name="connsiteY967" fmla="*/ 2982913 h 6677025"/>
                <a:gd name="connsiteX968" fmla="*/ 4533900 w 8802688"/>
                <a:gd name="connsiteY968" fmla="*/ 2819400 h 6677025"/>
                <a:gd name="connsiteX969" fmla="*/ 4506913 w 8802688"/>
                <a:gd name="connsiteY969" fmla="*/ 2652713 h 6677025"/>
                <a:gd name="connsiteX970" fmla="*/ 4479925 w 8802688"/>
                <a:gd name="connsiteY970" fmla="*/ 2476500 h 6677025"/>
                <a:gd name="connsiteX971" fmla="*/ 4446588 w 8802688"/>
                <a:gd name="connsiteY971" fmla="*/ 2292351 h 6677025"/>
                <a:gd name="connsiteX972" fmla="*/ 4429125 w 8802688"/>
                <a:gd name="connsiteY972" fmla="*/ 2197100 h 6677025"/>
                <a:gd name="connsiteX973" fmla="*/ 4408488 w 8802688"/>
                <a:gd name="connsiteY973" fmla="*/ 2098675 h 6677025"/>
                <a:gd name="connsiteX974" fmla="*/ 4384675 w 8802688"/>
                <a:gd name="connsiteY974" fmla="*/ 2005013 h 6677025"/>
                <a:gd name="connsiteX975" fmla="*/ 4360863 w 8802688"/>
                <a:gd name="connsiteY975" fmla="*/ 1906588 h 6677025"/>
                <a:gd name="connsiteX976" fmla="*/ 4360863 w 8802688"/>
                <a:gd name="connsiteY976" fmla="*/ 2765425 h 6677025"/>
                <a:gd name="connsiteX977" fmla="*/ 4360863 w 8802688"/>
                <a:gd name="connsiteY977" fmla="*/ 3698875 h 6677025"/>
                <a:gd name="connsiteX978" fmla="*/ 4357688 w 8802688"/>
                <a:gd name="connsiteY978" fmla="*/ 3725863 h 6677025"/>
                <a:gd name="connsiteX979" fmla="*/ 4354513 w 8802688"/>
                <a:gd name="connsiteY979" fmla="*/ 3752850 h 6677025"/>
                <a:gd name="connsiteX980" fmla="*/ 4349750 w 8802688"/>
                <a:gd name="connsiteY980" fmla="*/ 3776663 h 6677025"/>
                <a:gd name="connsiteX981" fmla="*/ 4340225 w 8802688"/>
                <a:gd name="connsiteY981" fmla="*/ 3797300 h 6677025"/>
                <a:gd name="connsiteX982" fmla="*/ 4327525 w 8802688"/>
                <a:gd name="connsiteY982" fmla="*/ 3817938 h 6677025"/>
                <a:gd name="connsiteX983" fmla="*/ 4316413 w 8802688"/>
                <a:gd name="connsiteY983" fmla="*/ 3838575 h 6677025"/>
                <a:gd name="connsiteX984" fmla="*/ 4302125 w 8802688"/>
                <a:gd name="connsiteY984" fmla="*/ 3856038 h 6677025"/>
                <a:gd name="connsiteX985" fmla="*/ 4286250 w 8802688"/>
                <a:gd name="connsiteY985" fmla="*/ 3870325 h 6677025"/>
                <a:gd name="connsiteX986" fmla="*/ 4265613 w 8802688"/>
                <a:gd name="connsiteY986" fmla="*/ 3886200 h 6677025"/>
                <a:gd name="connsiteX987" fmla="*/ 4248150 w 8802688"/>
                <a:gd name="connsiteY987" fmla="*/ 3900488 h 6677025"/>
                <a:gd name="connsiteX988" fmla="*/ 4203700 w 8802688"/>
                <a:gd name="connsiteY988" fmla="*/ 3924300 h 6677025"/>
                <a:gd name="connsiteX989" fmla="*/ 4152900 w 8802688"/>
                <a:gd name="connsiteY989" fmla="*/ 3944938 h 6677025"/>
                <a:gd name="connsiteX990" fmla="*/ 4098925 w 8802688"/>
                <a:gd name="connsiteY990" fmla="*/ 3960813 h 6677025"/>
                <a:gd name="connsiteX991" fmla="*/ 4000500 w 8802688"/>
                <a:gd name="connsiteY991" fmla="*/ 3989388 h 6677025"/>
                <a:gd name="connsiteX992" fmla="*/ 3906838 w 8802688"/>
                <a:gd name="connsiteY992" fmla="*/ 4022725 h 6677025"/>
                <a:gd name="connsiteX993" fmla="*/ 3811588 w 8802688"/>
                <a:gd name="connsiteY993" fmla="*/ 4057650 h 6677025"/>
                <a:gd name="connsiteX994" fmla="*/ 3716338 w 8802688"/>
                <a:gd name="connsiteY994" fmla="*/ 4100513 h 6677025"/>
                <a:gd name="connsiteX995" fmla="*/ 3621088 w 8802688"/>
                <a:gd name="connsiteY995" fmla="*/ 4144963 h 6677025"/>
                <a:gd name="connsiteX996" fmla="*/ 3532188 w 8802688"/>
                <a:gd name="connsiteY996" fmla="*/ 4192588 h 6677025"/>
                <a:gd name="connsiteX997" fmla="*/ 3441700 w 8802688"/>
                <a:gd name="connsiteY997" fmla="*/ 4243388 h 6677025"/>
                <a:gd name="connsiteX998" fmla="*/ 3359150 w 8802688"/>
                <a:gd name="connsiteY998" fmla="*/ 4295775 h 6677025"/>
                <a:gd name="connsiteX999" fmla="*/ 3287713 w 8802688"/>
                <a:gd name="connsiteY999" fmla="*/ 4329113 h 6677025"/>
                <a:gd name="connsiteX1000" fmla="*/ 3222625 w 8802688"/>
                <a:gd name="connsiteY1000" fmla="*/ 4359275 h 6677025"/>
                <a:gd name="connsiteX1001" fmla="*/ 3157538 w 8802688"/>
                <a:gd name="connsiteY1001" fmla="*/ 4379913 h 6677025"/>
                <a:gd name="connsiteX1002" fmla="*/ 3094038 w 8802688"/>
                <a:gd name="connsiteY1002" fmla="*/ 4400550 h 6677025"/>
                <a:gd name="connsiteX1003" fmla="*/ 3032125 w 8802688"/>
                <a:gd name="connsiteY1003" fmla="*/ 4411663 h 6677025"/>
                <a:gd name="connsiteX1004" fmla="*/ 2973388 w 8802688"/>
                <a:gd name="connsiteY1004" fmla="*/ 4421188 h 6677025"/>
                <a:gd name="connsiteX1005" fmla="*/ 2913063 w 8802688"/>
                <a:gd name="connsiteY1005" fmla="*/ 4421188 h 6677025"/>
                <a:gd name="connsiteX1006" fmla="*/ 2857500 w 8802688"/>
                <a:gd name="connsiteY1006" fmla="*/ 4418013 h 6677025"/>
                <a:gd name="connsiteX1007" fmla="*/ 2803525 w 8802688"/>
                <a:gd name="connsiteY1007" fmla="*/ 4406900 h 6677025"/>
                <a:gd name="connsiteX1008" fmla="*/ 2749550 w 8802688"/>
                <a:gd name="connsiteY1008" fmla="*/ 4391025 h 6677025"/>
                <a:gd name="connsiteX1009" fmla="*/ 2698750 w 8802688"/>
                <a:gd name="connsiteY1009" fmla="*/ 4367213 h 6677025"/>
                <a:gd name="connsiteX1010" fmla="*/ 2647950 w 8802688"/>
                <a:gd name="connsiteY1010" fmla="*/ 4337050 h 6677025"/>
                <a:gd name="connsiteX1011" fmla="*/ 2600325 w 8802688"/>
                <a:gd name="connsiteY1011" fmla="*/ 4302125 h 6677025"/>
                <a:gd name="connsiteX1012" fmla="*/ 2554288 w 8802688"/>
                <a:gd name="connsiteY1012" fmla="*/ 4257675 h 6677025"/>
                <a:gd name="connsiteX1013" fmla="*/ 2508250 w 8802688"/>
                <a:gd name="connsiteY1013" fmla="*/ 4206875 h 6677025"/>
                <a:gd name="connsiteX1014" fmla="*/ 2466975 w 8802688"/>
                <a:gd name="connsiteY1014" fmla="*/ 4148138 h 6677025"/>
                <a:gd name="connsiteX1015" fmla="*/ 2452688 w 8802688"/>
                <a:gd name="connsiteY1015" fmla="*/ 4117975 h 6677025"/>
                <a:gd name="connsiteX1016" fmla="*/ 2439988 w 8802688"/>
                <a:gd name="connsiteY1016" fmla="*/ 4084638 h 6677025"/>
                <a:gd name="connsiteX1017" fmla="*/ 2428875 w 8802688"/>
                <a:gd name="connsiteY1017" fmla="*/ 4049713 h 6677025"/>
                <a:gd name="connsiteX1018" fmla="*/ 2419350 w 8802688"/>
                <a:gd name="connsiteY1018" fmla="*/ 4016375 h 6677025"/>
                <a:gd name="connsiteX1019" fmla="*/ 2416175 w 8802688"/>
                <a:gd name="connsiteY1019" fmla="*/ 3981450 h 6677025"/>
                <a:gd name="connsiteX1020" fmla="*/ 2416175 w 8802688"/>
                <a:gd name="connsiteY1020" fmla="*/ 3948113 h 6677025"/>
                <a:gd name="connsiteX1021" fmla="*/ 2419350 w 8802688"/>
                <a:gd name="connsiteY1021" fmla="*/ 3916363 h 6677025"/>
                <a:gd name="connsiteX1022" fmla="*/ 2425700 w 8802688"/>
                <a:gd name="connsiteY1022" fmla="*/ 3900488 h 6677025"/>
                <a:gd name="connsiteX1023" fmla="*/ 2432050 w 8802688"/>
                <a:gd name="connsiteY1023" fmla="*/ 3886200 h 6677025"/>
                <a:gd name="connsiteX1024" fmla="*/ 2446338 w 8802688"/>
                <a:gd name="connsiteY1024" fmla="*/ 3829050 h 6677025"/>
                <a:gd name="connsiteX1025" fmla="*/ 2463800 w 8802688"/>
                <a:gd name="connsiteY1025" fmla="*/ 3778250 h 6677025"/>
                <a:gd name="connsiteX1026" fmla="*/ 2484438 w 8802688"/>
                <a:gd name="connsiteY1026" fmla="*/ 3730625 h 6677025"/>
                <a:gd name="connsiteX1027" fmla="*/ 2508250 w 8802688"/>
                <a:gd name="connsiteY1027" fmla="*/ 3684588 h 6677025"/>
                <a:gd name="connsiteX1028" fmla="*/ 2535238 w 8802688"/>
                <a:gd name="connsiteY1028" fmla="*/ 3638550 h 6677025"/>
                <a:gd name="connsiteX1029" fmla="*/ 2559050 w 8802688"/>
                <a:gd name="connsiteY1029" fmla="*/ 3597275 h 6677025"/>
                <a:gd name="connsiteX1030" fmla="*/ 2616200 w 8802688"/>
                <a:gd name="connsiteY1030" fmla="*/ 3511550 h 6677025"/>
                <a:gd name="connsiteX1031" fmla="*/ 2667000 w 8802688"/>
                <a:gd name="connsiteY1031" fmla="*/ 3406775 h 6677025"/>
                <a:gd name="connsiteX1032" fmla="*/ 2705100 w 8802688"/>
                <a:gd name="connsiteY1032" fmla="*/ 3311525 h 6677025"/>
                <a:gd name="connsiteX1033" fmla="*/ 2735263 w 8802688"/>
                <a:gd name="connsiteY1033" fmla="*/ 3222625 h 6677025"/>
                <a:gd name="connsiteX1034" fmla="*/ 2763838 w 8802688"/>
                <a:gd name="connsiteY1034" fmla="*/ 3136900 h 6677025"/>
                <a:gd name="connsiteX1035" fmla="*/ 2722563 w 8802688"/>
                <a:gd name="connsiteY1035" fmla="*/ 3181350 h 6677025"/>
                <a:gd name="connsiteX1036" fmla="*/ 2681288 w 8802688"/>
                <a:gd name="connsiteY1036" fmla="*/ 3228975 h 6677025"/>
                <a:gd name="connsiteX1037" fmla="*/ 2598738 w 8802688"/>
                <a:gd name="connsiteY1037" fmla="*/ 3330575 h 6677025"/>
                <a:gd name="connsiteX1038" fmla="*/ 2514600 w 8802688"/>
                <a:gd name="connsiteY1038" fmla="*/ 3436938 h 6677025"/>
                <a:gd name="connsiteX1039" fmla="*/ 2432050 w 8802688"/>
                <a:gd name="connsiteY1039" fmla="*/ 3549650 h 6677025"/>
                <a:gd name="connsiteX1040" fmla="*/ 2374900 w 8802688"/>
                <a:gd name="connsiteY1040" fmla="*/ 3478213 h 6677025"/>
                <a:gd name="connsiteX1041" fmla="*/ 2324100 w 8802688"/>
                <a:gd name="connsiteY1041" fmla="*/ 3409950 h 6677025"/>
                <a:gd name="connsiteX1042" fmla="*/ 2276475 w 8802688"/>
                <a:gd name="connsiteY1042" fmla="*/ 3338513 h 6677025"/>
                <a:gd name="connsiteX1043" fmla="*/ 2228850 w 8802688"/>
                <a:gd name="connsiteY1043" fmla="*/ 3267075 h 6677025"/>
                <a:gd name="connsiteX1044" fmla="*/ 2143125 w 8802688"/>
                <a:gd name="connsiteY1044" fmla="*/ 3127375 h 6677025"/>
                <a:gd name="connsiteX1045" fmla="*/ 2060575 w 8802688"/>
                <a:gd name="connsiteY1045" fmla="*/ 2987675 h 6677025"/>
                <a:gd name="connsiteX1046" fmla="*/ 2047875 w 8802688"/>
                <a:gd name="connsiteY1046" fmla="*/ 2973388 h 6677025"/>
                <a:gd name="connsiteX1047" fmla="*/ 2039938 w 8802688"/>
                <a:gd name="connsiteY1047" fmla="*/ 2955925 h 6677025"/>
                <a:gd name="connsiteX1048" fmla="*/ 2030413 w 8802688"/>
                <a:gd name="connsiteY1048" fmla="*/ 2935288 h 6677025"/>
                <a:gd name="connsiteX1049" fmla="*/ 2027238 w 8802688"/>
                <a:gd name="connsiteY1049" fmla="*/ 2914650 h 6677025"/>
                <a:gd name="connsiteX1050" fmla="*/ 2020888 w 8802688"/>
                <a:gd name="connsiteY1050" fmla="*/ 2871788 h 6677025"/>
                <a:gd name="connsiteX1051" fmla="*/ 2020888 w 8802688"/>
                <a:gd name="connsiteY1051" fmla="*/ 2840038 h 6677025"/>
                <a:gd name="connsiteX1052" fmla="*/ 2063750 w 8802688"/>
                <a:gd name="connsiteY1052" fmla="*/ 2755900 h 6677025"/>
                <a:gd name="connsiteX1053" fmla="*/ 2101850 w 8802688"/>
                <a:gd name="connsiteY1053" fmla="*/ 2673350 h 6677025"/>
                <a:gd name="connsiteX1054" fmla="*/ 2176463 w 8802688"/>
                <a:gd name="connsiteY1054" fmla="*/ 2506663 h 6677025"/>
                <a:gd name="connsiteX1055" fmla="*/ 2214563 w 8802688"/>
                <a:gd name="connsiteY1055" fmla="*/ 2428875 h 6677025"/>
                <a:gd name="connsiteX1056" fmla="*/ 2255838 w 8802688"/>
                <a:gd name="connsiteY1056" fmla="*/ 2352675 h 6677025"/>
                <a:gd name="connsiteX1057" fmla="*/ 2303463 w 8802688"/>
                <a:gd name="connsiteY1057" fmla="*/ 2274888 h 6677025"/>
                <a:gd name="connsiteX1058" fmla="*/ 2330450 w 8802688"/>
                <a:gd name="connsiteY1058" fmla="*/ 2238375 h 6677025"/>
                <a:gd name="connsiteX1059" fmla="*/ 2357438 w 8802688"/>
                <a:gd name="connsiteY1059" fmla="*/ 2203450 h 6677025"/>
                <a:gd name="connsiteX1060" fmla="*/ 2482850 w 8802688"/>
                <a:gd name="connsiteY1060" fmla="*/ 2054225 h 6677025"/>
                <a:gd name="connsiteX1061" fmla="*/ 2613025 w 8802688"/>
                <a:gd name="connsiteY1061" fmla="*/ 1909763 h 6677025"/>
                <a:gd name="connsiteX1062" fmla="*/ 2743200 w 8802688"/>
                <a:gd name="connsiteY1062" fmla="*/ 1766888 h 6677025"/>
                <a:gd name="connsiteX1063" fmla="*/ 2874963 w 8802688"/>
                <a:gd name="connsiteY1063" fmla="*/ 1630363 h 6677025"/>
                <a:gd name="connsiteX1064" fmla="*/ 3138488 w 8802688"/>
                <a:gd name="connsiteY1064" fmla="*/ 1358900 h 6677025"/>
                <a:gd name="connsiteX1065" fmla="*/ 3267075 w 8802688"/>
                <a:gd name="connsiteY1065" fmla="*/ 1222376 h 6677025"/>
                <a:gd name="connsiteX1066" fmla="*/ 3394075 w 8802688"/>
                <a:gd name="connsiteY1066" fmla="*/ 1082675 h 6677025"/>
                <a:gd name="connsiteX1067" fmla="*/ 3430588 w 8802688"/>
                <a:gd name="connsiteY1067" fmla="*/ 1044576 h 6677025"/>
                <a:gd name="connsiteX1068" fmla="*/ 3468688 w 8802688"/>
                <a:gd name="connsiteY1068" fmla="*/ 1011238 h 6677025"/>
                <a:gd name="connsiteX1069" fmla="*/ 3508375 w 8802688"/>
                <a:gd name="connsiteY1069" fmla="*/ 984250 h 6677025"/>
                <a:gd name="connsiteX1070" fmla="*/ 3546475 w 8802688"/>
                <a:gd name="connsiteY1070" fmla="*/ 963613 h 6677025"/>
                <a:gd name="connsiteX1071" fmla="*/ 3587750 w 8802688"/>
                <a:gd name="connsiteY1071" fmla="*/ 946150 h 6677025"/>
                <a:gd name="connsiteX1072" fmla="*/ 3629025 w 8802688"/>
                <a:gd name="connsiteY1072" fmla="*/ 933450 h 6677025"/>
                <a:gd name="connsiteX1073" fmla="*/ 3671888 w 8802688"/>
                <a:gd name="connsiteY1073" fmla="*/ 922338 h 6677025"/>
                <a:gd name="connsiteX1074" fmla="*/ 3716338 w 8802688"/>
                <a:gd name="connsiteY1074" fmla="*/ 915988 h 6677025"/>
                <a:gd name="connsiteX1075" fmla="*/ 3802063 w 8802688"/>
                <a:gd name="connsiteY1075" fmla="*/ 904875 h 6677025"/>
                <a:gd name="connsiteX1076" fmla="*/ 3890963 w 8802688"/>
                <a:gd name="connsiteY1076" fmla="*/ 895350 h 6677025"/>
                <a:gd name="connsiteX1077" fmla="*/ 3932238 w 8802688"/>
                <a:gd name="connsiteY1077" fmla="*/ 889000 h 6677025"/>
                <a:gd name="connsiteX1078" fmla="*/ 3976688 w 8802688"/>
                <a:gd name="connsiteY1078" fmla="*/ 881063 h 6677025"/>
                <a:gd name="connsiteX1079" fmla="*/ 4022725 w 8802688"/>
                <a:gd name="connsiteY1079" fmla="*/ 871538 h 6677025"/>
                <a:gd name="connsiteX1080" fmla="*/ 4064000 w 8802688"/>
                <a:gd name="connsiteY1080" fmla="*/ 860425 h 6677025"/>
                <a:gd name="connsiteX1081" fmla="*/ 4090988 w 8802688"/>
                <a:gd name="connsiteY1081" fmla="*/ 857250 h 6677025"/>
                <a:gd name="connsiteX1082" fmla="*/ 4117975 w 8802688"/>
                <a:gd name="connsiteY1082" fmla="*/ 854075 h 6677025"/>
                <a:gd name="connsiteX1083" fmla="*/ 4143375 w 8802688"/>
                <a:gd name="connsiteY1083" fmla="*/ 844550 h 6677025"/>
                <a:gd name="connsiteX1084" fmla="*/ 4170363 w 8802688"/>
                <a:gd name="connsiteY1084" fmla="*/ 836613 h 6677025"/>
                <a:gd name="connsiteX1085" fmla="*/ 4191000 w 8802688"/>
                <a:gd name="connsiteY1085" fmla="*/ 823913 h 6677025"/>
                <a:gd name="connsiteX1086" fmla="*/ 4214813 w 8802688"/>
                <a:gd name="connsiteY1086" fmla="*/ 812801 h 6677025"/>
                <a:gd name="connsiteX1087" fmla="*/ 4233863 w 8802688"/>
                <a:gd name="connsiteY1087" fmla="*/ 796926 h 6677025"/>
                <a:gd name="connsiteX1088" fmla="*/ 4248150 w 8802688"/>
                <a:gd name="connsiteY1088" fmla="*/ 785813 h 6677025"/>
                <a:gd name="connsiteX1089" fmla="*/ 3876675 w 8802688"/>
                <a:gd name="connsiteY1089" fmla="*/ 785813 h 6677025"/>
                <a:gd name="connsiteX1090" fmla="*/ 3906838 w 8802688"/>
                <a:gd name="connsiteY1090" fmla="*/ 728663 h 6677025"/>
                <a:gd name="connsiteX1091" fmla="*/ 3938588 w 8802688"/>
                <a:gd name="connsiteY1091" fmla="*/ 677863 h 6677025"/>
                <a:gd name="connsiteX1092" fmla="*/ 3971925 w 8802688"/>
                <a:gd name="connsiteY1092" fmla="*/ 630238 h 6677025"/>
                <a:gd name="connsiteX1093" fmla="*/ 4006850 w 8802688"/>
                <a:gd name="connsiteY1093" fmla="*/ 585788 h 6677025"/>
                <a:gd name="connsiteX1094" fmla="*/ 4046538 w 8802688"/>
                <a:gd name="connsiteY1094" fmla="*/ 544513 h 6677025"/>
                <a:gd name="connsiteX1095" fmla="*/ 4084638 w 8802688"/>
                <a:gd name="connsiteY1095" fmla="*/ 506413 h 6677025"/>
                <a:gd name="connsiteX1096" fmla="*/ 4125913 w 8802688"/>
                <a:gd name="connsiteY1096" fmla="*/ 466725 h 6677025"/>
                <a:gd name="connsiteX1097" fmla="*/ 4170363 w 8802688"/>
                <a:gd name="connsiteY1097" fmla="*/ 434975 h 6677025"/>
                <a:gd name="connsiteX1098" fmla="*/ 4211638 w 8802688"/>
                <a:gd name="connsiteY1098" fmla="*/ 401638 h 6677025"/>
                <a:gd name="connsiteX1099" fmla="*/ 4259263 w 8802688"/>
                <a:gd name="connsiteY1099" fmla="*/ 373063 h 6677025"/>
                <a:gd name="connsiteX1100" fmla="*/ 4303713 w 8802688"/>
                <a:gd name="connsiteY1100" fmla="*/ 342900 h 6677025"/>
                <a:gd name="connsiteX1101" fmla="*/ 4351338 w 8802688"/>
                <a:gd name="connsiteY1101" fmla="*/ 315913 h 6677025"/>
                <a:gd name="connsiteX1102" fmla="*/ 4446588 w 8802688"/>
                <a:gd name="connsiteY1102" fmla="*/ 268288 h 6677025"/>
                <a:gd name="connsiteX1103" fmla="*/ 4545013 w 8802688"/>
                <a:gd name="connsiteY1103" fmla="*/ 223838 h 6677025"/>
                <a:gd name="connsiteX1104" fmla="*/ 4654550 w 8802688"/>
                <a:gd name="connsiteY1104" fmla="*/ 193675 h 6677025"/>
                <a:gd name="connsiteX1105" fmla="*/ 4768850 w 8802688"/>
                <a:gd name="connsiteY1105" fmla="*/ 163513 h 6677025"/>
                <a:gd name="connsiteX1106" fmla="*/ 4991101 w 8802688"/>
                <a:gd name="connsiteY1106" fmla="*/ 98425 h 6677025"/>
                <a:gd name="connsiteX1107" fmla="*/ 5100638 w 8802688"/>
                <a:gd name="connsiteY1107" fmla="*/ 69850 h 6677025"/>
                <a:gd name="connsiteX1108" fmla="*/ 5213351 w 8802688"/>
                <a:gd name="connsiteY1108" fmla="*/ 39688 h 6677025"/>
                <a:gd name="connsiteX1109" fmla="*/ 5324476 w 8802688"/>
                <a:gd name="connsiteY1109" fmla="*/ 19050 h 667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Lst>
              <a:rect l="l" t="t" r="r" b="b"/>
              <a:pathLst>
                <a:path w="8802688" h="6677025">
                  <a:moveTo>
                    <a:pt x="5546725" y="4819650"/>
                  </a:moveTo>
                  <a:lnTo>
                    <a:pt x="5573713" y="4926013"/>
                  </a:lnTo>
                  <a:lnTo>
                    <a:pt x="5603875" y="5024438"/>
                  </a:lnTo>
                  <a:lnTo>
                    <a:pt x="5630863" y="5122863"/>
                  </a:lnTo>
                  <a:lnTo>
                    <a:pt x="5657850" y="5229225"/>
                  </a:lnTo>
                  <a:lnTo>
                    <a:pt x="5668963" y="5313363"/>
                  </a:lnTo>
                  <a:lnTo>
                    <a:pt x="5681663" y="5399088"/>
                  </a:lnTo>
                  <a:lnTo>
                    <a:pt x="5686425" y="5484813"/>
                  </a:lnTo>
                  <a:lnTo>
                    <a:pt x="5689600" y="5572126"/>
                  </a:lnTo>
                  <a:lnTo>
                    <a:pt x="5695950" y="5749926"/>
                  </a:lnTo>
                  <a:lnTo>
                    <a:pt x="5695950" y="5940426"/>
                  </a:lnTo>
                  <a:lnTo>
                    <a:pt x="5692775" y="5957888"/>
                  </a:lnTo>
                  <a:lnTo>
                    <a:pt x="5689600" y="5978526"/>
                  </a:lnTo>
                  <a:lnTo>
                    <a:pt x="5681663" y="6002338"/>
                  </a:lnTo>
                  <a:lnTo>
                    <a:pt x="5672138" y="6029326"/>
                  </a:lnTo>
                  <a:lnTo>
                    <a:pt x="5659438" y="6053138"/>
                  </a:lnTo>
                  <a:lnTo>
                    <a:pt x="5648325" y="6070601"/>
                  </a:lnTo>
                  <a:lnTo>
                    <a:pt x="5634038" y="6086476"/>
                  </a:lnTo>
                  <a:lnTo>
                    <a:pt x="5627688" y="6088063"/>
                  </a:lnTo>
                  <a:lnTo>
                    <a:pt x="5621338" y="6088063"/>
                  </a:lnTo>
                  <a:lnTo>
                    <a:pt x="5526088" y="6100763"/>
                  </a:lnTo>
                  <a:lnTo>
                    <a:pt x="5430838" y="6107113"/>
                  </a:lnTo>
                  <a:lnTo>
                    <a:pt x="5338763" y="6107113"/>
                  </a:lnTo>
                  <a:lnTo>
                    <a:pt x="5249862" y="6103938"/>
                  </a:lnTo>
                  <a:lnTo>
                    <a:pt x="5068887" y="6094413"/>
                  </a:lnTo>
                  <a:lnTo>
                    <a:pt x="4973637" y="6091238"/>
                  </a:lnTo>
                  <a:lnTo>
                    <a:pt x="4878387" y="6088063"/>
                  </a:lnTo>
                  <a:lnTo>
                    <a:pt x="5045075" y="5780088"/>
                  </a:lnTo>
                  <a:lnTo>
                    <a:pt x="5213350" y="5467350"/>
                  </a:lnTo>
                  <a:lnTo>
                    <a:pt x="5380038" y="5149850"/>
                  </a:lnTo>
                  <a:close/>
                  <a:moveTo>
                    <a:pt x="576262" y="4632325"/>
                  </a:moveTo>
                  <a:lnTo>
                    <a:pt x="685799" y="4827588"/>
                  </a:lnTo>
                  <a:lnTo>
                    <a:pt x="796925" y="5030788"/>
                  </a:lnTo>
                  <a:lnTo>
                    <a:pt x="909637" y="5235575"/>
                  </a:lnTo>
                  <a:lnTo>
                    <a:pt x="1019175" y="5456238"/>
                  </a:lnTo>
                  <a:lnTo>
                    <a:pt x="1031875" y="5481638"/>
                  </a:lnTo>
                  <a:lnTo>
                    <a:pt x="1039812" y="5508626"/>
                  </a:lnTo>
                  <a:lnTo>
                    <a:pt x="1046162" y="5532438"/>
                  </a:lnTo>
                  <a:lnTo>
                    <a:pt x="1049337" y="5559426"/>
                  </a:lnTo>
                  <a:lnTo>
                    <a:pt x="1049337" y="5580063"/>
                  </a:lnTo>
                  <a:lnTo>
                    <a:pt x="1046162" y="5600701"/>
                  </a:lnTo>
                  <a:lnTo>
                    <a:pt x="1039812" y="5621338"/>
                  </a:lnTo>
                  <a:lnTo>
                    <a:pt x="1028699" y="5640388"/>
                  </a:lnTo>
                  <a:lnTo>
                    <a:pt x="1019175" y="5657851"/>
                  </a:lnTo>
                  <a:lnTo>
                    <a:pt x="1004887" y="5672138"/>
                  </a:lnTo>
                  <a:lnTo>
                    <a:pt x="987425" y="5684838"/>
                  </a:lnTo>
                  <a:lnTo>
                    <a:pt x="968375" y="5695951"/>
                  </a:lnTo>
                  <a:lnTo>
                    <a:pt x="947737" y="5705476"/>
                  </a:lnTo>
                  <a:lnTo>
                    <a:pt x="923925" y="5711826"/>
                  </a:lnTo>
                  <a:lnTo>
                    <a:pt x="896937" y="5713413"/>
                  </a:lnTo>
                  <a:lnTo>
                    <a:pt x="871537" y="5716588"/>
                  </a:lnTo>
                  <a:lnTo>
                    <a:pt x="844549" y="5716588"/>
                  </a:lnTo>
                  <a:lnTo>
                    <a:pt x="814387" y="5716588"/>
                  </a:lnTo>
                  <a:lnTo>
                    <a:pt x="787399" y="5713413"/>
                  </a:lnTo>
                  <a:lnTo>
                    <a:pt x="757237" y="5711826"/>
                  </a:lnTo>
                  <a:lnTo>
                    <a:pt x="728662" y="5702301"/>
                  </a:lnTo>
                  <a:lnTo>
                    <a:pt x="695325" y="5692776"/>
                  </a:lnTo>
                  <a:lnTo>
                    <a:pt x="636587" y="5668963"/>
                  </a:lnTo>
                  <a:lnTo>
                    <a:pt x="576262" y="5637213"/>
                  </a:lnTo>
                  <a:lnTo>
                    <a:pt x="520699" y="5600701"/>
                  </a:lnTo>
                  <a:lnTo>
                    <a:pt x="463549" y="5556251"/>
                  </a:lnTo>
                  <a:lnTo>
                    <a:pt x="406399" y="5508626"/>
                  </a:lnTo>
                  <a:lnTo>
                    <a:pt x="360362" y="5457826"/>
                  </a:lnTo>
                  <a:lnTo>
                    <a:pt x="312737" y="5405438"/>
                  </a:lnTo>
                  <a:lnTo>
                    <a:pt x="269875" y="5351463"/>
                  </a:lnTo>
                  <a:lnTo>
                    <a:pt x="234949" y="5294313"/>
                  </a:lnTo>
                  <a:lnTo>
                    <a:pt x="207962" y="5238750"/>
                  </a:lnTo>
                  <a:lnTo>
                    <a:pt x="184149" y="5184775"/>
                  </a:lnTo>
                  <a:lnTo>
                    <a:pt x="177799" y="5157788"/>
                  </a:lnTo>
                  <a:lnTo>
                    <a:pt x="173037" y="5130800"/>
                  </a:lnTo>
                  <a:lnTo>
                    <a:pt x="169862" y="5105400"/>
                  </a:lnTo>
                  <a:lnTo>
                    <a:pt x="166687" y="5081588"/>
                  </a:lnTo>
                  <a:lnTo>
                    <a:pt x="169862" y="5054600"/>
                  </a:lnTo>
                  <a:lnTo>
                    <a:pt x="173037" y="5024438"/>
                  </a:lnTo>
                  <a:lnTo>
                    <a:pt x="180975" y="4997450"/>
                  </a:lnTo>
                  <a:lnTo>
                    <a:pt x="190499" y="4973638"/>
                  </a:lnTo>
                  <a:lnTo>
                    <a:pt x="201612" y="4949825"/>
                  </a:lnTo>
                  <a:lnTo>
                    <a:pt x="214312" y="4929188"/>
                  </a:lnTo>
                  <a:lnTo>
                    <a:pt x="228599" y="4908550"/>
                  </a:lnTo>
                  <a:lnTo>
                    <a:pt x="241299" y="4894263"/>
                  </a:lnTo>
                  <a:lnTo>
                    <a:pt x="285749" y="4851400"/>
                  </a:lnTo>
                  <a:lnTo>
                    <a:pt x="330199" y="4816475"/>
                  </a:lnTo>
                  <a:lnTo>
                    <a:pt x="377825" y="4779963"/>
                  </a:lnTo>
                  <a:lnTo>
                    <a:pt x="422275" y="4748213"/>
                  </a:lnTo>
                  <a:lnTo>
                    <a:pt x="507999" y="4687888"/>
                  </a:lnTo>
                  <a:lnTo>
                    <a:pt x="544512" y="4662488"/>
                  </a:lnTo>
                  <a:close/>
                  <a:moveTo>
                    <a:pt x="6180138" y="3546475"/>
                  </a:moveTo>
                  <a:lnTo>
                    <a:pt x="6124576" y="3562350"/>
                  </a:lnTo>
                  <a:lnTo>
                    <a:pt x="6076951" y="3579813"/>
                  </a:lnTo>
                  <a:lnTo>
                    <a:pt x="6037263" y="3600450"/>
                  </a:lnTo>
                  <a:lnTo>
                    <a:pt x="6002338" y="3624263"/>
                  </a:lnTo>
                  <a:lnTo>
                    <a:pt x="5978526" y="3651250"/>
                  </a:lnTo>
                  <a:lnTo>
                    <a:pt x="5961063" y="3678238"/>
                  </a:lnTo>
                  <a:lnTo>
                    <a:pt x="5948363" y="3705225"/>
                  </a:lnTo>
                  <a:lnTo>
                    <a:pt x="5945188" y="3719513"/>
                  </a:lnTo>
                  <a:lnTo>
                    <a:pt x="5945188" y="3733800"/>
                  </a:lnTo>
                  <a:lnTo>
                    <a:pt x="5986463" y="3698875"/>
                  </a:lnTo>
                  <a:lnTo>
                    <a:pt x="6046788" y="3654425"/>
                  </a:lnTo>
                  <a:lnTo>
                    <a:pt x="6115051" y="3600450"/>
                  </a:lnTo>
                  <a:lnTo>
                    <a:pt x="6148388" y="3573463"/>
                  </a:lnTo>
                  <a:close/>
                  <a:moveTo>
                    <a:pt x="279400" y="2203450"/>
                  </a:moveTo>
                  <a:lnTo>
                    <a:pt x="354013" y="2203450"/>
                  </a:lnTo>
                  <a:lnTo>
                    <a:pt x="327025" y="2274888"/>
                  </a:lnTo>
                  <a:lnTo>
                    <a:pt x="303213" y="2343150"/>
                  </a:lnTo>
                  <a:lnTo>
                    <a:pt x="261938" y="2482850"/>
                  </a:lnTo>
                  <a:lnTo>
                    <a:pt x="217488" y="2625726"/>
                  </a:lnTo>
                  <a:lnTo>
                    <a:pt x="193675" y="2693988"/>
                  </a:lnTo>
                  <a:lnTo>
                    <a:pt x="166688" y="2765425"/>
                  </a:lnTo>
                  <a:lnTo>
                    <a:pt x="169863" y="2792413"/>
                  </a:lnTo>
                  <a:lnTo>
                    <a:pt x="173038" y="2819400"/>
                  </a:lnTo>
                  <a:lnTo>
                    <a:pt x="180975" y="2844801"/>
                  </a:lnTo>
                  <a:lnTo>
                    <a:pt x="190500" y="2871788"/>
                  </a:lnTo>
                  <a:lnTo>
                    <a:pt x="201613" y="2895601"/>
                  </a:lnTo>
                  <a:lnTo>
                    <a:pt x="214313" y="2916238"/>
                  </a:lnTo>
                  <a:lnTo>
                    <a:pt x="228600" y="2935288"/>
                  </a:lnTo>
                  <a:lnTo>
                    <a:pt x="241300" y="2952751"/>
                  </a:lnTo>
                  <a:lnTo>
                    <a:pt x="242888" y="2959101"/>
                  </a:lnTo>
                  <a:lnTo>
                    <a:pt x="242888" y="2963863"/>
                  </a:lnTo>
                  <a:lnTo>
                    <a:pt x="255588" y="2973388"/>
                  </a:lnTo>
                  <a:lnTo>
                    <a:pt x="266700" y="2979738"/>
                  </a:lnTo>
                  <a:lnTo>
                    <a:pt x="288925" y="2984501"/>
                  </a:lnTo>
                  <a:lnTo>
                    <a:pt x="336550" y="2987676"/>
                  </a:lnTo>
                  <a:lnTo>
                    <a:pt x="388938" y="2987676"/>
                  </a:lnTo>
                  <a:lnTo>
                    <a:pt x="404813" y="2987676"/>
                  </a:lnTo>
                  <a:lnTo>
                    <a:pt x="425450" y="2982913"/>
                  </a:lnTo>
                  <a:lnTo>
                    <a:pt x="469900" y="2963863"/>
                  </a:lnTo>
                  <a:lnTo>
                    <a:pt x="520700" y="2940051"/>
                  </a:lnTo>
                  <a:lnTo>
                    <a:pt x="576263" y="2914651"/>
                  </a:lnTo>
                  <a:lnTo>
                    <a:pt x="573088" y="2946401"/>
                  </a:lnTo>
                  <a:lnTo>
                    <a:pt x="568325" y="2979738"/>
                  </a:lnTo>
                  <a:lnTo>
                    <a:pt x="558801" y="3008313"/>
                  </a:lnTo>
                  <a:lnTo>
                    <a:pt x="544513" y="3038476"/>
                  </a:lnTo>
                  <a:lnTo>
                    <a:pt x="528638" y="3062288"/>
                  </a:lnTo>
                  <a:lnTo>
                    <a:pt x="508000" y="3086101"/>
                  </a:lnTo>
                  <a:lnTo>
                    <a:pt x="487363" y="3106738"/>
                  </a:lnTo>
                  <a:lnTo>
                    <a:pt x="463550" y="3124201"/>
                  </a:lnTo>
                  <a:lnTo>
                    <a:pt x="439738" y="3136901"/>
                  </a:lnTo>
                  <a:lnTo>
                    <a:pt x="412750" y="3148013"/>
                  </a:lnTo>
                  <a:lnTo>
                    <a:pt x="382588" y="3157538"/>
                  </a:lnTo>
                  <a:lnTo>
                    <a:pt x="357188" y="3160713"/>
                  </a:lnTo>
                  <a:lnTo>
                    <a:pt x="327025" y="3160713"/>
                  </a:lnTo>
                  <a:lnTo>
                    <a:pt x="296863" y="3157538"/>
                  </a:lnTo>
                  <a:lnTo>
                    <a:pt x="269875" y="3148013"/>
                  </a:lnTo>
                  <a:lnTo>
                    <a:pt x="241300" y="3136901"/>
                  </a:lnTo>
                  <a:lnTo>
                    <a:pt x="228600" y="3130551"/>
                  </a:lnTo>
                  <a:lnTo>
                    <a:pt x="214313" y="3119438"/>
                  </a:lnTo>
                  <a:lnTo>
                    <a:pt x="187325" y="3092451"/>
                  </a:lnTo>
                  <a:lnTo>
                    <a:pt x="160338" y="3055938"/>
                  </a:lnTo>
                  <a:lnTo>
                    <a:pt x="133350" y="3017838"/>
                  </a:lnTo>
                  <a:lnTo>
                    <a:pt x="109538" y="2970213"/>
                  </a:lnTo>
                  <a:lnTo>
                    <a:pt x="85725" y="2922588"/>
                  </a:lnTo>
                  <a:lnTo>
                    <a:pt x="65088" y="2868613"/>
                  </a:lnTo>
                  <a:lnTo>
                    <a:pt x="47625" y="2816225"/>
                  </a:lnTo>
                  <a:lnTo>
                    <a:pt x="30163" y="2762250"/>
                  </a:lnTo>
                  <a:lnTo>
                    <a:pt x="17463" y="2708275"/>
                  </a:lnTo>
                  <a:lnTo>
                    <a:pt x="9525" y="2655888"/>
                  </a:lnTo>
                  <a:lnTo>
                    <a:pt x="3175" y="2608263"/>
                  </a:lnTo>
                  <a:lnTo>
                    <a:pt x="0" y="2563813"/>
                  </a:lnTo>
                  <a:lnTo>
                    <a:pt x="0" y="2524125"/>
                  </a:lnTo>
                  <a:lnTo>
                    <a:pt x="9525" y="2492375"/>
                  </a:lnTo>
                  <a:lnTo>
                    <a:pt x="11113" y="2476500"/>
                  </a:lnTo>
                  <a:lnTo>
                    <a:pt x="17463" y="2465388"/>
                  </a:lnTo>
                  <a:lnTo>
                    <a:pt x="47625" y="2425700"/>
                  </a:lnTo>
                  <a:lnTo>
                    <a:pt x="79375" y="2387600"/>
                  </a:lnTo>
                  <a:lnTo>
                    <a:pt x="112713" y="2352675"/>
                  </a:lnTo>
                  <a:lnTo>
                    <a:pt x="149225" y="2322513"/>
                  </a:lnTo>
                  <a:lnTo>
                    <a:pt x="217488" y="2260600"/>
                  </a:lnTo>
                  <a:close/>
                  <a:moveTo>
                    <a:pt x="5886450" y="2019300"/>
                  </a:moveTo>
                  <a:lnTo>
                    <a:pt x="5907087" y="2022475"/>
                  </a:lnTo>
                  <a:lnTo>
                    <a:pt x="5930900" y="2028825"/>
                  </a:lnTo>
                  <a:lnTo>
                    <a:pt x="5957888" y="2036763"/>
                  </a:lnTo>
                  <a:lnTo>
                    <a:pt x="5984875" y="2049463"/>
                  </a:lnTo>
                  <a:lnTo>
                    <a:pt x="6010275" y="2060575"/>
                  </a:lnTo>
                  <a:lnTo>
                    <a:pt x="6034088" y="2078038"/>
                  </a:lnTo>
                  <a:lnTo>
                    <a:pt x="6057900" y="2093913"/>
                  </a:lnTo>
                  <a:lnTo>
                    <a:pt x="5951538" y="2170113"/>
                  </a:lnTo>
                  <a:lnTo>
                    <a:pt x="5897562" y="2209800"/>
                  </a:lnTo>
                  <a:lnTo>
                    <a:pt x="5838825" y="2244725"/>
                  </a:lnTo>
                  <a:lnTo>
                    <a:pt x="5811837" y="2216150"/>
                  </a:lnTo>
                  <a:lnTo>
                    <a:pt x="5788025" y="2182813"/>
                  </a:lnTo>
                  <a:lnTo>
                    <a:pt x="5775325" y="2165350"/>
                  </a:lnTo>
                  <a:lnTo>
                    <a:pt x="5770562" y="2146300"/>
                  </a:lnTo>
                  <a:lnTo>
                    <a:pt x="5764212" y="2132013"/>
                  </a:lnTo>
                  <a:lnTo>
                    <a:pt x="5764212" y="2117725"/>
                  </a:lnTo>
                  <a:lnTo>
                    <a:pt x="5770562" y="2101850"/>
                  </a:lnTo>
                  <a:lnTo>
                    <a:pt x="5778500" y="2087563"/>
                  </a:lnTo>
                  <a:lnTo>
                    <a:pt x="5791200" y="2073275"/>
                  </a:lnTo>
                  <a:lnTo>
                    <a:pt x="5805487" y="2057400"/>
                  </a:lnTo>
                  <a:lnTo>
                    <a:pt x="5821362" y="2046288"/>
                  </a:lnTo>
                  <a:lnTo>
                    <a:pt x="5838825" y="2033588"/>
                  </a:lnTo>
                  <a:lnTo>
                    <a:pt x="5853112" y="2025650"/>
                  </a:lnTo>
                  <a:lnTo>
                    <a:pt x="5870575" y="2022475"/>
                  </a:lnTo>
                  <a:close/>
                  <a:moveTo>
                    <a:pt x="6169026" y="1685925"/>
                  </a:moveTo>
                  <a:lnTo>
                    <a:pt x="6076951" y="1712913"/>
                  </a:lnTo>
                  <a:lnTo>
                    <a:pt x="5984875" y="1739900"/>
                  </a:lnTo>
                  <a:lnTo>
                    <a:pt x="5938838" y="1757363"/>
                  </a:lnTo>
                  <a:lnTo>
                    <a:pt x="5894388" y="1774825"/>
                  </a:lnTo>
                  <a:lnTo>
                    <a:pt x="5849938" y="1798638"/>
                  </a:lnTo>
                  <a:lnTo>
                    <a:pt x="5805488" y="1828800"/>
                  </a:lnTo>
                  <a:lnTo>
                    <a:pt x="5764213" y="1862138"/>
                  </a:lnTo>
                  <a:lnTo>
                    <a:pt x="5722938" y="1897063"/>
                  </a:lnTo>
                  <a:lnTo>
                    <a:pt x="5683250" y="1933575"/>
                  </a:lnTo>
                  <a:lnTo>
                    <a:pt x="5648325" y="1971675"/>
                  </a:lnTo>
                  <a:lnTo>
                    <a:pt x="5576888" y="2052638"/>
                  </a:lnTo>
                  <a:lnTo>
                    <a:pt x="5502275" y="2128838"/>
                  </a:lnTo>
                  <a:lnTo>
                    <a:pt x="5522913" y="2122488"/>
                  </a:lnTo>
                  <a:lnTo>
                    <a:pt x="5543550" y="2117725"/>
                  </a:lnTo>
                  <a:lnTo>
                    <a:pt x="5586413" y="2098675"/>
                  </a:lnTo>
                  <a:lnTo>
                    <a:pt x="5607050" y="2093913"/>
                  </a:lnTo>
                  <a:lnTo>
                    <a:pt x="5624513" y="2087563"/>
                  </a:lnTo>
                  <a:lnTo>
                    <a:pt x="5641975" y="2087563"/>
                  </a:lnTo>
                  <a:lnTo>
                    <a:pt x="5657850" y="2093913"/>
                  </a:lnTo>
                  <a:lnTo>
                    <a:pt x="5832475" y="2357438"/>
                  </a:lnTo>
                  <a:lnTo>
                    <a:pt x="5975350" y="2265363"/>
                  </a:lnTo>
                  <a:lnTo>
                    <a:pt x="6115051" y="2170113"/>
                  </a:lnTo>
                  <a:lnTo>
                    <a:pt x="6264276" y="2078038"/>
                  </a:lnTo>
                  <a:lnTo>
                    <a:pt x="6340476" y="2030413"/>
                  </a:lnTo>
                  <a:lnTo>
                    <a:pt x="6424613" y="1982788"/>
                  </a:lnTo>
                  <a:lnTo>
                    <a:pt x="6400801" y="1981200"/>
                  </a:lnTo>
                  <a:lnTo>
                    <a:pt x="6364288" y="1971675"/>
                  </a:lnTo>
                  <a:lnTo>
                    <a:pt x="6323013" y="1958975"/>
                  </a:lnTo>
                  <a:lnTo>
                    <a:pt x="6302376" y="1947863"/>
                  </a:lnTo>
                  <a:lnTo>
                    <a:pt x="6281738" y="1935163"/>
                  </a:lnTo>
                  <a:lnTo>
                    <a:pt x="6261101" y="1917700"/>
                  </a:lnTo>
                  <a:lnTo>
                    <a:pt x="6240463" y="1900238"/>
                  </a:lnTo>
                  <a:lnTo>
                    <a:pt x="6221413" y="1876425"/>
                  </a:lnTo>
                  <a:lnTo>
                    <a:pt x="6203951" y="1849438"/>
                  </a:lnTo>
                  <a:lnTo>
                    <a:pt x="6192838" y="1817688"/>
                  </a:lnTo>
                  <a:lnTo>
                    <a:pt x="6180138" y="1778000"/>
                  </a:lnTo>
                  <a:lnTo>
                    <a:pt x="6170613" y="1736725"/>
                  </a:lnTo>
                  <a:close/>
                  <a:moveTo>
                    <a:pt x="8401050" y="1338262"/>
                  </a:moveTo>
                  <a:lnTo>
                    <a:pt x="8332788" y="1382712"/>
                  </a:lnTo>
                  <a:lnTo>
                    <a:pt x="8264525" y="1430337"/>
                  </a:lnTo>
                  <a:lnTo>
                    <a:pt x="8131175" y="1531937"/>
                  </a:lnTo>
                  <a:lnTo>
                    <a:pt x="8002588" y="1630363"/>
                  </a:lnTo>
                  <a:lnTo>
                    <a:pt x="7886700" y="1722438"/>
                  </a:lnTo>
                  <a:lnTo>
                    <a:pt x="7920038" y="1727200"/>
                  </a:lnTo>
                  <a:lnTo>
                    <a:pt x="7954963" y="1727200"/>
                  </a:lnTo>
                  <a:lnTo>
                    <a:pt x="7993063" y="1725613"/>
                  </a:lnTo>
                  <a:lnTo>
                    <a:pt x="8029575" y="1716088"/>
                  </a:lnTo>
                  <a:lnTo>
                    <a:pt x="8064500" y="1703388"/>
                  </a:lnTo>
                  <a:lnTo>
                    <a:pt x="8101013" y="1689100"/>
                  </a:lnTo>
                  <a:lnTo>
                    <a:pt x="8135938" y="1668463"/>
                  </a:lnTo>
                  <a:lnTo>
                    <a:pt x="8172450" y="1644650"/>
                  </a:lnTo>
                  <a:lnTo>
                    <a:pt x="8204200" y="1617662"/>
                  </a:lnTo>
                  <a:lnTo>
                    <a:pt x="8237538" y="1587500"/>
                  </a:lnTo>
                  <a:lnTo>
                    <a:pt x="8270875" y="1555750"/>
                  </a:lnTo>
                  <a:lnTo>
                    <a:pt x="8299450" y="1516062"/>
                  </a:lnTo>
                  <a:lnTo>
                    <a:pt x="8329613" y="1477963"/>
                  </a:lnTo>
                  <a:lnTo>
                    <a:pt x="8356600" y="1433512"/>
                  </a:lnTo>
                  <a:lnTo>
                    <a:pt x="8380413" y="1389062"/>
                  </a:lnTo>
                  <a:close/>
                  <a:moveTo>
                    <a:pt x="4067176" y="1181100"/>
                  </a:moveTo>
                  <a:lnTo>
                    <a:pt x="3979864" y="1184275"/>
                  </a:lnTo>
                  <a:lnTo>
                    <a:pt x="3900489" y="1192213"/>
                  </a:lnTo>
                  <a:lnTo>
                    <a:pt x="3860801" y="1201738"/>
                  </a:lnTo>
                  <a:lnTo>
                    <a:pt x="3825876" y="1211263"/>
                  </a:lnTo>
                  <a:lnTo>
                    <a:pt x="3790951" y="1219200"/>
                  </a:lnTo>
                  <a:lnTo>
                    <a:pt x="3757613" y="1231900"/>
                  </a:lnTo>
                  <a:lnTo>
                    <a:pt x="3724276" y="1246188"/>
                  </a:lnTo>
                  <a:lnTo>
                    <a:pt x="3695701" y="1260475"/>
                  </a:lnTo>
                  <a:lnTo>
                    <a:pt x="3665538" y="1279525"/>
                  </a:lnTo>
                  <a:lnTo>
                    <a:pt x="3635376" y="1296988"/>
                  </a:lnTo>
                  <a:lnTo>
                    <a:pt x="3608388" y="1317625"/>
                  </a:lnTo>
                  <a:lnTo>
                    <a:pt x="3581401" y="1341438"/>
                  </a:lnTo>
                  <a:lnTo>
                    <a:pt x="3557588" y="1365250"/>
                  </a:lnTo>
                  <a:lnTo>
                    <a:pt x="3533776" y="1392238"/>
                  </a:lnTo>
                  <a:lnTo>
                    <a:pt x="3509963" y="1419225"/>
                  </a:lnTo>
                  <a:lnTo>
                    <a:pt x="3489326" y="1450975"/>
                  </a:lnTo>
                  <a:lnTo>
                    <a:pt x="3468688" y="1481138"/>
                  </a:lnTo>
                  <a:lnTo>
                    <a:pt x="3448051" y="1516063"/>
                  </a:lnTo>
                  <a:lnTo>
                    <a:pt x="3413126" y="1590675"/>
                  </a:lnTo>
                  <a:lnTo>
                    <a:pt x="3379788" y="1671638"/>
                  </a:lnTo>
                  <a:lnTo>
                    <a:pt x="3349626" y="1763713"/>
                  </a:lnTo>
                  <a:lnTo>
                    <a:pt x="3325813" y="1865313"/>
                  </a:lnTo>
                  <a:lnTo>
                    <a:pt x="3302001" y="1971676"/>
                  </a:lnTo>
                  <a:lnTo>
                    <a:pt x="3281363" y="2090738"/>
                  </a:lnTo>
                  <a:lnTo>
                    <a:pt x="3368676" y="1944688"/>
                  </a:lnTo>
                  <a:lnTo>
                    <a:pt x="3451226" y="1787526"/>
                  </a:lnTo>
                  <a:lnTo>
                    <a:pt x="3533776" y="1624013"/>
                  </a:lnTo>
                  <a:lnTo>
                    <a:pt x="3617913" y="1454150"/>
                  </a:lnTo>
                  <a:lnTo>
                    <a:pt x="3652838" y="1454150"/>
                  </a:lnTo>
                  <a:lnTo>
                    <a:pt x="3656013" y="1495425"/>
                  </a:lnTo>
                  <a:lnTo>
                    <a:pt x="3659188" y="1531938"/>
                  </a:lnTo>
                  <a:lnTo>
                    <a:pt x="3673476" y="1600200"/>
                  </a:lnTo>
                  <a:lnTo>
                    <a:pt x="3686176" y="1658938"/>
                  </a:lnTo>
                  <a:lnTo>
                    <a:pt x="3689351" y="1689100"/>
                  </a:lnTo>
                  <a:lnTo>
                    <a:pt x="3692526" y="1716088"/>
                  </a:lnTo>
                  <a:lnTo>
                    <a:pt x="3713163" y="1662113"/>
                  </a:lnTo>
                  <a:lnTo>
                    <a:pt x="3736976" y="1609725"/>
                  </a:lnTo>
                  <a:lnTo>
                    <a:pt x="3757613" y="1562101"/>
                  </a:lnTo>
                  <a:lnTo>
                    <a:pt x="3784601" y="1514475"/>
                  </a:lnTo>
                  <a:lnTo>
                    <a:pt x="3811588" y="1471613"/>
                  </a:lnTo>
                  <a:lnTo>
                    <a:pt x="3840163" y="1430338"/>
                  </a:lnTo>
                  <a:lnTo>
                    <a:pt x="3870326" y="1392238"/>
                  </a:lnTo>
                  <a:lnTo>
                    <a:pt x="3906839" y="1355725"/>
                  </a:lnTo>
                  <a:lnTo>
                    <a:pt x="3941764" y="1327150"/>
                  </a:lnTo>
                  <a:lnTo>
                    <a:pt x="3979864" y="1296988"/>
                  </a:lnTo>
                  <a:lnTo>
                    <a:pt x="4022726" y="1273175"/>
                  </a:lnTo>
                  <a:lnTo>
                    <a:pt x="4067176" y="1249363"/>
                  </a:lnTo>
                  <a:lnTo>
                    <a:pt x="4117976" y="1231900"/>
                  </a:lnTo>
                  <a:lnTo>
                    <a:pt x="4167189" y="1216025"/>
                  </a:lnTo>
                  <a:lnTo>
                    <a:pt x="4224339" y="1201738"/>
                  </a:lnTo>
                  <a:lnTo>
                    <a:pt x="4286251" y="1195388"/>
                  </a:lnTo>
                  <a:lnTo>
                    <a:pt x="4170364" y="1184275"/>
                  </a:lnTo>
                  <a:lnTo>
                    <a:pt x="4117976" y="1181100"/>
                  </a:lnTo>
                  <a:close/>
                  <a:moveTo>
                    <a:pt x="5586413" y="1166812"/>
                  </a:moveTo>
                  <a:lnTo>
                    <a:pt x="5481638" y="1204912"/>
                  </a:lnTo>
                  <a:lnTo>
                    <a:pt x="5437188" y="1225550"/>
                  </a:lnTo>
                  <a:lnTo>
                    <a:pt x="5399088" y="1243012"/>
                  </a:lnTo>
                  <a:lnTo>
                    <a:pt x="5365751" y="1260475"/>
                  </a:lnTo>
                  <a:lnTo>
                    <a:pt x="5335588" y="1282700"/>
                  </a:lnTo>
                  <a:lnTo>
                    <a:pt x="5308601" y="1300162"/>
                  </a:lnTo>
                  <a:lnTo>
                    <a:pt x="5287963" y="1320800"/>
                  </a:lnTo>
                  <a:lnTo>
                    <a:pt x="5270501" y="1341437"/>
                  </a:lnTo>
                  <a:lnTo>
                    <a:pt x="5259388" y="1362075"/>
                  </a:lnTo>
                  <a:lnTo>
                    <a:pt x="5246688" y="1385887"/>
                  </a:lnTo>
                  <a:lnTo>
                    <a:pt x="5240338" y="1409700"/>
                  </a:lnTo>
                  <a:lnTo>
                    <a:pt x="5237163" y="1436687"/>
                  </a:lnTo>
                  <a:lnTo>
                    <a:pt x="5237163" y="1463675"/>
                  </a:lnTo>
                  <a:lnTo>
                    <a:pt x="5240338" y="1492250"/>
                  </a:lnTo>
                  <a:lnTo>
                    <a:pt x="5246688" y="1525587"/>
                  </a:lnTo>
                  <a:lnTo>
                    <a:pt x="5287963" y="1484312"/>
                  </a:lnTo>
                  <a:lnTo>
                    <a:pt x="5330826" y="1439862"/>
                  </a:lnTo>
                  <a:lnTo>
                    <a:pt x="5416551" y="1347787"/>
                  </a:lnTo>
                  <a:lnTo>
                    <a:pt x="5499101" y="1252537"/>
                  </a:lnTo>
                  <a:lnTo>
                    <a:pt x="5540376" y="1208087"/>
                  </a:lnTo>
                  <a:close/>
                  <a:moveTo>
                    <a:pt x="5434013" y="0"/>
                  </a:moveTo>
                  <a:lnTo>
                    <a:pt x="5519738" y="3175"/>
                  </a:lnTo>
                  <a:lnTo>
                    <a:pt x="5610226" y="12700"/>
                  </a:lnTo>
                  <a:lnTo>
                    <a:pt x="5699126" y="30163"/>
                  </a:lnTo>
                  <a:lnTo>
                    <a:pt x="5788026" y="50800"/>
                  </a:lnTo>
                  <a:lnTo>
                    <a:pt x="5876926" y="77788"/>
                  </a:lnTo>
                  <a:lnTo>
                    <a:pt x="5965826" y="111125"/>
                  </a:lnTo>
                  <a:lnTo>
                    <a:pt x="6054726" y="146050"/>
                  </a:lnTo>
                  <a:lnTo>
                    <a:pt x="6142038" y="187325"/>
                  </a:lnTo>
                  <a:lnTo>
                    <a:pt x="6237288" y="258763"/>
                  </a:lnTo>
                  <a:lnTo>
                    <a:pt x="6329363" y="333375"/>
                  </a:lnTo>
                  <a:lnTo>
                    <a:pt x="6418263" y="407988"/>
                  </a:lnTo>
                  <a:lnTo>
                    <a:pt x="6507163" y="485775"/>
                  </a:lnTo>
                  <a:lnTo>
                    <a:pt x="6677026" y="639763"/>
                  </a:lnTo>
                  <a:lnTo>
                    <a:pt x="6762751" y="714375"/>
                  </a:lnTo>
                  <a:lnTo>
                    <a:pt x="6846888" y="785813"/>
                  </a:lnTo>
                  <a:lnTo>
                    <a:pt x="6846888" y="796926"/>
                  </a:lnTo>
                  <a:lnTo>
                    <a:pt x="6851651" y="812801"/>
                  </a:lnTo>
                  <a:lnTo>
                    <a:pt x="6858001" y="823913"/>
                  </a:lnTo>
                  <a:lnTo>
                    <a:pt x="6867526" y="836613"/>
                  </a:lnTo>
                  <a:lnTo>
                    <a:pt x="6878638" y="844550"/>
                  </a:lnTo>
                  <a:lnTo>
                    <a:pt x="6891338" y="854075"/>
                  </a:lnTo>
                  <a:lnTo>
                    <a:pt x="6905626" y="857250"/>
                  </a:lnTo>
                  <a:lnTo>
                    <a:pt x="6919913" y="860425"/>
                  </a:lnTo>
                  <a:lnTo>
                    <a:pt x="6973888" y="868363"/>
                  </a:lnTo>
                  <a:lnTo>
                    <a:pt x="7024688" y="884238"/>
                  </a:lnTo>
                  <a:lnTo>
                    <a:pt x="7072313" y="901700"/>
                  </a:lnTo>
                  <a:lnTo>
                    <a:pt x="7116763" y="925513"/>
                  </a:lnTo>
                  <a:lnTo>
                    <a:pt x="7158038" y="952500"/>
                  </a:lnTo>
                  <a:lnTo>
                    <a:pt x="7199313" y="981075"/>
                  </a:lnTo>
                  <a:lnTo>
                    <a:pt x="7235826" y="1014413"/>
                  </a:lnTo>
                  <a:lnTo>
                    <a:pt x="7270751" y="1049338"/>
                  </a:lnTo>
                  <a:lnTo>
                    <a:pt x="7307263" y="1089025"/>
                  </a:lnTo>
                  <a:lnTo>
                    <a:pt x="7337426" y="1127125"/>
                  </a:lnTo>
                  <a:lnTo>
                    <a:pt x="7399338" y="1211263"/>
                  </a:lnTo>
                  <a:lnTo>
                    <a:pt x="7454901" y="1296988"/>
                  </a:lnTo>
                  <a:lnTo>
                    <a:pt x="7512051" y="1382713"/>
                  </a:lnTo>
                  <a:lnTo>
                    <a:pt x="7069138" y="1492250"/>
                  </a:lnTo>
                  <a:lnTo>
                    <a:pt x="7083426" y="1573213"/>
                  </a:lnTo>
                  <a:lnTo>
                    <a:pt x="7092951" y="1611313"/>
                  </a:lnTo>
                  <a:lnTo>
                    <a:pt x="7104063" y="1647826"/>
                  </a:lnTo>
                  <a:lnTo>
                    <a:pt x="7116763" y="1677988"/>
                  </a:lnTo>
                  <a:lnTo>
                    <a:pt x="7131051" y="1706563"/>
                  </a:lnTo>
                  <a:lnTo>
                    <a:pt x="7150101" y="1733550"/>
                  </a:lnTo>
                  <a:lnTo>
                    <a:pt x="7170738" y="1754188"/>
                  </a:lnTo>
                  <a:lnTo>
                    <a:pt x="7191376" y="1774825"/>
                  </a:lnTo>
                  <a:lnTo>
                    <a:pt x="7218363" y="1790700"/>
                  </a:lnTo>
                  <a:lnTo>
                    <a:pt x="7243763" y="1801813"/>
                  </a:lnTo>
                  <a:lnTo>
                    <a:pt x="7277101" y="1811338"/>
                  </a:lnTo>
                  <a:lnTo>
                    <a:pt x="7310438" y="1814513"/>
                  </a:lnTo>
                  <a:lnTo>
                    <a:pt x="7348538" y="1811338"/>
                  </a:lnTo>
                  <a:lnTo>
                    <a:pt x="7392988" y="1804988"/>
                  </a:lnTo>
                  <a:lnTo>
                    <a:pt x="7437438" y="1793875"/>
                  </a:lnTo>
                  <a:lnTo>
                    <a:pt x="7550151" y="1906588"/>
                  </a:lnTo>
                  <a:lnTo>
                    <a:pt x="7362826" y="1941513"/>
                  </a:lnTo>
                  <a:lnTo>
                    <a:pt x="7221538" y="1974850"/>
                  </a:lnTo>
                  <a:lnTo>
                    <a:pt x="7164388" y="1992313"/>
                  </a:lnTo>
                  <a:lnTo>
                    <a:pt x="7116763" y="2006600"/>
                  </a:lnTo>
                  <a:lnTo>
                    <a:pt x="7075488" y="2025650"/>
                  </a:lnTo>
                  <a:lnTo>
                    <a:pt x="7038976" y="2046288"/>
                  </a:lnTo>
                  <a:lnTo>
                    <a:pt x="7011988" y="2066925"/>
                  </a:lnTo>
                  <a:lnTo>
                    <a:pt x="6988176" y="2093913"/>
                  </a:lnTo>
                  <a:lnTo>
                    <a:pt x="6970713" y="2122488"/>
                  </a:lnTo>
                  <a:lnTo>
                    <a:pt x="6956426" y="2159000"/>
                  </a:lnTo>
                  <a:lnTo>
                    <a:pt x="6943726" y="2197100"/>
                  </a:lnTo>
                  <a:lnTo>
                    <a:pt x="6935788" y="2241550"/>
                  </a:lnTo>
                  <a:lnTo>
                    <a:pt x="6926263" y="2295525"/>
                  </a:lnTo>
                  <a:lnTo>
                    <a:pt x="6919913" y="2355850"/>
                  </a:lnTo>
                  <a:lnTo>
                    <a:pt x="6946901" y="2298700"/>
                  </a:lnTo>
                  <a:lnTo>
                    <a:pt x="6973888" y="2244725"/>
                  </a:lnTo>
                  <a:lnTo>
                    <a:pt x="7004051" y="2200275"/>
                  </a:lnTo>
                  <a:lnTo>
                    <a:pt x="7015163" y="2182813"/>
                  </a:lnTo>
                  <a:lnTo>
                    <a:pt x="7031038" y="2168525"/>
                  </a:lnTo>
                  <a:lnTo>
                    <a:pt x="7081838" y="2117725"/>
                  </a:lnTo>
                  <a:lnTo>
                    <a:pt x="7127876" y="2073276"/>
                  </a:lnTo>
                  <a:lnTo>
                    <a:pt x="7181851" y="2030413"/>
                  </a:lnTo>
                  <a:lnTo>
                    <a:pt x="7253288" y="1981200"/>
                  </a:lnTo>
                  <a:lnTo>
                    <a:pt x="7226301" y="2135188"/>
                  </a:lnTo>
                  <a:lnTo>
                    <a:pt x="7197726" y="2268538"/>
                  </a:lnTo>
                  <a:lnTo>
                    <a:pt x="7170738" y="2390775"/>
                  </a:lnTo>
                  <a:lnTo>
                    <a:pt x="7140576" y="2503488"/>
                  </a:lnTo>
                  <a:lnTo>
                    <a:pt x="7178676" y="2503488"/>
                  </a:lnTo>
                  <a:lnTo>
                    <a:pt x="7235826" y="2414588"/>
                  </a:lnTo>
                  <a:lnTo>
                    <a:pt x="7289801" y="2316163"/>
                  </a:lnTo>
                  <a:lnTo>
                    <a:pt x="7345363" y="2217738"/>
                  </a:lnTo>
                  <a:lnTo>
                    <a:pt x="7402513" y="2128838"/>
                  </a:lnTo>
                  <a:lnTo>
                    <a:pt x="7405688" y="2117725"/>
                  </a:lnTo>
                  <a:lnTo>
                    <a:pt x="7413626" y="2108200"/>
                  </a:lnTo>
                  <a:lnTo>
                    <a:pt x="7426326" y="2098675"/>
                  </a:lnTo>
                  <a:lnTo>
                    <a:pt x="7443788" y="2093913"/>
                  </a:lnTo>
                  <a:lnTo>
                    <a:pt x="7478713" y="2076451"/>
                  </a:lnTo>
                  <a:lnTo>
                    <a:pt x="7497763" y="2066925"/>
                  </a:lnTo>
                  <a:lnTo>
                    <a:pt x="7512051" y="2054225"/>
                  </a:lnTo>
                  <a:lnTo>
                    <a:pt x="7539038" y="2084388"/>
                  </a:lnTo>
                  <a:lnTo>
                    <a:pt x="7553326" y="2098675"/>
                  </a:lnTo>
                  <a:lnTo>
                    <a:pt x="7562851" y="2114550"/>
                  </a:lnTo>
                  <a:lnTo>
                    <a:pt x="7573963" y="2135188"/>
                  </a:lnTo>
                  <a:lnTo>
                    <a:pt x="7580313" y="2155825"/>
                  </a:lnTo>
                  <a:lnTo>
                    <a:pt x="7586663" y="2176463"/>
                  </a:lnTo>
                  <a:lnTo>
                    <a:pt x="7586663" y="2203450"/>
                  </a:lnTo>
                  <a:lnTo>
                    <a:pt x="7586663" y="2262188"/>
                  </a:lnTo>
                  <a:lnTo>
                    <a:pt x="7580313" y="2322513"/>
                  </a:lnTo>
                  <a:lnTo>
                    <a:pt x="7569201" y="2452688"/>
                  </a:lnTo>
                  <a:lnTo>
                    <a:pt x="7556501" y="2587625"/>
                  </a:lnTo>
                  <a:lnTo>
                    <a:pt x="7550151" y="2659063"/>
                  </a:lnTo>
                  <a:lnTo>
                    <a:pt x="7550151" y="2727325"/>
                  </a:lnTo>
                  <a:lnTo>
                    <a:pt x="7589838" y="2613025"/>
                  </a:lnTo>
                  <a:lnTo>
                    <a:pt x="7624763" y="2503488"/>
                  </a:lnTo>
                  <a:lnTo>
                    <a:pt x="7654926" y="2390775"/>
                  </a:lnTo>
                  <a:lnTo>
                    <a:pt x="7666038" y="2333625"/>
                  </a:lnTo>
                  <a:lnTo>
                    <a:pt x="7675563" y="2278063"/>
                  </a:lnTo>
                  <a:lnTo>
                    <a:pt x="7681913" y="2224088"/>
                  </a:lnTo>
                  <a:lnTo>
                    <a:pt x="7688263" y="2168525"/>
                  </a:lnTo>
                  <a:lnTo>
                    <a:pt x="7689851" y="2111375"/>
                  </a:lnTo>
                  <a:lnTo>
                    <a:pt x="7689851" y="2054225"/>
                  </a:lnTo>
                  <a:lnTo>
                    <a:pt x="7688263" y="1998663"/>
                  </a:lnTo>
                  <a:lnTo>
                    <a:pt x="7681913" y="1941513"/>
                  </a:lnTo>
                  <a:lnTo>
                    <a:pt x="7672388" y="1885950"/>
                  </a:lnTo>
                  <a:lnTo>
                    <a:pt x="7661276" y="1831975"/>
                  </a:lnTo>
                  <a:lnTo>
                    <a:pt x="7654926" y="1811338"/>
                  </a:lnTo>
                  <a:lnTo>
                    <a:pt x="7651751" y="1790700"/>
                  </a:lnTo>
                  <a:lnTo>
                    <a:pt x="7651751" y="1773238"/>
                  </a:lnTo>
                  <a:lnTo>
                    <a:pt x="7651751" y="1754188"/>
                  </a:lnTo>
                  <a:lnTo>
                    <a:pt x="7654926" y="1736725"/>
                  </a:lnTo>
                  <a:lnTo>
                    <a:pt x="7661276" y="1719263"/>
                  </a:lnTo>
                  <a:lnTo>
                    <a:pt x="7675563" y="1689100"/>
                  </a:lnTo>
                  <a:lnTo>
                    <a:pt x="7696201" y="1665288"/>
                  </a:lnTo>
                  <a:lnTo>
                    <a:pt x="7720013" y="1641476"/>
                  </a:lnTo>
                  <a:lnTo>
                    <a:pt x="7743826" y="1620838"/>
                  </a:lnTo>
                  <a:lnTo>
                    <a:pt x="7773988" y="1606550"/>
                  </a:lnTo>
                  <a:lnTo>
                    <a:pt x="7805738" y="1590675"/>
                  </a:lnTo>
                  <a:lnTo>
                    <a:pt x="7839076" y="1576388"/>
                  </a:lnTo>
                  <a:lnTo>
                    <a:pt x="7904163" y="1538288"/>
                  </a:lnTo>
                  <a:lnTo>
                    <a:pt x="7967663" y="1495425"/>
                  </a:lnTo>
                  <a:lnTo>
                    <a:pt x="8026401" y="1447801"/>
                  </a:lnTo>
                  <a:lnTo>
                    <a:pt x="8085138" y="1398588"/>
                  </a:lnTo>
                  <a:lnTo>
                    <a:pt x="8142288" y="1344613"/>
                  </a:lnTo>
                  <a:lnTo>
                    <a:pt x="8255001" y="1235076"/>
                  </a:lnTo>
                  <a:lnTo>
                    <a:pt x="8275638" y="1208088"/>
                  </a:lnTo>
                  <a:lnTo>
                    <a:pt x="8296276" y="1187450"/>
                  </a:lnTo>
                  <a:lnTo>
                    <a:pt x="8318501" y="1168400"/>
                  </a:lnTo>
                  <a:lnTo>
                    <a:pt x="8339138" y="1154113"/>
                  </a:lnTo>
                  <a:lnTo>
                    <a:pt x="8359776" y="1144588"/>
                  </a:lnTo>
                  <a:lnTo>
                    <a:pt x="8377238" y="1139825"/>
                  </a:lnTo>
                  <a:lnTo>
                    <a:pt x="8397876" y="1139825"/>
                  </a:lnTo>
                  <a:lnTo>
                    <a:pt x="8415338" y="1139825"/>
                  </a:lnTo>
                  <a:lnTo>
                    <a:pt x="8435976" y="1144588"/>
                  </a:lnTo>
                  <a:lnTo>
                    <a:pt x="8455026" y="1154113"/>
                  </a:lnTo>
                  <a:lnTo>
                    <a:pt x="8472488" y="1166813"/>
                  </a:lnTo>
                  <a:lnTo>
                    <a:pt x="8489951" y="1181100"/>
                  </a:lnTo>
                  <a:lnTo>
                    <a:pt x="8504238" y="1198563"/>
                  </a:lnTo>
                  <a:lnTo>
                    <a:pt x="8523288" y="1219201"/>
                  </a:lnTo>
                  <a:lnTo>
                    <a:pt x="8537576" y="1243013"/>
                  </a:lnTo>
                  <a:lnTo>
                    <a:pt x="8551863" y="1270000"/>
                  </a:lnTo>
                  <a:lnTo>
                    <a:pt x="8605838" y="1403350"/>
                  </a:lnTo>
                  <a:lnTo>
                    <a:pt x="8659813" y="1531938"/>
                  </a:lnTo>
                  <a:lnTo>
                    <a:pt x="8680451" y="1593850"/>
                  </a:lnTo>
                  <a:lnTo>
                    <a:pt x="8704263" y="1658938"/>
                  </a:lnTo>
                  <a:lnTo>
                    <a:pt x="8721726" y="1725613"/>
                  </a:lnTo>
                  <a:lnTo>
                    <a:pt x="8737601" y="1793875"/>
                  </a:lnTo>
                  <a:lnTo>
                    <a:pt x="8763001" y="1974850"/>
                  </a:lnTo>
                  <a:lnTo>
                    <a:pt x="8785226" y="2149475"/>
                  </a:lnTo>
                  <a:lnTo>
                    <a:pt x="8789988" y="2238375"/>
                  </a:lnTo>
                  <a:lnTo>
                    <a:pt x="8796338" y="2325688"/>
                  </a:lnTo>
                  <a:lnTo>
                    <a:pt x="8802688" y="2411413"/>
                  </a:lnTo>
                  <a:lnTo>
                    <a:pt x="8802688" y="2497138"/>
                  </a:lnTo>
                  <a:lnTo>
                    <a:pt x="8802688" y="2584450"/>
                  </a:lnTo>
                  <a:lnTo>
                    <a:pt x="8796338" y="2670175"/>
                  </a:lnTo>
                  <a:lnTo>
                    <a:pt x="8789988" y="2752725"/>
                  </a:lnTo>
                  <a:lnTo>
                    <a:pt x="8778876" y="2840038"/>
                  </a:lnTo>
                  <a:lnTo>
                    <a:pt x="8763001" y="2922588"/>
                  </a:lnTo>
                  <a:lnTo>
                    <a:pt x="8748713" y="3006725"/>
                  </a:lnTo>
                  <a:lnTo>
                    <a:pt x="8724901" y="3092450"/>
                  </a:lnTo>
                  <a:lnTo>
                    <a:pt x="8701088" y="3175000"/>
                  </a:lnTo>
                  <a:lnTo>
                    <a:pt x="8670926" y="3249613"/>
                  </a:lnTo>
                  <a:lnTo>
                    <a:pt x="8642351" y="3321050"/>
                  </a:lnTo>
                  <a:lnTo>
                    <a:pt x="8609013" y="3389313"/>
                  </a:lnTo>
                  <a:lnTo>
                    <a:pt x="8575676" y="3451225"/>
                  </a:lnTo>
                  <a:lnTo>
                    <a:pt x="8543926" y="3514725"/>
                  </a:lnTo>
                  <a:lnTo>
                    <a:pt x="8507413" y="3570288"/>
                  </a:lnTo>
                  <a:lnTo>
                    <a:pt x="8469313" y="3621088"/>
                  </a:lnTo>
                  <a:lnTo>
                    <a:pt x="8431213" y="3671888"/>
                  </a:lnTo>
                  <a:lnTo>
                    <a:pt x="8391526" y="3719513"/>
                  </a:lnTo>
                  <a:lnTo>
                    <a:pt x="8350251" y="3760788"/>
                  </a:lnTo>
                  <a:lnTo>
                    <a:pt x="8305801" y="3802063"/>
                  </a:lnTo>
                  <a:lnTo>
                    <a:pt x="8261351" y="3838575"/>
                  </a:lnTo>
                  <a:lnTo>
                    <a:pt x="8216901" y="3870325"/>
                  </a:lnTo>
                  <a:lnTo>
                    <a:pt x="8172451" y="3903663"/>
                  </a:lnTo>
                  <a:lnTo>
                    <a:pt x="8124826" y="3930650"/>
                  </a:lnTo>
                  <a:lnTo>
                    <a:pt x="8074026" y="3954463"/>
                  </a:lnTo>
                  <a:lnTo>
                    <a:pt x="8023226" y="3978275"/>
                  </a:lnTo>
                  <a:lnTo>
                    <a:pt x="7972426" y="3995738"/>
                  </a:lnTo>
                  <a:lnTo>
                    <a:pt x="7920038" y="4013200"/>
                  </a:lnTo>
                  <a:lnTo>
                    <a:pt x="7866063" y="4029075"/>
                  </a:lnTo>
                  <a:lnTo>
                    <a:pt x="7812088" y="4040188"/>
                  </a:lnTo>
                  <a:lnTo>
                    <a:pt x="7756526" y="4049713"/>
                  </a:lnTo>
                  <a:lnTo>
                    <a:pt x="7699376" y="4057650"/>
                  </a:lnTo>
                  <a:lnTo>
                    <a:pt x="7640638" y="4064000"/>
                  </a:lnTo>
                  <a:lnTo>
                    <a:pt x="7583488" y="4067175"/>
                  </a:lnTo>
                  <a:lnTo>
                    <a:pt x="7521576" y="4067175"/>
                  </a:lnTo>
                  <a:lnTo>
                    <a:pt x="7461251" y="4067175"/>
                  </a:lnTo>
                  <a:lnTo>
                    <a:pt x="7399338" y="4064000"/>
                  </a:lnTo>
                  <a:lnTo>
                    <a:pt x="7270751" y="4052888"/>
                  </a:lnTo>
                  <a:lnTo>
                    <a:pt x="7140576" y="4033838"/>
                  </a:lnTo>
                  <a:lnTo>
                    <a:pt x="7018338" y="4016375"/>
                  </a:lnTo>
                  <a:lnTo>
                    <a:pt x="6896101" y="3992563"/>
                  </a:lnTo>
                  <a:lnTo>
                    <a:pt x="6780213" y="3965575"/>
                  </a:lnTo>
                  <a:lnTo>
                    <a:pt x="6664326" y="3937000"/>
                  </a:lnTo>
                  <a:lnTo>
                    <a:pt x="6438901" y="3870325"/>
                  </a:lnTo>
                  <a:lnTo>
                    <a:pt x="6326188" y="3841750"/>
                  </a:lnTo>
                  <a:lnTo>
                    <a:pt x="6216651" y="3811588"/>
                  </a:lnTo>
                  <a:lnTo>
                    <a:pt x="6186488" y="3951288"/>
                  </a:lnTo>
                  <a:lnTo>
                    <a:pt x="6162676" y="4094163"/>
                  </a:lnTo>
                  <a:lnTo>
                    <a:pt x="6153151" y="4171950"/>
                  </a:lnTo>
                  <a:lnTo>
                    <a:pt x="6148388" y="4244975"/>
                  </a:lnTo>
                  <a:lnTo>
                    <a:pt x="6142038" y="4325938"/>
                  </a:lnTo>
                  <a:lnTo>
                    <a:pt x="6142038" y="4408488"/>
                  </a:lnTo>
                  <a:lnTo>
                    <a:pt x="6142038" y="4438650"/>
                  </a:lnTo>
                  <a:lnTo>
                    <a:pt x="6148388" y="4468813"/>
                  </a:lnTo>
                  <a:lnTo>
                    <a:pt x="6156326" y="4500563"/>
                  </a:lnTo>
                  <a:lnTo>
                    <a:pt x="6169026" y="4530725"/>
                  </a:lnTo>
                  <a:lnTo>
                    <a:pt x="6183313" y="4554538"/>
                  </a:lnTo>
                  <a:lnTo>
                    <a:pt x="6203951" y="4575175"/>
                  </a:lnTo>
                  <a:lnTo>
                    <a:pt x="6213476" y="4584700"/>
                  </a:lnTo>
                  <a:lnTo>
                    <a:pt x="6224588" y="4591050"/>
                  </a:lnTo>
                  <a:lnTo>
                    <a:pt x="6237288" y="4594225"/>
                  </a:lnTo>
                  <a:lnTo>
                    <a:pt x="6251576" y="4595813"/>
                  </a:lnTo>
                  <a:lnTo>
                    <a:pt x="6281738" y="4608513"/>
                  </a:lnTo>
                  <a:lnTo>
                    <a:pt x="6313488" y="4619625"/>
                  </a:lnTo>
                  <a:lnTo>
                    <a:pt x="6350001" y="4629150"/>
                  </a:lnTo>
                  <a:lnTo>
                    <a:pt x="6384926" y="4632325"/>
                  </a:lnTo>
                  <a:lnTo>
                    <a:pt x="6405563" y="4632325"/>
                  </a:lnTo>
                  <a:lnTo>
                    <a:pt x="6424613" y="4629150"/>
                  </a:lnTo>
                  <a:lnTo>
                    <a:pt x="6445251" y="4622800"/>
                  </a:lnTo>
                  <a:lnTo>
                    <a:pt x="6465888" y="4616450"/>
                  </a:lnTo>
                  <a:lnTo>
                    <a:pt x="6486526" y="4605338"/>
                  </a:lnTo>
                  <a:lnTo>
                    <a:pt x="6507163" y="4594225"/>
                  </a:lnTo>
                  <a:lnTo>
                    <a:pt x="6527801" y="4575175"/>
                  </a:lnTo>
                  <a:lnTo>
                    <a:pt x="6548438" y="4557713"/>
                  </a:lnTo>
                  <a:lnTo>
                    <a:pt x="6578601" y="4516438"/>
                  </a:lnTo>
                  <a:lnTo>
                    <a:pt x="6608763" y="4476750"/>
                  </a:lnTo>
                  <a:lnTo>
                    <a:pt x="6673851" y="4403725"/>
                  </a:lnTo>
                  <a:lnTo>
                    <a:pt x="6704013" y="4364038"/>
                  </a:lnTo>
                  <a:lnTo>
                    <a:pt x="6731001" y="4319588"/>
                  </a:lnTo>
                  <a:lnTo>
                    <a:pt x="6754813" y="4275138"/>
                  </a:lnTo>
                  <a:lnTo>
                    <a:pt x="6762751" y="4248150"/>
                  </a:lnTo>
                  <a:lnTo>
                    <a:pt x="6772276" y="4221163"/>
                  </a:lnTo>
                  <a:lnTo>
                    <a:pt x="6775451" y="4210050"/>
                  </a:lnTo>
                  <a:lnTo>
                    <a:pt x="6783388" y="4197350"/>
                  </a:lnTo>
                  <a:lnTo>
                    <a:pt x="6796088" y="4192588"/>
                  </a:lnTo>
                  <a:lnTo>
                    <a:pt x="6813551" y="4183063"/>
                  </a:lnTo>
                  <a:lnTo>
                    <a:pt x="6848476" y="4168775"/>
                  </a:lnTo>
                  <a:lnTo>
                    <a:pt x="6867526" y="4159250"/>
                  </a:lnTo>
                  <a:lnTo>
                    <a:pt x="6881813" y="4148138"/>
                  </a:lnTo>
                  <a:lnTo>
                    <a:pt x="6881813" y="4200525"/>
                  </a:lnTo>
                  <a:lnTo>
                    <a:pt x="6875463" y="4254500"/>
                  </a:lnTo>
                  <a:lnTo>
                    <a:pt x="6867526" y="4302125"/>
                  </a:lnTo>
                  <a:lnTo>
                    <a:pt x="6854826" y="4349750"/>
                  </a:lnTo>
                  <a:lnTo>
                    <a:pt x="6840538" y="4394200"/>
                  </a:lnTo>
                  <a:lnTo>
                    <a:pt x="6823076" y="4435475"/>
                  </a:lnTo>
                  <a:lnTo>
                    <a:pt x="6800851" y="4475163"/>
                  </a:lnTo>
                  <a:lnTo>
                    <a:pt x="6775451" y="4510088"/>
                  </a:lnTo>
                  <a:lnTo>
                    <a:pt x="6748463" y="4546600"/>
                  </a:lnTo>
                  <a:lnTo>
                    <a:pt x="6718301" y="4575175"/>
                  </a:lnTo>
                  <a:lnTo>
                    <a:pt x="6683376" y="4605338"/>
                  </a:lnTo>
                  <a:lnTo>
                    <a:pt x="6646863" y="4629150"/>
                  </a:lnTo>
                  <a:lnTo>
                    <a:pt x="6608763" y="4652963"/>
                  </a:lnTo>
                  <a:lnTo>
                    <a:pt x="6567488" y="4673600"/>
                  </a:lnTo>
                  <a:lnTo>
                    <a:pt x="6521451" y="4691063"/>
                  </a:lnTo>
                  <a:lnTo>
                    <a:pt x="6473826" y="4706938"/>
                  </a:lnTo>
                  <a:lnTo>
                    <a:pt x="6438901" y="4718050"/>
                  </a:lnTo>
                  <a:lnTo>
                    <a:pt x="6403976" y="4727575"/>
                  </a:lnTo>
                  <a:lnTo>
                    <a:pt x="6370638" y="4733925"/>
                  </a:lnTo>
                  <a:lnTo>
                    <a:pt x="6334126" y="4735513"/>
                  </a:lnTo>
                  <a:lnTo>
                    <a:pt x="6302376" y="4735513"/>
                  </a:lnTo>
                  <a:lnTo>
                    <a:pt x="6265863" y="4733925"/>
                  </a:lnTo>
                  <a:lnTo>
                    <a:pt x="6234113" y="4724400"/>
                  </a:lnTo>
                  <a:lnTo>
                    <a:pt x="6200776" y="4714875"/>
                  </a:lnTo>
                  <a:lnTo>
                    <a:pt x="6169026" y="4703763"/>
                  </a:lnTo>
                  <a:lnTo>
                    <a:pt x="6135688" y="4691063"/>
                  </a:lnTo>
                  <a:lnTo>
                    <a:pt x="6102351" y="4673600"/>
                  </a:lnTo>
                  <a:lnTo>
                    <a:pt x="6073776" y="4656138"/>
                  </a:lnTo>
                  <a:lnTo>
                    <a:pt x="6040438" y="4632325"/>
                  </a:lnTo>
                  <a:lnTo>
                    <a:pt x="6010276" y="4611688"/>
                  </a:lnTo>
                  <a:lnTo>
                    <a:pt x="5984876" y="4584700"/>
                  </a:lnTo>
                  <a:lnTo>
                    <a:pt x="5954713" y="4557713"/>
                  </a:lnTo>
                  <a:lnTo>
                    <a:pt x="5903913" y="4510088"/>
                  </a:lnTo>
                  <a:lnTo>
                    <a:pt x="5853113" y="4465638"/>
                  </a:lnTo>
                  <a:lnTo>
                    <a:pt x="5802313" y="4424363"/>
                  </a:lnTo>
                  <a:lnTo>
                    <a:pt x="5746751" y="4384675"/>
                  </a:lnTo>
                  <a:lnTo>
                    <a:pt x="5692776" y="4349750"/>
                  </a:lnTo>
                  <a:lnTo>
                    <a:pt x="5635626" y="4316413"/>
                  </a:lnTo>
                  <a:lnTo>
                    <a:pt x="5576888" y="4284663"/>
                  </a:lnTo>
                  <a:lnTo>
                    <a:pt x="5519738" y="4254500"/>
                  </a:lnTo>
                  <a:lnTo>
                    <a:pt x="5399088" y="4197350"/>
                  </a:lnTo>
                  <a:lnTo>
                    <a:pt x="5276851" y="4141788"/>
                  </a:lnTo>
                  <a:lnTo>
                    <a:pt x="5027613" y="4033838"/>
                  </a:lnTo>
                  <a:lnTo>
                    <a:pt x="5110163" y="4090988"/>
                  </a:lnTo>
                  <a:lnTo>
                    <a:pt x="5151438" y="4121150"/>
                  </a:lnTo>
                  <a:lnTo>
                    <a:pt x="5191126" y="4151313"/>
                  </a:lnTo>
                  <a:lnTo>
                    <a:pt x="5226051" y="4183063"/>
                  </a:lnTo>
                  <a:lnTo>
                    <a:pt x="5260976" y="4219575"/>
                  </a:lnTo>
                  <a:lnTo>
                    <a:pt x="5294313" y="4254500"/>
                  </a:lnTo>
                  <a:lnTo>
                    <a:pt x="5324476" y="4295775"/>
                  </a:lnTo>
                  <a:lnTo>
                    <a:pt x="5356226" y="4329113"/>
                  </a:lnTo>
                  <a:lnTo>
                    <a:pt x="5392738" y="4370388"/>
                  </a:lnTo>
                  <a:lnTo>
                    <a:pt x="5410201" y="4391025"/>
                  </a:lnTo>
                  <a:lnTo>
                    <a:pt x="5422901" y="4411663"/>
                  </a:lnTo>
                  <a:lnTo>
                    <a:pt x="5430838" y="4430713"/>
                  </a:lnTo>
                  <a:lnTo>
                    <a:pt x="5434013" y="4445000"/>
                  </a:lnTo>
                  <a:lnTo>
                    <a:pt x="5376863" y="4656138"/>
                  </a:lnTo>
                  <a:lnTo>
                    <a:pt x="5348288" y="4759325"/>
                  </a:lnTo>
                  <a:lnTo>
                    <a:pt x="5314951" y="4864100"/>
                  </a:lnTo>
                  <a:lnTo>
                    <a:pt x="5280026" y="4965700"/>
                  </a:lnTo>
                  <a:lnTo>
                    <a:pt x="5243513" y="5068888"/>
                  </a:lnTo>
                  <a:lnTo>
                    <a:pt x="5205413" y="5167313"/>
                  </a:lnTo>
                  <a:lnTo>
                    <a:pt x="5160963" y="5268913"/>
                  </a:lnTo>
                  <a:lnTo>
                    <a:pt x="5116513" y="5362575"/>
                  </a:lnTo>
                  <a:lnTo>
                    <a:pt x="5068888" y="5457825"/>
                  </a:lnTo>
                  <a:lnTo>
                    <a:pt x="5014913" y="5553075"/>
                  </a:lnTo>
                  <a:lnTo>
                    <a:pt x="4960938" y="5643563"/>
                  </a:lnTo>
                  <a:lnTo>
                    <a:pt x="4902201" y="5732463"/>
                  </a:lnTo>
                  <a:lnTo>
                    <a:pt x="4837113" y="5815013"/>
                  </a:lnTo>
                  <a:lnTo>
                    <a:pt x="4768850" y="5899150"/>
                  </a:lnTo>
                  <a:lnTo>
                    <a:pt x="4694238" y="5978525"/>
                  </a:lnTo>
                  <a:lnTo>
                    <a:pt x="4581525" y="6062663"/>
                  </a:lnTo>
                  <a:lnTo>
                    <a:pt x="4470400" y="6151563"/>
                  </a:lnTo>
                  <a:lnTo>
                    <a:pt x="4360863" y="6246813"/>
                  </a:lnTo>
                  <a:lnTo>
                    <a:pt x="4303713" y="6296025"/>
                  </a:lnTo>
                  <a:lnTo>
                    <a:pt x="4248150" y="6350000"/>
                  </a:lnTo>
                  <a:lnTo>
                    <a:pt x="4221163" y="6365875"/>
                  </a:lnTo>
                  <a:lnTo>
                    <a:pt x="4194175" y="6386513"/>
                  </a:lnTo>
                  <a:lnTo>
                    <a:pt x="4167188" y="6407150"/>
                  </a:lnTo>
                  <a:lnTo>
                    <a:pt x="4140200" y="6430963"/>
                  </a:lnTo>
                  <a:lnTo>
                    <a:pt x="4117975" y="6454775"/>
                  </a:lnTo>
                  <a:lnTo>
                    <a:pt x="4095750" y="6481763"/>
                  </a:lnTo>
                  <a:lnTo>
                    <a:pt x="4078288" y="6510338"/>
                  </a:lnTo>
                  <a:lnTo>
                    <a:pt x="4064000" y="6537325"/>
                  </a:lnTo>
                  <a:lnTo>
                    <a:pt x="4033838" y="6564313"/>
                  </a:lnTo>
                  <a:lnTo>
                    <a:pt x="4003675" y="6588125"/>
                  </a:lnTo>
                  <a:lnTo>
                    <a:pt x="3975100" y="6608763"/>
                  </a:lnTo>
                  <a:lnTo>
                    <a:pt x="3944938" y="6626225"/>
                  </a:lnTo>
                  <a:lnTo>
                    <a:pt x="3914775" y="6645275"/>
                  </a:lnTo>
                  <a:lnTo>
                    <a:pt x="3884613" y="6656388"/>
                  </a:lnTo>
                  <a:lnTo>
                    <a:pt x="3852863" y="6665913"/>
                  </a:lnTo>
                  <a:lnTo>
                    <a:pt x="3822700" y="6673850"/>
                  </a:lnTo>
                  <a:lnTo>
                    <a:pt x="3790950" y="6677025"/>
                  </a:lnTo>
                  <a:lnTo>
                    <a:pt x="3760788" y="6677025"/>
                  </a:lnTo>
                  <a:lnTo>
                    <a:pt x="3727450" y="6673850"/>
                  </a:lnTo>
                  <a:lnTo>
                    <a:pt x="3697288" y="6669088"/>
                  </a:lnTo>
                  <a:lnTo>
                    <a:pt x="3668713" y="6659563"/>
                  </a:lnTo>
                  <a:lnTo>
                    <a:pt x="3638550" y="6646863"/>
                  </a:lnTo>
                  <a:lnTo>
                    <a:pt x="3608388" y="6632575"/>
                  </a:lnTo>
                  <a:lnTo>
                    <a:pt x="3579813" y="6611938"/>
                  </a:lnTo>
                  <a:lnTo>
                    <a:pt x="3525838" y="6543675"/>
                  </a:lnTo>
                  <a:lnTo>
                    <a:pt x="3475038" y="6472238"/>
                  </a:lnTo>
                  <a:lnTo>
                    <a:pt x="3427413" y="6400800"/>
                  </a:lnTo>
                  <a:lnTo>
                    <a:pt x="3379788" y="6326188"/>
                  </a:lnTo>
                  <a:lnTo>
                    <a:pt x="3335338" y="6251575"/>
                  </a:lnTo>
                  <a:lnTo>
                    <a:pt x="3294063" y="6175375"/>
                  </a:lnTo>
                  <a:lnTo>
                    <a:pt x="3252788" y="6097588"/>
                  </a:lnTo>
                  <a:lnTo>
                    <a:pt x="3209925" y="6015038"/>
                  </a:lnTo>
                  <a:lnTo>
                    <a:pt x="3195638" y="5999163"/>
                  </a:lnTo>
                  <a:lnTo>
                    <a:pt x="3186113" y="5984875"/>
                  </a:lnTo>
                  <a:lnTo>
                    <a:pt x="3181350" y="5967413"/>
                  </a:lnTo>
                  <a:lnTo>
                    <a:pt x="3175000" y="5946775"/>
                  </a:lnTo>
                  <a:lnTo>
                    <a:pt x="3171825" y="5927725"/>
                  </a:lnTo>
                  <a:lnTo>
                    <a:pt x="3171825" y="5907088"/>
                  </a:lnTo>
                  <a:lnTo>
                    <a:pt x="3175000" y="5886450"/>
                  </a:lnTo>
                  <a:lnTo>
                    <a:pt x="3181350" y="5865813"/>
                  </a:lnTo>
                  <a:lnTo>
                    <a:pt x="3189288" y="5845175"/>
                  </a:lnTo>
                  <a:lnTo>
                    <a:pt x="3201988" y="5824538"/>
                  </a:lnTo>
                  <a:lnTo>
                    <a:pt x="3213100" y="5803900"/>
                  </a:lnTo>
                  <a:lnTo>
                    <a:pt x="3230563" y="5783263"/>
                  </a:lnTo>
                  <a:lnTo>
                    <a:pt x="3249613" y="5764213"/>
                  </a:lnTo>
                  <a:lnTo>
                    <a:pt x="3270250" y="5746750"/>
                  </a:lnTo>
                  <a:lnTo>
                    <a:pt x="3294063" y="5732463"/>
                  </a:lnTo>
                  <a:lnTo>
                    <a:pt x="3321050" y="5716588"/>
                  </a:lnTo>
                  <a:lnTo>
                    <a:pt x="3362325" y="5699125"/>
                  </a:lnTo>
                  <a:lnTo>
                    <a:pt x="3403600" y="5681663"/>
                  </a:lnTo>
                  <a:lnTo>
                    <a:pt x="3492500" y="5637213"/>
                  </a:lnTo>
                  <a:lnTo>
                    <a:pt x="3587750" y="5583238"/>
                  </a:lnTo>
                  <a:lnTo>
                    <a:pt x="3692525" y="5529263"/>
                  </a:lnTo>
                  <a:lnTo>
                    <a:pt x="3692525" y="5081588"/>
                  </a:lnTo>
                  <a:lnTo>
                    <a:pt x="3683000" y="5116513"/>
                  </a:lnTo>
                  <a:lnTo>
                    <a:pt x="3673475" y="5153025"/>
                  </a:lnTo>
                  <a:lnTo>
                    <a:pt x="3665538" y="5184775"/>
                  </a:lnTo>
                  <a:lnTo>
                    <a:pt x="3652838" y="5211763"/>
                  </a:lnTo>
                  <a:lnTo>
                    <a:pt x="3641725" y="5238750"/>
                  </a:lnTo>
                  <a:lnTo>
                    <a:pt x="3629025" y="5265738"/>
                  </a:lnTo>
                  <a:lnTo>
                    <a:pt x="3614738" y="5286375"/>
                  </a:lnTo>
                  <a:lnTo>
                    <a:pt x="3600450" y="5307013"/>
                  </a:lnTo>
                  <a:lnTo>
                    <a:pt x="3581400" y="5324475"/>
                  </a:lnTo>
                  <a:lnTo>
                    <a:pt x="3567113" y="5340350"/>
                  </a:lnTo>
                  <a:lnTo>
                    <a:pt x="3549650" y="5354638"/>
                  </a:lnTo>
                  <a:lnTo>
                    <a:pt x="3529013" y="5365750"/>
                  </a:lnTo>
                  <a:lnTo>
                    <a:pt x="3489325" y="5386388"/>
                  </a:lnTo>
                  <a:lnTo>
                    <a:pt x="3451225" y="5402263"/>
                  </a:lnTo>
                  <a:lnTo>
                    <a:pt x="3406775" y="5413375"/>
                  </a:lnTo>
                  <a:lnTo>
                    <a:pt x="3365500" y="5419725"/>
                  </a:lnTo>
                  <a:lnTo>
                    <a:pt x="3321050" y="5422900"/>
                  </a:lnTo>
                  <a:lnTo>
                    <a:pt x="3273425" y="5422900"/>
                  </a:lnTo>
                  <a:lnTo>
                    <a:pt x="3182938" y="5419725"/>
                  </a:lnTo>
                  <a:lnTo>
                    <a:pt x="3097213" y="5416550"/>
                  </a:lnTo>
                  <a:lnTo>
                    <a:pt x="2838450" y="5416550"/>
                  </a:lnTo>
                  <a:lnTo>
                    <a:pt x="2770188" y="5416550"/>
                  </a:lnTo>
                  <a:lnTo>
                    <a:pt x="2708275" y="5413375"/>
                  </a:lnTo>
                  <a:lnTo>
                    <a:pt x="2678113" y="5408613"/>
                  </a:lnTo>
                  <a:lnTo>
                    <a:pt x="2647950" y="5402263"/>
                  </a:lnTo>
                  <a:lnTo>
                    <a:pt x="2622550" y="5395913"/>
                  </a:lnTo>
                  <a:lnTo>
                    <a:pt x="2598738" y="5384800"/>
                  </a:lnTo>
                  <a:lnTo>
                    <a:pt x="2574925" y="5368925"/>
                  </a:lnTo>
                  <a:lnTo>
                    <a:pt x="2554288" y="5354638"/>
                  </a:lnTo>
                  <a:lnTo>
                    <a:pt x="2532063" y="5330825"/>
                  </a:lnTo>
                  <a:lnTo>
                    <a:pt x="2514600" y="5307013"/>
                  </a:lnTo>
                  <a:lnTo>
                    <a:pt x="2500313" y="5276850"/>
                  </a:lnTo>
                  <a:lnTo>
                    <a:pt x="2484438" y="5241925"/>
                  </a:lnTo>
                  <a:lnTo>
                    <a:pt x="2476500" y="5202238"/>
                  </a:lnTo>
                  <a:lnTo>
                    <a:pt x="2466975" y="5154613"/>
                  </a:lnTo>
                  <a:lnTo>
                    <a:pt x="2466975" y="5229225"/>
                  </a:lnTo>
                  <a:lnTo>
                    <a:pt x="2466975" y="5341938"/>
                  </a:lnTo>
                  <a:lnTo>
                    <a:pt x="2466975" y="5440363"/>
                  </a:lnTo>
                  <a:lnTo>
                    <a:pt x="2463800" y="5538788"/>
                  </a:lnTo>
                  <a:lnTo>
                    <a:pt x="2459038" y="5634038"/>
                  </a:lnTo>
                  <a:lnTo>
                    <a:pt x="2452688" y="5681663"/>
                  </a:lnTo>
                  <a:lnTo>
                    <a:pt x="2443163" y="5729288"/>
                  </a:lnTo>
                  <a:lnTo>
                    <a:pt x="2435225" y="5776913"/>
                  </a:lnTo>
                  <a:lnTo>
                    <a:pt x="2422525" y="5824538"/>
                  </a:lnTo>
                  <a:lnTo>
                    <a:pt x="2408238" y="5868988"/>
                  </a:lnTo>
                  <a:lnTo>
                    <a:pt x="2390775" y="5916613"/>
                  </a:lnTo>
                  <a:lnTo>
                    <a:pt x="2368550" y="5961063"/>
                  </a:lnTo>
                  <a:lnTo>
                    <a:pt x="2343150" y="6002338"/>
                  </a:lnTo>
                  <a:lnTo>
                    <a:pt x="2316163" y="6046788"/>
                  </a:lnTo>
                  <a:lnTo>
                    <a:pt x="2282825" y="6088063"/>
                  </a:lnTo>
                  <a:lnTo>
                    <a:pt x="2268538" y="6103938"/>
                  </a:lnTo>
                  <a:lnTo>
                    <a:pt x="2255838" y="6121400"/>
                  </a:lnTo>
                  <a:lnTo>
                    <a:pt x="2238375" y="6156325"/>
                  </a:lnTo>
                  <a:lnTo>
                    <a:pt x="2224088" y="6199188"/>
                  </a:lnTo>
                  <a:lnTo>
                    <a:pt x="2211388" y="6243638"/>
                  </a:lnTo>
                  <a:lnTo>
                    <a:pt x="2193925" y="6335713"/>
                  </a:lnTo>
                  <a:lnTo>
                    <a:pt x="2181225" y="6383338"/>
                  </a:lnTo>
                  <a:lnTo>
                    <a:pt x="2170113" y="6424613"/>
                  </a:lnTo>
                  <a:lnTo>
                    <a:pt x="2166938" y="6442075"/>
                  </a:lnTo>
                  <a:lnTo>
                    <a:pt x="2157413" y="6459538"/>
                  </a:lnTo>
                  <a:lnTo>
                    <a:pt x="2143125" y="6478588"/>
                  </a:lnTo>
                  <a:lnTo>
                    <a:pt x="2125663" y="6496050"/>
                  </a:lnTo>
                  <a:lnTo>
                    <a:pt x="2101850" y="6510338"/>
                  </a:lnTo>
                  <a:lnTo>
                    <a:pt x="2078038" y="6526213"/>
                  </a:lnTo>
                  <a:lnTo>
                    <a:pt x="2051050" y="6534150"/>
                  </a:lnTo>
                  <a:lnTo>
                    <a:pt x="2020888" y="6537325"/>
                  </a:lnTo>
                  <a:lnTo>
                    <a:pt x="1828800" y="6507163"/>
                  </a:lnTo>
                  <a:lnTo>
                    <a:pt x="1628775" y="6478588"/>
                  </a:lnTo>
                  <a:lnTo>
                    <a:pt x="1525588" y="6457950"/>
                  </a:lnTo>
                  <a:lnTo>
                    <a:pt x="1420813" y="6435725"/>
                  </a:lnTo>
                  <a:lnTo>
                    <a:pt x="1316038" y="6415088"/>
                  </a:lnTo>
                  <a:lnTo>
                    <a:pt x="1206500" y="6389688"/>
                  </a:lnTo>
                  <a:lnTo>
                    <a:pt x="1168400" y="6370638"/>
                  </a:lnTo>
                  <a:lnTo>
                    <a:pt x="1150938" y="6362700"/>
                  </a:lnTo>
                  <a:lnTo>
                    <a:pt x="1135063" y="6353175"/>
                  </a:lnTo>
                  <a:lnTo>
                    <a:pt x="1123950" y="6342063"/>
                  </a:lnTo>
                  <a:lnTo>
                    <a:pt x="1111250" y="6326188"/>
                  </a:lnTo>
                  <a:lnTo>
                    <a:pt x="1103313" y="6311900"/>
                  </a:lnTo>
                  <a:lnTo>
                    <a:pt x="1093788" y="6294438"/>
                  </a:lnTo>
                  <a:lnTo>
                    <a:pt x="1087438" y="6275388"/>
                  </a:lnTo>
                  <a:lnTo>
                    <a:pt x="1084263" y="6254750"/>
                  </a:lnTo>
                  <a:lnTo>
                    <a:pt x="1082675" y="6234113"/>
                  </a:lnTo>
                  <a:lnTo>
                    <a:pt x="1082675" y="6210300"/>
                  </a:lnTo>
                  <a:lnTo>
                    <a:pt x="1084263" y="6154738"/>
                  </a:lnTo>
                  <a:lnTo>
                    <a:pt x="1093788" y="6088063"/>
                  </a:lnTo>
                  <a:lnTo>
                    <a:pt x="1120775" y="6046788"/>
                  </a:lnTo>
                  <a:lnTo>
                    <a:pt x="1144588" y="5999163"/>
                  </a:lnTo>
                  <a:lnTo>
                    <a:pt x="1162050" y="5948363"/>
                  </a:lnTo>
                  <a:lnTo>
                    <a:pt x="1176338" y="5899150"/>
                  </a:lnTo>
                  <a:lnTo>
                    <a:pt x="1189038" y="5845175"/>
                  </a:lnTo>
                  <a:lnTo>
                    <a:pt x="1198563" y="5788025"/>
                  </a:lnTo>
                  <a:lnTo>
                    <a:pt x="1203325" y="5735638"/>
                  </a:lnTo>
                  <a:lnTo>
                    <a:pt x="1206500" y="5678488"/>
                  </a:lnTo>
                  <a:lnTo>
                    <a:pt x="1212850" y="5657850"/>
                  </a:lnTo>
                  <a:lnTo>
                    <a:pt x="1216025" y="5634038"/>
                  </a:lnTo>
                  <a:lnTo>
                    <a:pt x="1216025" y="5613400"/>
                  </a:lnTo>
                  <a:lnTo>
                    <a:pt x="1216025" y="5589588"/>
                  </a:lnTo>
                  <a:lnTo>
                    <a:pt x="1209675" y="5541963"/>
                  </a:lnTo>
                  <a:lnTo>
                    <a:pt x="1198563" y="5497513"/>
                  </a:lnTo>
                  <a:lnTo>
                    <a:pt x="1179513" y="5453063"/>
                  </a:lnTo>
                  <a:lnTo>
                    <a:pt x="1165225" y="5410200"/>
                  </a:lnTo>
                  <a:lnTo>
                    <a:pt x="1131888" y="5341938"/>
                  </a:lnTo>
                  <a:lnTo>
                    <a:pt x="1069975" y="5238750"/>
                  </a:lnTo>
                  <a:lnTo>
                    <a:pt x="1012825" y="5130800"/>
                  </a:lnTo>
                  <a:lnTo>
                    <a:pt x="957263" y="5027613"/>
                  </a:lnTo>
                  <a:lnTo>
                    <a:pt x="903288" y="4919663"/>
                  </a:lnTo>
                  <a:lnTo>
                    <a:pt x="855663" y="4813300"/>
                  </a:lnTo>
                  <a:lnTo>
                    <a:pt x="811213" y="4706938"/>
                  </a:lnTo>
                  <a:lnTo>
                    <a:pt x="769938" y="4598988"/>
                  </a:lnTo>
                  <a:lnTo>
                    <a:pt x="733425" y="4492625"/>
                  </a:lnTo>
                  <a:lnTo>
                    <a:pt x="701675" y="4383088"/>
                  </a:lnTo>
                  <a:lnTo>
                    <a:pt x="671513" y="4271963"/>
                  </a:lnTo>
                  <a:lnTo>
                    <a:pt x="647700" y="4162425"/>
                  </a:lnTo>
                  <a:lnTo>
                    <a:pt x="630238" y="4049713"/>
                  </a:lnTo>
                  <a:lnTo>
                    <a:pt x="617538" y="3937000"/>
                  </a:lnTo>
                  <a:lnTo>
                    <a:pt x="609600" y="3821113"/>
                  </a:lnTo>
                  <a:lnTo>
                    <a:pt x="609600" y="3705225"/>
                  </a:lnTo>
                  <a:lnTo>
                    <a:pt x="612775" y="3586163"/>
                  </a:lnTo>
                  <a:lnTo>
                    <a:pt x="620713" y="3470275"/>
                  </a:lnTo>
                  <a:lnTo>
                    <a:pt x="636588" y="3354388"/>
                  </a:lnTo>
                  <a:lnTo>
                    <a:pt x="657225" y="3243263"/>
                  </a:lnTo>
                  <a:lnTo>
                    <a:pt x="681038" y="3136900"/>
                  </a:lnTo>
                  <a:lnTo>
                    <a:pt x="709613" y="3032125"/>
                  </a:lnTo>
                  <a:lnTo>
                    <a:pt x="746125" y="2932113"/>
                  </a:lnTo>
                  <a:lnTo>
                    <a:pt x="784225" y="2833688"/>
                  </a:lnTo>
                  <a:lnTo>
                    <a:pt x="828675" y="2735263"/>
                  </a:lnTo>
                  <a:lnTo>
                    <a:pt x="879475" y="2643188"/>
                  </a:lnTo>
                  <a:lnTo>
                    <a:pt x="933450" y="2551113"/>
                  </a:lnTo>
                  <a:lnTo>
                    <a:pt x="992188" y="2465388"/>
                  </a:lnTo>
                  <a:lnTo>
                    <a:pt x="1055688" y="2379663"/>
                  </a:lnTo>
                  <a:lnTo>
                    <a:pt x="1123950" y="2295525"/>
                  </a:lnTo>
                  <a:lnTo>
                    <a:pt x="1195388" y="2212975"/>
                  </a:lnTo>
                  <a:lnTo>
                    <a:pt x="1271588" y="2132013"/>
                  </a:lnTo>
                  <a:lnTo>
                    <a:pt x="1355725" y="2054225"/>
                  </a:lnTo>
                  <a:lnTo>
                    <a:pt x="1423988" y="2001838"/>
                  </a:lnTo>
                  <a:lnTo>
                    <a:pt x="1495425" y="1951038"/>
                  </a:lnTo>
                  <a:lnTo>
                    <a:pt x="1566863" y="1900238"/>
                  </a:lnTo>
                  <a:lnTo>
                    <a:pt x="1641475" y="1855788"/>
                  </a:lnTo>
                  <a:lnTo>
                    <a:pt x="1714500" y="1814513"/>
                  </a:lnTo>
                  <a:lnTo>
                    <a:pt x="1789113" y="1774825"/>
                  </a:lnTo>
                  <a:lnTo>
                    <a:pt x="1866900" y="1739900"/>
                  </a:lnTo>
                  <a:lnTo>
                    <a:pt x="1944688" y="1703388"/>
                  </a:lnTo>
                  <a:lnTo>
                    <a:pt x="2020888" y="1671638"/>
                  </a:lnTo>
                  <a:lnTo>
                    <a:pt x="2101850" y="1641476"/>
                  </a:lnTo>
                  <a:lnTo>
                    <a:pt x="2184400" y="1614488"/>
                  </a:lnTo>
                  <a:lnTo>
                    <a:pt x="2268538" y="1587500"/>
                  </a:lnTo>
                  <a:lnTo>
                    <a:pt x="2351088" y="1562100"/>
                  </a:lnTo>
                  <a:lnTo>
                    <a:pt x="2436813" y="1538288"/>
                  </a:lnTo>
                  <a:lnTo>
                    <a:pt x="2616200" y="1492250"/>
                  </a:lnTo>
                  <a:lnTo>
                    <a:pt x="2725738" y="1492250"/>
                  </a:lnTo>
                  <a:lnTo>
                    <a:pt x="2654300" y="1590675"/>
                  </a:lnTo>
                  <a:lnTo>
                    <a:pt x="2582863" y="1682750"/>
                  </a:lnTo>
                  <a:lnTo>
                    <a:pt x="2435225" y="1866901"/>
                  </a:lnTo>
                  <a:lnTo>
                    <a:pt x="2363788" y="1958975"/>
                  </a:lnTo>
                  <a:lnTo>
                    <a:pt x="2295525" y="2052638"/>
                  </a:lnTo>
                  <a:lnTo>
                    <a:pt x="2228850" y="2144713"/>
                  </a:lnTo>
                  <a:lnTo>
                    <a:pt x="2200275" y="2192338"/>
                  </a:lnTo>
                  <a:lnTo>
                    <a:pt x="2170113" y="2241550"/>
                  </a:lnTo>
                  <a:lnTo>
                    <a:pt x="2089150" y="2355850"/>
                  </a:lnTo>
                  <a:lnTo>
                    <a:pt x="2047875" y="2411413"/>
                  </a:lnTo>
                  <a:lnTo>
                    <a:pt x="2012950" y="2471738"/>
                  </a:lnTo>
                  <a:lnTo>
                    <a:pt x="1979613" y="2530475"/>
                  </a:lnTo>
                  <a:lnTo>
                    <a:pt x="1952625" y="2592388"/>
                  </a:lnTo>
                  <a:lnTo>
                    <a:pt x="1928813" y="2659063"/>
                  </a:lnTo>
                  <a:lnTo>
                    <a:pt x="1917700" y="2693988"/>
                  </a:lnTo>
                  <a:lnTo>
                    <a:pt x="1911350" y="2727325"/>
                  </a:lnTo>
                  <a:lnTo>
                    <a:pt x="1893888" y="2776538"/>
                  </a:lnTo>
                  <a:lnTo>
                    <a:pt x="1881188" y="2824163"/>
                  </a:lnTo>
                  <a:lnTo>
                    <a:pt x="1873250" y="2868613"/>
                  </a:lnTo>
                  <a:lnTo>
                    <a:pt x="1873250" y="2916238"/>
                  </a:lnTo>
                  <a:lnTo>
                    <a:pt x="1876425" y="2962275"/>
                  </a:lnTo>
                  <a:lnTo>
                    <a:pt x="1881188" y="3006725"/>
                  </a:lnTo>
                  <a:lnTo>
                    <a:pt x="1893888" y="3048000"/>
                  </a:lnTo>
                  <a:lnTo>
                    <a:pt x="1905000" y="3092450"/>
                  </a:lnTo>
                  <a:lnTo>
                    <a:pt x="1924050" y="3133725"/>
                  </a:lnTo>
                  <a:lnTo>
                    <a:pt x="1944688" y="3171825"/>
                  </a:lnTo>
                  <a:lnTo>
                    <a:pt x="1965325" y="3214688"/>
                  </a:lnTo>
                  <a:lnTo>
                    <a:pt x="1989138" y="3252788"/>
                  </a:lnTo>
                  <a:lnTo>
                    <a:pt x="2041525" y="3327400"/>
                  </a:lnTo>
                  <a:lnTo>
                    <a:pt x="2095500" y="3398838"/>
                  </a:lnTo>
                  <a:lnTo>
                    <a:pt x="2149475" y="3470275"/>
                  </a:lnTo>
                  <a:lnTo>
                    <a:pt x="2197100" y="3541713"/>
                  </a:lnTo>
                  <a:lnTo>
                    <a:pt x="2217738" y="3576638"/>
                  </a:lnTo>
                  <a:lnTo>
                    <a:pt x="2238375" y="3613150"/>
                  </a:lnTo>
                  <a:lnTo>
                    <a:pt x="2252663" y="3648075"/>
                  </a:lnTo>
                  <a:lnTo>
                    <a:pt x="2268538" y="3684588"/>
                  </a:lnTo>
                  <a:lnTo>
                    <a:pt x="2279650" y="3722688"/>
                  </a:lnTo>
                  <a:lnTo>
                    <a:pt x="2286000" y="3757613"/>
                  </a:lnTo>
                  <a:lnTo>
                    <a:pt x="2289175" y="3797300"/>
                  </a:lnTo>
                  <a:lnTo>
                    <a:pt x="2289175" y="3835400"/>
                  </a:lnTo>
                  <a:lnTo>
                    <a:pt x="2286000" y="3873500"/>
                  </a:lnTo>
                  <a:lnTo>
                    <a:pt x="2276475" y="3916363"/>
                  </a:lnTo>
                  <a:lnTo>
                    <a:pt x="2262188" y="3954463"/>
                  </a:lnTo>
                  <a:lnTo>
                    <a:pt x="2244725" y="3995738"/>
                  </a:lnTo>
                  <a:lnTo>
                    <a:pt x="2232025" y="4013200"/>
                  </a:lnTo>
                  <a:lnTo>
                    <a:pt x="2224088" y="4037013"/>
                  </a:lnTo>
                  <a:lnTo>
                    <a:pt x="2217738" y="4064000"/>
                  </a:lnTo>
                  <a:lnTo>
                    <a:pt x="2217738" y="4090988"/>
                  </a:lnTo>
                  <a:lnTo>
                    <a:pt x="2217738" y="4117975"/>
                  </a:lnTo>
                  <a:lnTo>
                    <a:pt x="2224088" y="4144963"/>
                  </a:lnTo>
                  <a:lnTo>
                    <a:pt x="2232025" y="4168775"/>
                  </a:lnTo>
                  <a:lnTo>
                    <a:pt x="2244725" y="4183063"/>
                  </a:lnTo>
                  <a:lnTo>
                    <a:pt x="2306638" y="4251325"/>
                  </a:lnTo>
                  <a:lnTo>
                    <a:pt x="2368550" y="4313238"/>
                  </a:lnTo>
                  <a:lnTo>
                    <a:pt x="2435225" y="4373563"/>
                  </a:lnTo>
                  <a:lnTo>
                    <a:pt x="2497138" y="4424363"/>
                  </a:lnTo>
                  <a:lnTo>
                    <a:pt x="2562225" y="4471988"/>
                  </a:lnTo>
                  <a:lnTo>
                    <a:pt x="2627313" y="4510088"/>
                  </a:lnTo>
                  <a:lnTo>
                    <a:pt x="2660650" y="4527550"/>
                  </a:lnTo>
                  <a:lnTo>
                    <a:pt x="2695575" y="4543425"/>
                  </a:lnTo>
                  <a:lnTo>
                    <a:pt x="2728913" y="4554538"/>
                  </a:lnTo>
                  <a:lnTo>
                    <a:pt x="2763838" y="4567238"/>
                  </a:lnTo>
                  <a:lnTo>
                    <a:pt x="2800350" y="4575175"/>
                  </a:lnTo>
                  <a:lnTo>
                    <a:pt x="2835275" y="4584700"/>
                  </a:lnTo>
                  <a:lnTo>
                    <a:pt x="2871788" y="4591050"/>
                  </a:lnTo>
                  <a:lnTo>
                    <a:pt x="2906713" y="4594225"/>
                  </a:lnTo>
                  <a:lnTo>
                    <a:pt x="2943225" y="4594225"/>
                  </a:lnTo>
                  <a:lnTo>
                    <a:pt x="2981325" y="4594225"/>
                  </a:lnTo>
                  <a:lnTo>
                    <a:pt x="3021013" y="4591050"/>
                  </a:lnTo>
                  <a:lnTo>
                    <a:pt x="3059113" y="4584700"/>
                  </a:lnTo>
                  <a:lnTo>
                    <a:pt x="3097213" y="4575175"/>
                  </a:lnTo>
                  <a:lnTo>
                    <a:pt x="3138488" y="4564063"/>
                  </a:lnTo>
                  <a:lnTo>
                    <a:pt x="3178175" y="4551363"/>
                  </a:lnTo>
                  <a:lnTo>
                    <a:pt x="3219450" y="4537075"/>
                  </a:lnTo>
                  <a:lnTo>
                    <a:pt x="3263900" y="4516438"/>
                  </a:lnTo>
                  <a:lnTo>
                    <a:pt x="3305175" y="4495800"/>
                  </a:lnTo>
                  <a:lnTo>
                    <a:pt x="3349625" y="4471988"/>
                  </a:lnTo>
                  <a:lnTo>
                    <a:pt x="3394075" y="4445000"/>
                  </a:lnTo>
                  <a:lnTo>
                    <a:pt x="3617913" y="4329113"/>
                  </a:lnTo>
                  <a:lnTo>
                    <a:pt x="3730625" y="4271963"/>
                  </a:lnTo>
                  <a:lnTo>
                    <a:pt x="3843338" y="4216400"/>
                  </a:lnTo>
                  <a:lnTo>
                    <a:pt x="3959225" y="4168775"/>
                  </a:lnTo>
                  <a:lnTo>
                    <a:pt x="4019550" y="4144963"/>
                  </a:lnTo>
                  <a:lnTo>
                    <a:pt x="4078288" y="4124325"/>
                  </a:lnTo>
                  <a:lnTo>
                    <a:pt x="4138613" y="4108450"/>
                  </a:lnTo>
                  <a:lnTo>
                    <a:pt x="4197350" y="4094163"/>
                  </a:lnTo>
                  <a:lnTo>
                    <a:pt x="4259263" y="4081463"/>
                  </a:lnTo>
                  <a:lnTo>
                    <a:pt x="4322763" y="4073525"/>
                  </a:lnTo>
                  <a:lnTo>
                    <a:pt x="4337050" y="4067175"/>
                  </a:lnTo>
                  <a:lnTo>
                    <a:pt x="4354513" y="4057650"/>
                  </a:lnTo>
                  <a:lnTo>
                    <a:pt x="4375150" y="4043363"/>
                  </a:lnTo>
                  <a:lnTo>
                    <a:pt x="4397375" y="4025900"/>
                  </a:lnTo>
                  <a:lnTo>
                    <a:pt x="4418013" y="4002088"/>
                  </a:lnTo>
                  <a:lnTo>
                    <a:pt x="4438650" y="3978275"/>
                  </a:lnTo>
                  <a:lnTo>
                    <a:pt x="4456113" y="3951288"/>
                  </a:lnTo>
                  <a:lnTo>
                    <a:pt x="4470400" y="3921125"/>
                  </a:lnTo>
                  <a:lnTo>
                    <a:pt x="4497388" y="3844925"/>
                  </a:lnTo>
                  <a:lnTo>
                    <a:pt x="4518025" y="3767138"/>
                  </a:lnTo>
                  <a:lnTo>
                    <a:pt x="4537075" y="3689350"/>
                  </a:lnTo>
                  <a:lnTo>
                    <a:pt x="4548188" y="3613150"/>
                  </a:lnTo>
                  <a:lnTo>
                    <a:pt x="4560888" y="3535363"/>
                  </a:lnTo>
                  <a:lnTo>
                    <a:pt x="4565650" y="3457575"/>
                  </a:lnTo>
                  <a:lnTo>
                    <a:pt x="4572000" y="3381375"/>
                  </a:lnTo>
                  <a:lnTo>
                    <a:pt x="4572000" y="3300413"/>
                  </a:lnTo>
                  <a:lnTo>
                    <a:pt x="4572000" y="3222625"/>
                  </a:lnTo>
                  <a:lnTo>
                    <a:pt x="4568825" y="3143250"/>
                  </a:lnTo>
                  <a:lnTo>
                    <a:pt x="4562475" y="3062288"/>
                  </a:lnTo>
                  <a:lnTo>
                    <a:pt x="4554538" y="2982913"/>
                  </a:lnTo>
                  <a:lnTo>
                    <a:pt x="4533900" y="2819400"/>
                  </a:lnTo>
                  <a:lnTo>
                    <a:pt x="4506913" y="2652713"/>
                  </a:lnTo>
                  <a:lnTo>
                    <a:pt x="4479925" y="2476500"/>
                  </a:lnTo>
                  <a:lnTo>
                    <a:pt x="4446588" y="2292351"/>
                  </a:lnTo>
                  <a:lnTo>
                    <a:pt x="4429125" y="2197100"/>
                  </a:lnTo>
                  <a:lnTo>
                    <a:pt x="4408488" y="2098675"/>
                  </a:lnTo>
                  <a:lnTo>
                    <a:pt x="4384675" y="2005013"/>
                  </a:lnTo>
                  <a:lnTo>
                    <a:pt x="4360863" y="1906588"/>
                  </a:lnTo>
                  <a:lnTo>
                    <a:pt x="4360863" y="2765425"/>
                  </a:lnTo>
                  <a:lnTo>
                    <a:pt x="4360863" y="3698875"/>
                  </a:lnTo>
                  <a:lnTo>
                    <a:pt x="4357688" y="3725863"/>
                  </a:lnTo>
                  <a:lnTo>
                    <a:pt x="4354513" y="3752850"/>
                  </a:lnTo>
                  <a:lnTo>
                    <a:pt x="4349750" y="3776663"/>
                  </a:lnTo>
                  <a:lnTo>
                    <a:pt x="4340225" y="3797300"/>
                  </a:lnTo>
                  <a:lnTo>
                    <a:pt x="4327525" y="3817938"/>
                  </a:lnTo>
                  <a:lnTo>
                    <a:pt x="4316413" y="3838575"/>
                  </a:lnTo>
                  <a:lnTo>
                    <a:pt x="4302125" y="3856038"/>
                  </a:lnTo>
                  <a:lnTo>
                    <a:pt x="4286250" y="3870325"/>
                  </a:lnTo>
                  <a:lnTo>
                    <a:pt x="4265613" y="3886200"/>
                  </a:lnTo>
                  <a:lnTo>
                    <a:pt x="4248150" y="3900488"/>
                  </a:lnTo>
                  <a:lnTo>
                    <a:pt x="4203700" y="3924300"/>
                  </a:lnTo>
                  <a:lnTo>
                    <a:pt x="4152900" y="3944938"/>
                  </a:lnTo>
                  <a:lnTo>
                    <a:pt x="4098925" y="3960813"/>
                  </a:lnTo>
                  <a:lnTo>
                    <a:pt x="4000500" y="3989388"/>
                  </a:lnTo>
                  <a:lnTo>
                    <a:pt x="3906838" y="4022725"/>
                  </a:lnTo>
                  <a:lnTo>
                    <a:pt x="3811588" y="4057650"/>
                  </a:lnTo>
                  <a:lnTo>
                    <a:pt x="3716338" y="4100513"/>
                  </a:lnTo>
                  <a:lnTo>
                    <a:pt x="3621088" y="4144963"/>
                  </a:lnTo>
                  <a:lnTo>
                    <a:pt x="3532188" y="4192588"/>
                  </a:lnTo>
                  <a:lnTo>
                    <a:pt x="3441700" y="4243388"/>
                  </a:lnTo>
                  <a:lnTo>
                    <a:pt x="3359150" y="4295775"/>
                  </a:lnTo>
                  <a:lnTo>
                    <a:pt x="3287713" y="4329113"/>
                  </a:lnTo>
                  <a:lnTo>
                    <a:pt x="3222625" y="4359275"/>
                  </a:lnTo>
                  <a:lnTo>
                    <a:pt x="3157538" y="4379913"/>
                  </a:lnTo>
                  <a:lnTo>
                    <a:pt x="3094038" y="4400550"/>
                  </a:lnTo>
                  <a:lnTo>
                    <a:pt x="3032125" y="4411663"/>
                  </a:lnTo>
                  <a:lnTo>
                    <a:pt x="2973388" y="4421188"/>
                  </a:lnTo>
                  <a:lnTo>
                    <a:pt x="2913063" y="4421188"/>
                  </a:lnTo>
                  <a:lnTo>
                    <a:pt x="2857500" y="4418013"/>
                  </a:lnTo>
                  <a:lnTo>
                    <a:pt x="2803525" y="4406900"/>
                  </a:lnTo>
                  <a:lnTo>
                    <a:pt x="2749550" y="4391025"/>
                  </a:lnTo>
                  <a:lnTo>
                    <a:pt x="2698750" y="4367213"/>
                  </a:lnTo>
                  <a:lnTo>
                    <a:pt x="2647950" y="4337050"/>
                  </a:lnTo>
                  <a:lnTo>
                    <a:pt x="2600325" y="4302125"/>
                  </a:lnTo>
                  <a:lnTo>
                    <a:pt x="2554288" y="4257675"/>
                  </a:lnTo>
                  <a:lnTo>
                    <a:pt x="2508250" y="4206875"/>
                  </a:lnTo>
                  <a:lnTo>
                    <a:pt x="2466975" y="4148138"/>
                  </a:lnTo>
                  <a:lnTo>
                    <a:pt x="2452688" y="4117975"/>
                  </a:lnTo>
                  <a:lnTo>
                    <a:pt x="2439988" y="4084638"/>
                  </a:lnTo>
                  <a:lnTo>
                    <a:pt x="2428875" y="4049713"/>
                  </a:lnTo>
                  <a:lnTo>
                    <a:pt x="2419350" y="4016375"/>
                  </a:lnTo>
                  <a:lnTo>
                    <a:pt x="2416175" y="3981450"/>
                  </a:lnTo>
                  <a:lnTo>
                    <a:pt x="2416175" y="3948113"/>
                  </a:lnTo>
                  <a:lnTo>
                    <a:pt x="2419350" y="3916363"/>
                  </a:lnTo>
                  <a:lnTo>
                    <a:pt x="2425700" y="3900488"/>
                  </a:lnTo>
                  <a:lnTo>
                    <a:pt x="2432050" y="3886200"/>
                  </a:lnTo>
                  <a:lnTo>
                    <a:pt x="2446338" y="3829050"/>
                  </a:lnTo>
                  <a:lnTo>
                    <a:pt x="2463800" y="3778250"/>
                  </a:lnTo>
                  <a:lnTo>
                    <a:pt x="2484438" y="3730625"/>
                  </a:lnTo>
                  <a:lnTo>
                    <a:pt x="2508250" y="3684588"/>
                  </a:lnTo>
                  <a:lnTo>
                    <a:pt x="2535238" y="3638550"/>
                  </a:lnTo>
                  <a:lnTo>
                    <a:pt x="2559050" y="3597275"/>
                  </a:lnTo>
                  <a:lnTo>
                    <a:pt x="2616200" y="3511550"/>
                  </a:lnTo>
                  <a:lnTo>
                    <a:pt x="2667000" y="3406775"/>
                  </a:lnTo>
                  <a:lnTo>
                    <a:pt x="2705100" y="3311525"/>
                  </a:lnTo>
                  <a:lnTo>
                    <a:pt x="2735263" y="3222625"/>
                  </a:lnTo>
                  <a:lnTo>
                    <a:pt x="2763838" y="3136900"/>
                  </a:lnTo>
                  <a:lnTo>
                    <a:pt x="2722563" y="3181350"/>
                  </a:lnTo>
                  <a:lnTo>
                    <a:pt x="2681288" y="3228975"/>
                  </a:lnTo>
                  <a:lnTo>
                    <a:pt x="2598738" y="3330575"/>
                  </a:lnTo>
                  <a:lnTo>
                    <a:pt x="2514600" y="3436938"/>
                  </a:lnTo>
                  <a:lnTo>
                    <a:pt x="2432050" y="3549650"/>
                  </a:lnTo>
                  <a:lnTo>
                    <a:pt x="2374900" y="3478213"/>
                  </a:lnTo>
                  <a:lnTo>
                    <a:pt x="2324100" y="3409950"/>
                  </a:lnTo>
                  <a:lnTo>
                    <a:pt x="2276475" y="3338513"/>
                  </a:lnTo>
                  <a:lnTo>
                    <a:pt x="2228850" y="3267075"/>
                  </a:lnTo>
                  <a:lnTo>
                    <a:pt x="2143125" y="3127375"/>
                  </a:lnTo>
                  <a:lnTo>
                    <a:pt x="2060575" y="2987675"/>
                  </a:lnTo>
                  <a:lnTo>
                    <a:pt x="2047875" y="2973388"/>
                  </a:lnTo>
                  <a:lnTo>
                    <a:pt x="2039938" y="2955925"/>
                  </a:lnTo>
                  <a:lnTo>
                    <a:pt x="2030413" y="2935288"/>
                  </a:lnTo>
                  <a:lnTo>
                    <a:pt x="2027238" y="2914650"/>
                  </a:lnTo>
                  <a:lnTo>
                    <a:pt x="2020888" y="2871788"/>
                  </a:lnTo>
                  <a:lnTo>
                    <a:pt x="2020888" y="2840038"/>
                  </a:lnTo>
                  <a:lnTo>
                    <a:pt x="2063750" y="2755900"/>
                  </a:lnTo>
                  <a:lnTo>
                    <a:pt x="2101850" y="2673350"/>
                  </a:lnTo>
                  <a:lnTo>
                    <a:pt x="2176463" y="2506663"/>
                  </a:lnTo>
                  <a:lnTo>
                    <a:pt x="2214563" y="2428875"/>
                  </a:lnTo>
                  <a:lnTo>
                    <a:pt x="2255838" y="2352675"/>
                  </a:lnTo>
                  <a:lnTo>
                    <a:pt x="2303463" y="2274888"/>
                  </a:lnTo>
                  <a:lnTo>
                    <a:pt x="2330450" y="2238375"/>
                  </a:lnTo>
                  <a:lnTo>
                    <a:pt x="2357438" y="2203450"/>
                  </a:lnTo>
                  <a:lnTo>
                    <a:pt x="2482850" y="2054225"/>
                  </a:lnTo>
                  <a:lnTo>
                    <a:pt x="2613025" y="1909763"/>
                  </a:lnTo>
                  <a:lnTo>
                    <a:pt x="2743200" y="1766888"/>
                  </a:lnTo>
                  <a:lnTo>
                    <a:pt x="2874963" y="1630363"/>
                  </a:lnTo>
                  <a:lnTo>
                    <a:pt x="3138488" y="1358900"/>
                  </a:lnTo>
                  <a:lnTo>
                    <a:pt x="3267075" y="1222376"/>
                  </a:lnTo>
                  <a:lnTo>
                    <a:pt x="3394075" y="1082675"/>
                  </a:lnTo>
                  <a:lnTo>
                    <a:pt x="3430588" y="1044576"/>
                  </a:lnTo>
                  <a:lnTo>
                    <a:pt x="3468688" y="1011238"/>
                  </a:lnTo>
                  <a:lnTo>
                    <a:pt x="3508375" y="984250"/>
                  </a:lnTo>
                  <a:lnTo>
                    <a:pt x="3546475" y="963613"/>
                  </a:lnTo>
                  <a:lnTo>
                    <a:pt x="3587750" y="946150"/>
                  </a:lnTo>
                  <a:lnTo>
                    <a:pt x="3629025" y="933450"/>
                  </a:lnTo>
                  <a:lnTo>
                    <a:pt x="3671888" y="922338"/>
                  </a:lnTo>
                  <a:lnTo>
                    <a:pt x="3716338" y="915988"/>
                  </a:lnTo>
                  <a:lnTo>
                    <a:pt x="3802063" y="904875"/>
                  </a:lnTo>
                  <a:lnTo>
                    <a:pt x="3890963" y="895350"/>
                  </a:lnTo>
                  <a:lnTo>
                    <a:pt x="3932238" y="889000"/>
                  </a:lnTo>
                  <a:lnTo>
                    <a:pt x="3976688" y="881063"/>
                  </a:lnTo>
                  <a:lnTo>
                    <a:pt x="4022725" y="871538"/>
                  </a:lnTo>
                  <a:lnTo>
                    <a:pt x="4064000" y="860425"/>
                  </a:lnTo>
                  <a:lnTo>
                    <a:pt x="4090988" y="857250"/>
                  </a:lnTo>
                  <a:lnTo>
                    <a:pt x="4117975" y="854075"/>
                  </a:lnTo>
                  <a:lnTo>
                    <a:pt x="4143375" y="844550"/>
                  </a:lnTo>
                  <a:lnTo>
                    <a:pt x="4170363" y="836613"/>
                  </a:lnTo>
                  <a:lnTo>
                    <a:pt x="4191000" y="823913"/>
                  </a:lnTo>
                  <a:lnTo>
                    <a:pt x="4214813" y="812801"/>
                  </a:lnTo>
                  <a:lnTo>
                    <a:pt x="4233863" y="796926"/>
                  </a:lnTo>
                  <a:lnTo>
                    <a:pt x="4248150" y="785813"/>
                  </a:lnTo>
                  <a:lnTo>
                    <a:pt x="3876675" y="785813"/>
                  </a:lnTo>
                  <a:lnTo>
                    <a:pt x="3906838" y="728663"/>
                  </a:lnTo>
                  <a:lnTo>
                    <a:pt x="3938588" y="677863"/>
                  </a:lnTo>
                  <a:lnTo>
                    <a:pt x="3971925" y="630238"/>
                  </a:lnTo>
                  <a:lnTo>
                    <a:pt x="4006850" y="585788"/>
                  </a:lnTo>
                  <a:lnTo>
                    <a:pt x="4046538" y="544513"/>
                  </a:lnTo>
                  <a:lnTo>
                    <a:pt x="4084638" y="506413"/>
                  </a:lnTo>
                  <a:lnTo>
                    <a:pt x="4125913" y="466725"/>
                  </a:lnTo>
                  <a:lnTo>
                    <a:pt x="4170363" y="434975"/>
                  </a:lnTo>
                  <a:lnTo>
                    <a:pt x="4211638" y="401638"/>
                  </a:lnTo>
                  <a:lnTo>
                    <a:pt x="4259263" y="373063"/>
                  </a:lnTo>
                  <a:lnTo>
                    <a:pt x="4303713" y="342900"/>
                  </a:lnTo>
                  <a:lnTo>
                    <a:pt x="4351338" y="315913"/>
                  </a:lnTo>
                  <a:lnTo>
                    <a:pt x="4446588" y="268288"/>
                  </a:lnTo>
                  <a:lnTo>
                    <a:pt x="4545013" y="223838"/>
                  </a:lnTo>
                  <a:lnTo>
                    <a:pt x="4654550" y="193675"/>
                  </a:lnTo>
                  <a:lnTo>
                    <a:pt x="4768850" y="163513"/>
                  </a:lnTo>
                  <a:lnTo>
                    <a:pt x="4991101" y="98425"/>
                  </a:lnTo>
                  <a:lnTo>
                    <a:pt x="5100638" y="69850"/>
                  </a:lnTo>
                  <a:lnTo>
                    <a:pt x="5213351" y="39688"/>
                  </a:lnTo>
                  <a:lnTo>
                    <a:pt x="5324476" y="19050"/>
                  </a:lnTo>
                  <a:close/>
                </a:path>
              </a:pathLst>
            </a:custGeom>
            <a:solidFill>
              <a:srgbClr val="FFFFFF"/>
            </a:solidFill>
            <a:ln w="6350">
              <a:noFill/>
            </a:ln>
          </p:spPr>
          <p:txBody>
            <a:bodyPr vert="horz" wrap="square" lIns="84006" tIns="42003" rIns="84006" bIns="42003" numCol="1" anchor="t" anchorCtr="0" compatLnSpc="1">
              <a:prstTxWarp prst="textNoShape">
                <a:avLst/>
              </a:prstTxWarp>
            </a:bodyPr>
            <a:lstStyle/>
            <a:p>
              <a:pPr defTabSz="839987">
                <a:defRPr/>
              </a:pPr>
              <a:endParaRPr lang="en-US" sz="1469" kern="0" dirty="0">
                <a:solidFill>
                  <a:srgbClr val="FFFFFF"/>
                </a:solidFill>
                <a:latin typeface="Segoe UI"/>
              </a:endParaRPr>
            </a:p>
          </p:txBody>
        </p:sp>
        <p:sp>
          <p:nvSpPr>
            <p:cNvPr id="441" name="Freeform 440"/>
            <p:cNvSpPr/>
            <p:nvPr/>
          </p:nvSpPr>
          <p:spPr bwMode="auto">
            <a:xfrm flipH="1">
              <a:off x="6027271" y="2521823"/>
              <a:ext cx="267252" cy="282819"/>
            </a:xfrm>
            <a:custGeom>
              <a:avLst/>
              <a:gdLst>
                <a:gd name="connsiteX0" fmla="*/ 1820774 w 3146654"/>
                <a:gd name="connsiteY0" fmla="*/ 396240 h 3329940"/>
                <a:gd name="connsiteX1" fmla="*/ 1820774 w 3146654"/>
                <a:gd name="connsiteY1" fmla="*/ 1062990 h 3329940"/>
                <a:gd name="connsiteX2" fmla="*/ 2760574 w 3146654"/>
                <a:gd name="connsiteY2" fmla="*/ 2815590 h 3329940"/>
                <a:gd name="connsiteX3" fmla="*/ 2722474 w 3146654"/>
                <a:gd name="connsiteY3" fmla="*/ 2923540 h 3329940"/>
                <a:gd name="connsiteX4" fmla="*/ 2455774 w 3146654"/>
                <a:gd name="connsiteY4" fmla="*/ 2923540 h 3329940"/>
                <a:gd name="connsiteX5" fmla="*/ 1693774 w 3146654"/>
                <a:gd name="connsiteY5" fmla="*/ 1418590 h 3329940"/>
                <a:gd name="connsiteX6" fmla="*/ 1141324 w 3146654"/>
                <a:gd name="connsiteY6" fmla="*/ 1418590 h 3329940"/>
                <a:gd name="connsiteX7" fmla="*/ 1331824 w 3146654"/>
                <a:gd name="connsiteY7" fmla="*/ 999490 h 3329940"/>
                <a:gd name="connsiteX8" fmla="*/ 1331824 w 3146654"/>
                <a:gd name="connsiteY8" fmla="*/ 396240 h 3329940"/>
                <a:gd name="connsiteX9" fmla="*/ 2415134 w 3146654"/>
                <a:gd name="connsiteY9" fmla="*/ 0 h 3329940"/>
                <a:gd name="connsiteX10" fmla="*/ 2369414 w 3146654"/>
                <a:gd name="connsiteY10" fmla="*/ 0 h 3329940"/>
                <a:gd name="connsiteX11" fmla="*/ 1607414 w 3146654"/>
                <a:gd name="connsiteY11" fmla="*/ 0 h 3329940"/>
                <a:gd name="connsiteX12" fmla="*/ 1584960 w 3146654"/>
                <a:gd name="connsiteY12" fmla="*/ 0 h 3329940"/>
                <a:gd name="connsiteX13" fmla="*/ 1561694 w 3146654"/>
                <a:gd name="connsiteY13" fmla="*/ 0 h 3329940"/>
                <a:gd name="connsiteX14" fmla="*/ 1539240 w 3146654"/>
                <a:gd name="connsiteY14" fmla="*/ 0 h 3329940"/>
                <a:gd name="connsiteX15" fmla="*/ 777240 w 3146654"/>
                <a:gd name="connsiteY15" fmla="*/ 0 h 3329940"/>
                <a:gd name="connsiteX16" fmla="*/ 731520 w 3146654"/>
                <a:gd name="connsiteY16" fmla="*/ 0 h 3329940"/>
                <a:gd name="connsiteX17" fmla="*/ 731520 w 3146654"/>
                <a:gd name="connsiteY17" fmla="*/ 381000 h 3329940"/>
                <a:gd name="connsiteX18" fmla="*/ 784860 w 3146654"/>
                <a:gd name="connsiteY18" fmla="*/ 381000 h 3329940"/>
                <a:gd name="connsiteX19" fmla="*/ 960120 w 3146654"/>
                <a:gd name="connsiteY19" fmla="*/ 381000 h 3329940"/>
                <a:gd name="connsiteX20" fmla="*/ 960120 w 3146654"/>
                <a:gd name="connsiteY20" fmla="*/ 899160 h 3329940"/>
                <a:gd name="connsiteX21" fmla="*/ 0 w 3146654"/>
                <a:gd name="connsiteY21" fmla="*/ 2834640 h 3329940"/>
                <a:gd name="connsiteX22" fmla="*/ 297180 w 3146654"/>
                <a:gd name="connsiteY22" fmla="*/ 3329940 h 3329940"/>
                <a:gd name="connsiteX23" fmla="*/ 1561694 w 3146654"/>
                <a:gd name="connsiteY23" fmla="*/ 3329940 h 3329940"/>
                <a:gd name="connsiteX24" fmla="*/ 1584960 w 3146654"/>
                <a:gd name="connsiteY24" fmla="*/ 3329940 h 3329940"/>
                <a:gd name="connsiteX25" fmla="*/ 2849474 w 3146654"/>
                <a:gd name="connsiteY25" fmla="*/ 3329940 h 3329940"/>
                <a:gd name="connsiteX26" fmla="*/ 3146654 w 3146654"/>
                <a:gd name="connsiteY26" fmla="*/ 2834640 h 3329940"/>
                <a:gd name="connsiteX27" fmla="*/ 2186534 w 3146654"/>
                <a:gd name="connsiteY27" fmla="*/ 899160 h 3329940"/>
                <a:gd name="connsiteX28" fmla="*/ 2186534 w 3146654"/>
                <a:gd name="connsiteY28" fmla="*/ 381000 h 3329940"/>
                <a:gd name="connsiteX29" fmla="*/ 2361794 w 3146654"/>
                <a:gd name="connsiteY29" fmla="*/ 381000 h 3329940"/>
                <a:gd name="connsiteX30" fmla="*/ 2415134 w 3146654"/>
                <a:gd name="connsiteY30" fmla="*/ 381000 h 332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46654" h="3329940">
                  <a:moveTo>
                    <a:pt x="1820774" y="396240"/>
                  </a:moveTo>
                  <a:lnTo>
                    <a:pt x="1820774" y="1062990"/>
                  </a:lnTo>
                  <a:lnTo>
                    <a:pt x="2760574" y="2815590"/>
                  </a:lnTo>
                  <a:lnTo>
                    <a:pt x="2722474" y="2923540"/>
                  </a:lnTo>
                  <a:lnTo>
                    <a:pt x="2455774" y="2923540"/>
                  </a:lnTo>
                  <a:lnTo>
                    <a:pt x="1693774" y="1418590"/>
                  </a:lnTo>
                  <a:lnTo>
                    <a:pt x="1141324" y="1418590"/>
                  </a:lnTo>
                  <a:lnTo>
                    <a:pt x="1331824" y="999490"/>
                  </a:lnTo>
                  <a:lnTo>
                    <a:pt x="1331824" y="396240"/>
                  </a:lnTo>
                  <a:close/>
                  <a:moveTo>
                    <a:pt x="2415134" y="0"/>
                  </a:moveTo>
                  <a:lnTo>
                    <a:pt x="2369414" y="0"/>
                  </a:lnTo>
                  <a:lnTo>
                    <a:pt x="1607414" y="0"/>
                  </a:lnTo>
                  <a:lnTo>
                    <a:pt x="1584960" y="0"/>
                  </a:lnTo>
                  <a:lnTo>
                    <a:pt x="1561694" y="0"/>
                  </a:lnTo>
                  <a:lnTo>
                    <a:pt x="1539240" y="0"/>
                  </a:lnTo>
                  <a:lnTo>
                    <a:pt x="777240" y="0"/>
                  </a:lnTo>
                  <a:lnTo>
                    <a:pt x="731520" y="0"/>
                  </a:lnTo>
                  <a:lnTo>
                    <a:pt x="731520" y="381000"/>
                  </a:lnTo>
                  <a:lnTo>
                    <a:pt x="784860" y="381000"/>
                  </a:lnTo>
                  <a:lnTo>
                    <a:pt x="960120" y="381000"/>
                  </a:lnTo>
                  <a:lnTo>
                    <a:pt x="960120" y="899160"/>
                  </a:lnTo>
                  <a:lnTo>
                    <a:pt x="0" y="2834640"/>
                  </a:lnTo>
                  <a:lnTo>
                    <a:pt x="297180" y="3329940"/>
                  </a:lnTo>
                  <a:lnTo>
                    <a:pt x="1561694" y="3329940"/>
                  </a:lnTo>
                  <a:lnTo>
                    <a:pt x="1584960" y="3329940"/>
                  </a:lnTo>
                  <a:lnTo>
                    <a:pt x="2849474" y="3329940"/>
                  </a:lnTo>
                  <a:lnTo>
                    <a:pt x="3146654" y="2834640"/>
                  </a:lnTo>
                  <a:lnTo>
                    <a:pt x="2186534" y="899160"/>
                  </a:lnTo>
                  <a:lnTo>
                    <a:pt x="2186534" y="381000"/>
                  </a:lnTo>
                  <a:lnTo>
                    <a:pt x="2361794" y="381000"/>
                  </a:lnTo>
                  <a:lnTo>
                    <a:pt x="2415134" y="381000"/>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4006" tIns="42003" rIns="84006" bIns="42003" numCol="1" spcCol="0" rtlCol="0" fromWordArt="0" anchor="ctr" anchorCtr="0" forceAA="0" compatLnSpc="1">
              <a:prstTxWarp prst="textNoShape">
                <a:avLst/>
              </a:prstTxWarp>
              <a:noAutofit/>
            </a:bodyPr>
            <a:lstStyle/>
            <a:p>
              <a:pPr algn="ctr" defTabSz="856588" fontAlgn="base">
                <a:spcBef>
                  <a:spcPct val="0"/>
                </a:spcBef>
                <a:spcAft>
                  <a:spcPct val="0"/>
                </a:spcAft>
                <a:defRPr/>
              </a:pPr>
              <a:endParaRPr lang="en-US" sz="2205" kern="0" dirty="0">
                <a:solidFill>
                  <a:srgbClr val="FFFFFF"/>
                </a:solidFill>
                <a:latin typeface="Segoe UI"/>
                <a:ea typeface="Segoe UI" pitchFamily="34" charset="0"/>
                <a:cs typeface="Segoe UI" pitchFamily="34" charset="0"/>
              </a:endParaRPr>
            </a:p>
          </p:txBody>
        </p:sp>
      </p:grpSp>
      <p:grpSp>
        <p:nvGrpSpPr>
          <p:cNvPr id="449" name="Group 448"/>
          <p:cNvGrpSpPr/>
          <p:nvPr/>
        </p:nvGrpSpPr>
        <p:grpSpPr>
          <a:xfrm>
            <a:off x="4193354" y="1709812"/>
            <a:ext cx="1596114" cy="3846965"/>
            <a:chOff x="4043785" y="1657049"/>
            <a:chExt cx="1737360" cy="4187396"/>
          </a:xfrm>
        </p:grpSpPr>
        <p:sp>
          <p:nvSpPr>
            <p:cNvPr id="450" name="Rectangle 449"/>
            <p:cNvSpPr/>
            <p:nvPr/>
          </p:nvSpPr>
          <p:spPr bwMode="auto">
            <a:xfrm>
              <a:off x="4043785" y="1657049"/>
              <a:ext cx="1737360" cy="4187396"/>
            </a:xfrm>
            <a:prstGeom prst="rect">
              <a:avLst/>
            </a:prstGeom>
            <a:solidFill>
              <a:schemeClr val="accent4">
                <a:lumMod val="60000"/>
                <a:lumOff val="40000"/>
              </a:schemeClr>
            </a:solidFill>
            <a:ln w="3175">
              <a:noFill/>
            </a:ln>
            <a:effectLst/>
          </p:spPr>
          <p:txBody>
            <a:bodyPr spcFirstLastPara="0" vert="horz" wrap="square" lIns="16795" tIns="84006" rIns="16795" bIns="83970" numCol="1" spcCol="1270" anchor="t" anchorCtr="0">
              <a:noAutofit/>
            </a:bodyPr>
            <a:lstStyle/>
            <a:p>
              <a:pPr algn="ctr" defTabSz="666011">
                <a:spcBef>
                  <a:spcPct val="0"/>
                </a:spcBef>
                <a:spcAft>
                  <a:spcPct val="35000"/>
                </a:spcAft>
                <a:defRPr/>
              </a:pPr>
              <a:r>
                <a:rPr lang="en-US" sz="1286" kern="0" dirty="0">
                  <a:solidFill>
                    <a:srgbClr val="FFFFFF"/>
                  </a:solidFill>
                  <a:latin typeface="Segoe UI Semibold" panose="020B0702040204020203" pitchFamily="34" charset="0"/>
                  <a:cs typeface="Segoe UI Semibold" panose="020B0702040204020203" pitchFamily="34" charset="0"/>
                </a:rPr>
                <a:t>Big Data Stores</a:t>
              </a:r>
            </a:p>
          </p:txBody>
        </p:sp>
        <p:sp>
          <p:nvSpPr>
            <p:cNvPr id="451" name="Rectangle 450"/>
            <p:cNvSpPr/>
            <p:nvPr/>
          </p:nvSpPr>
          <p:spPr>
            <a:xfrm>
              <a:off x="4508692" y="3055939"/>
              <a:ext cx="1271016" cy="437081"/>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SQL Data </a:t>
              </a:r>
            </a:p>
            <a:p>
              <a:pPr defTabSz="839987"/>
              <a:r>
                <a:rPr lang="en-US" sz="1011" kern="0" dirty="0">
                  <a:solidFill>
                    <a:srgbClr val="FFFFFF"/>
                  </a:solidFill>
                  <a:latin typeface="Segoe UI"/>
                  <a:cs typeface="Segoe UI Semilight" panose="020B0402040204020203" pitchFamily="34" charset="0"/>
                </a:rPr>
                <a:t>Warehouse</a:t>
              </a:r>
            </a:p>
          </p:txBody>
        </p:sp>
        <p:sp>
          <p:nvSpPr>
            <p:cNvPr id="452" name="Rectangle 451"/>
            <p:cNvSpPr/>
            <p:nvPr/>
          </p:nvSpPr>
          <p:spPr>
            <a:xfrm>
              <a:off x="4494875" y="2528227"/>
              <a:ext cx="1271016" cy="267805"/>
            </a:xfrm>
            <a:prstGeom prst="rect">
              <a:avLst/>
            </a:prstGeom>
          </p:spPr>
          <p:txBody>
            <a:bodyPr wrap="square">
              <a:spAutoFit/>
            </a:bodyPr>
            <a:lstStyle/>
            <a:p>
              <a:pPr defTabSz="839987"/>
              <a:r>
                <a:rPr lang="en-US" sz="1011" kern="0" dirty="0">
                  <a:solidFill>
                    <a:srgbClr val="FFFFFF"/>
                  </a:solidFill>
                  <a:latin typeface="Segoe UI"/>
                  <a:cs typeface="Segoe UI Semilight" panose="020B0402040204020203" pitchFamily="34" charset="0"/>
                </a:rPr>
                <a:t>Data Lake Store</a:t>
              </a:r>
            </a:p>
          </p:txBody>
        </p:sp>
        <p:grpSp>
          <p:nvGrpSpPr>
            <p:cNvPr id="453" name="Group 452"/>
            <p:cNvGrpSpPr/>
            <p:nvPr/>
          </p:nvGrpSpPr>
          <p:grpSpPr>
            <a:xfrm>
              <a:off x="4186343" y="2533436"/>
              <a:ext cx="251192" cy="251192"/>
              <a:chOff x="4068192" y="3363795"/>
              <a:chExt cx="324957" cy="324957"/>
            </a:xfrm>
          </p:grpSpPr>
          <p:sp>
            <p:nvSpPr>
              <p:cNvPr id="457" name="Rounded Rectangle 456"/>
              <p:cNvSpPr/>
              <p:nvPr/>
            </p:nvSpPr>
            <p:spPr bwMode="auto">
              <a:xfrm>
                <a:off x="4068192" y="3363795"/>
                <a:ext cx="324957" cy="324957"/>
              </a:xfrm>
              <a:prstGeom prst="round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8" name="Rectangle 457"/>
              <p:cNvSpPr/>
              <p:nvPr/>
            </p:nvSpPr>
            <p:spPr bwMode="auto">
              <a:xfrm>
                <a:off x="4106551"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9" name="Rectangle 458"/>
              <p:cNvSpPr/>
              <p:nvPr/>
            </p:nvSpPr>
            <p:spPr bwMode="auto">
              <a:xfrm>
                <a:off x="4245904" y="3401141"/>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0" name="Oval 459"/>
              <p:cNvSpPr/>
              <p:nvPr/>
            </p:nvSpPr>
            <p:spPr bwMode="auto">
              <a:xfrm>
                <a:off x="4174625"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1" name="Oval 460"/>
              <p:cNvSpPr/>
              <p:nvPr/>
            </p:nvSpPr>
            <p:spPr bwMode="auto">
              <a:xfrm>
                <a:off x="4313978" y="3401529"/>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2" name="Rectangle 461"/>
              <p:cNvSpPr/>
              <p:nvPr/>
            </p:nvSpPr>
            <p:spPr bwMode="auto">
              <a:xfrm>
                <a:off x="4106551"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3" name="Rectangle 462"/>
              <p:cNvSpPr/>
              <p:nvPr/>
            </p:nvSpPr>
            <p:spPr bwMode="auto">
              <a:xfrm>
                <a:off x="4245904" y="3550317"/>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4" name="Oval 463"/>
              <p:cNvSpPr/>
              <p:nvPr/>
            </p:nvSpPr>
            <p:spPr bwMode="auto">
              <a:xfrm>
                <a:off x="4174625"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5" name="Oval 464"/>
              <p:cNvSpPr/>
              <p:nvPr/>
            </p:nvSpPr>
            <p:spPr bwMode="auto">
              <a:xfrm>
                <a:off x="4313978" y="3550705"/>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6" name="Rectangle 465"/>
              <p:cNvSpPr/>
              <p:nvPr/>
            </p:nvSpPr>
            <p:spPr bwMode="auto">
              <a:xfrm>
                <a:off x="4178218"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7" name="Rectangle 466"/>
              <p:cNvSpPr/>
              <p:nvPr/>
            </p:nvSpPr>
            <p:spPr bwMode="auto">
              <a:xfrm>
                <a:off x="4317571" y="3621636"/>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8" name="Oval 467"/>
              <p:cNvSpPr/>
              <p:nvPr/>
            </p:nvSpPr>
            <p:spPr bwMode="auto">
              <a:xfrm>
                <a:off x="4106939"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9" name="Oval 468"/>
              <p:cNvSpPr/>
              <p:nvPr/>
            </p:nvSpPr>
            <p:spPr bwMode="auto">
              <a:xfrm>
                <a:off x="4246293" y="362202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0" name="Rectangle 469"/>
              <p:cNvSpPr/>
              <p:nvPr/>
            </p:nvSpPr>
            <p:spPr bwMode="auto">
              <a:xfrm>
                <a:off x="4178218"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1" name="Rectangle 470"/>
              <p:cNvSpPr/>
              <p:nvPr/>
            </p:nvSpPr>
            <p:spPr bwMode="auto">
              <a:xfrm>
                <a:off x="4317571" y="3465945"/>
                <a:ext cx="43611" cy="43611"/>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2" name="Oval 471"/>
              <p:cNvSpPr/>
              <p:nvPr/>
            </p:nvSpPr>
            <p:spPr bwMode="auto">
              <a:xfrm>
                <a:off x="4106939"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3" name="Oval 472"/>
              <p:cNvSpPr/>
              <p:nvPr/>
            </p:nvSpPr>
            <p:spPr bwMode="auto">
              <a:xfrm>
                <a:off x="4246293" y="3466334"/>
                <a:ext cx="46815" cy="46816"/>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64709" tIns="131768" rIns="164709" bIns="131768" numCol="1" spcCol="0" rtlCol="0" fromWordArt="0" anchor="t" anchorCtr="0" forceAA="0" compatLnSpc="1">
                <a:prstTxWarp prst="textNoShape">
                  <a:avLst/>
                </a:prstTxWarp>
                <a:noAutofit/>
              </a:bodyPr>
              <a:lstStyle/>
              <a:p>
                <a:pPr algn="ctr" defTabSz="839713" fontAlgn="base">
                  <a:lnSpc>
                    <a:spcPct val="90000"/>
                  </a:lnSpc>
                  <a:spcBef>
                    <a:spcPct val="0"/>
                  </a:spcBef>
                  <a:spcAft>
                    <a:spcPct val="0"/>
                  </a:spcAft>
                  <a:defRPr/>
                </a:pPr>
                <a:endParaRPr lang="en-US" sz="2162"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54" name="Group 453"/>
            <p:cNvGrpSpPr/>
            <p:nvPr/>
          </p:nvGrpSpPr>
          <p:grpSpPr>
            <a:xfrm>
              <a:off x="4186988" y="3119355"/>
              <a:ext cx="248256" cy="304055"/>
              <a:chOff x="-3084513" y="3390510"/>
              <a:chExt cx="2716213" cy="3363913"/>
            </a:xfrm>
            <a:solidFill>
              <a:srgbClr val="FFFFFF"/>
            </a:solidFill>
          </p:grpSpPr>
          <p:sp>
            <p:nvSpPr>
              <p:cNvPr id="455" name="Freeform 40"/>
              <p:cNvSpPr>
                <a:spLocks noEditPoints="1"/>
              </p:cNvSpPr>
              <p:nvPr/>
            </p:nvSpPr>
            <p:spPr bwMode="auto">
              <a:xfrm>
                <a:off x="-3084513" y="3390510"/>
                <a:ext cx="2716213" cy="3363913"/>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sp>
            <p:nvSpPr>
              <p:cNvPr id="456" name="Freeform 41"/>
              <p:cNvSpPr>
                <a:spLocks/>
              </p:cNvSpPr>
              <p:nvPr/>
            </p:nvSpPr>
            <p:spPr bwMode="auto">
              <a:xfrm>
                <a:off x="-1887538" y="4916098"/>
                <a:ext cx="373063" cy="511175"/>
              </a:xfrm>
              <a:custGeom>
                <a:avLst/>
                <a:gdLst>
                  <a:gd name="T0" fmla="*/ 63 w 123"/>
                  <a:gd name="T1" fmla="*/ 0 h 168"/>
                  <a:gd name="T2" fmla="*/ 17 w 123"/>
                  <a:gd name="T3" fmla="*/ 23 h 168"/>
                  <a:gd name="T4" fmla="*/ 0 w 123"/>
                  <a:gd name="T5" fmla="*/ 84 h 168"/>
                  <a:gd name="T6" fmla="*/ 17 w 123"/>
                  <a:gd name="T7" fmla="*/ 145 h 168"/>
                  <a:gd name="T8" fmla="*/ 62 w 123"/>
                  <a:gd name="T9" fmla="*/ 168 h 168"/>
                  <a:gd name="T10" fmla="*/ 107 w 123"/>
                  <a:gd name="T11" fmla="*/ 146 h 168"/>
                  <a:gd name="T12" fmla="*/ 123 w 123"/>
                  <a:gd name="T13" fmla="*/ 85 h 168"/>
                  <a:gd name="T14" fmla="*/ 107 w 123"/>
                  <a:gd name="T15" fmla="*/ 23 h 168"/>
                  <a:gd name="T16" fmla="*/ 63 w 123"/>
                  <a:gd name="T1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68">
                    <a:moveTo>
                      <a:pt x="63" y="0"/>
                    </a:moveTo>
                    <a:cubicBezTo>
                      <a:pt x="44" y="0"/>
                      <a:pt x="29" y="8"/>
                      <a:pt x="17" y="23"/>
                    </a:cubicBezTo>
                    <a:cubicBezTo>
                      <a:pt x="6" y="39"/>
                      <a:pt x="0" y="59"/>
                      <a:pt x="0" y="84"/>
                    </a:cubicBezTo>
                    <a:cubicBezTo>
                      <a:pt x="0" y="110"/>
                      <a:pt x="6" y="130"/>
                      <a:pt x="17" y="145"/>
                    </a:cubicBezTo>
                    <a:cubicBezTo>
                      <a:pt x="28" y="160"/>
                      <a:pt x="43" y="168"/>
                      <a:pt x="62" y="168"/>
                    </a:cubicBezTo>
                    <a:cubicBezTo>
                      <a:pt x="81" y="168"/>
                      <a:pt x="96" y="160"/>
                      <a:pt x="107" y="146"/>
                    </a:cubicBezTo>
                    <a:cubicBezTo>
                      <a:pt x="118" y="131"/>
                      <a:pt x="123" y="111"/>
                      <a:pt x="123" y="85"/>
                    </a:cubicBezTo>
                    <a:cubicBezTo>
                      <a:pt x="123" y="59"/>
                      <a:pt x="118" y="38"/>
                      <a:pt x="107" y="23"/>
                    </a:cubicBezTo>
                    <a:cubicBezTo>
                      <a:pt x="97" y="8"/>
                      <a:pt x="82" y="0"/>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006" tIns="42003" rIns="84006" bIns="42003" numCol="1" anchor="t" anchorCtr="0" compatLnSpc="1">
                <a:prstTxWarp prst="textNoShape">
                  <a:avLst/>
                </a:prstTxWarp>
              </a:bodyPr>
              <a:lstStyle/>
              <a:p>
                <a:pPr defTabSz="839987">
                  <a:defRPr/>
                </a:pPr>
                <a:endParaRPr lang="en-US" sz="1654" kern="0" dirty="0">
                  <a:solidFill>
                    <a:srgbClr val="FFFFFF"/>
                  </a:solidFill>
                  <a:latin typeface="Segoe UI"/>
                </a:endParaRPr>
              </a:p>
            </p:txBody>
          </p:sp>
        </p:grpSp>
      </p:grpSp>
      <p:grpSp>
        <p:nvGrpSpPr>
          <p:cNvPr id="474" name="Group 473"/>
          <p:cNvGrpSpPr/>
          <p:nvPr/>
        </p:nvGrpSpPr>
        <p:grpSpPr>
          <a:xfrm>
            <a:off x="1226046" y="1718212"/>
            <a:ext cx="1412538" cy="4236966"/>
            <a:chOff x="813890" y="1666194"/>
            <a:chExt cx="1537539" cy="4611909"/>
          </a:xfrm>
        </p:grpSpPr>
        <p:sp>
          <p:nvSpPr>
            <p:cNvPr id="475" name="TextBox 474"/>
            <p:cNvSpPr txBox="1"/>
            <p:nvPr/>
          </p:nvSpPr>
          <p:spPr>
            <a:xfrm>
              <a:off x="1261370" y="1927965"/>
              <a:ext cx="1090059" cy="563250"/>
            </a:xfrm>
            <a:prstGeom prst="rect">
              <a:avLst/>
            </a:prstGeom>
            <a:noFill/>
          </p:spPr>
          <p:txBody>
            <a:bodyPr wrap="square" lIns="0" tIns="134390" rIns="167988" bIns="134390" rtlCol="0">
              <a:noAutofit/>
            </a:bodyPr>
            <a:lstStyle/>
            <a:p>
              <a:pPr defTabSz="856672">
                <a:lnSpc>
                  <a:spcPct val="90000"/>
                </a:lnSpc>
                <a:spcAft>
                  <a:spcPts val="551"/>
                </a:spcAft>
              </a:pPr>
              <a:r>
                <a:rPr lang="en-US" sz="1102" kern="0" spc="-27" dirty="0">
                  <a:solidFill>
                    <a:srgbClr val="002050"/>
                  </a:solidFill>
                  <a:latin typeface="Segoe UI Semilight" panose="020B0402040204020203" pitchFamily="34" charset="0"/>
                  <a:cs typeface="Segoe UI Semilight" panose="020B0402040204020203" pitchFamily="34" charset="0"/>
                </a:rPr>
                <a:t>Data </a:t>
              </a:r>
              <a:br>
                <a:rPr lang="en-US" sz="1102" kern="0" spc="-27" dirty="0">
                  <a:solidFill>
                    <a:srgbClr val="002050"/>
                  </a:solidFill>
                  <a:latin typeface="Segoe UI Semilight" panose="020B0402040204020203" pitchFamily="34" charset="0"/>
                  <a:cs typeface="Segoe UI Semilight" panose="020B0402040204020203" pitchFamily="34" charset="0"/>
                </a:rPr>
              </a:br>
              <a:r>
                <a:rPr lang="en-US" sz="1102" kern="0" spc="-27" dirty="0">
                  <a:solidFill>
                    <a:srgbClr val="002050"/>
                  </a:solidFill>
                  <a:latin typeface="Segoe UI Semilight" panose="020B0402040204020203" pitchFamily="34" charset="0"/>
                  <a:cs typeface="Segoe UI Semilight" panose="020B0402040204020203" pitchFamily="34" charset="0"/>
                </a:rPr>
                <a:t>Sources</a:t>
              </a:r>
            </a:p>
          </p:txBody>
        </p:sp>
        <p:sp>
          <p:nvSpPr>
            <p:cNvPr id="476" name="TextBox 475"/>
            <p:cNvSpPr txBox="1"/>
            <p:nvPr/>
          </p:nvSpPr>
          <p:spPr>
            <a:xfrm>
              <a:off x="1214236" y="3529646"/>
              <a:ext cx="1090059" cy="579230"/>
            </a:xfrm>
            <a:prstGeom prst="rect">
              <a:avLst/>
            </a:prstGeom>
            <a:noFill/>
          </p:spPr>
          <p:txBody>
            <a:bodyPr wrap="square" lIns="0" tIns="134390" rIns="167988" bIns="134390" rtlCol="0">
              <a:noAutofit/>
            </a:bodyPr>
            <a:lstStyle/>
            <a:p>
              <a:pPr defTabSz="856672">
                <a:lnSpc>
                  <a:spcPct val="90000"/>
                </a:lnSpc>
                <a:spcBef>
                  <a:spcPct val="0"/>
                </a:spcBef>
                <a:spcAft>
                  <a:spcPts val="551"/>
                </a:spcAft>
              </a:pPr>
              <a:r>
                <a:rPr lang="en-US" sz="1102" kern="0" spc="-27" dirty="0">
                  <a:solidFill>
                    <a:srgbClr val="002050"/>
                  </a:solidFill>
                  <a:latin typeface="Segoe UI Semilight" panose="020B0402040204020203" pitchFamily="34" charset="0"/>
                  <a:cs typeface="Segoe UI Semilight" panose="020B0402040204020203" pitchFamily="34" charset="0"/>
                </a:rPr>
                <a:t>Apps</a:t>
              </a:r>
            </a:p>
          </p:txBody>
        </p:sp>
        <p:sp>
          <p:nvSpPr>
            <p:cNvPr id="477" name="TextBox 476"/>
            <p:cNvSpPr txBox="1"/>
            <p:nvPr/>
          </p:nvSpPr>
          <p:spPr>
            <a:xfrm>
              <a:off x="1261370" y="4995093"/>
              <a:ext cx="974964" cy="616531"/>
            </a:xfrm>
            <a:prstGeom prst="rect">
              <a:avLst/>
            </a:prstGeom>
            <a:noFill/>
          </p:spPr>
          <p:txBody>
            <a:bodyPr wrap="square" lIns="0" tIns="134390" rIns="167988" bIns="134390" rtlCol="0">
              <a:noAutofit/>
            </a:bodyPr>
            <a:lstStyle/>
            <a:p>
              <a:pPr defTabSz="856672">
                <a:lnSpc>
                  <a:spcPct val="90000"/>
                </a:lnSpc>
                <a:spcBef>
                  <a:spcPct val="0"/>
                </a:spcBef>
                <a:spcAft>
                  <a:spcPts val="551"/>
                </a:spcAft>
              </a:pPr>
              <a:r>
                <a:rPr lang="en-US" sz="1102" kern="0" spc="-27" dirty="0">
                  <a:solidFill>
                    <a:srgbClr val="002050"/>
                  </a:solidFill>
                  <a:latin typeface="Segoe UI Semilight" panose="020B0402040204020203" pitchFamily="34" charset="0"/>
                  <a:cs typeface="Segoe UI Semilight" panose="020B0402040204020203" pitchFamily="34" charset="0"/>
                </a:rPr>
                <a:t>Sensors </a:t>
              </a:r>
              <a:br>
                <a:rPr lang="en-US" sz="1102" kern="0" spc="-27" dirty="0">
                  <a:solidFill>
                    <a:srgbClr val="002050"/>
                  </a:solidFill>
                  <a:latin typeface="Segoe UI Semilight" panose="020B0402040204020203" pitchFamily="34" charset="0"/>
                  <a:cs typeface="Segoe UI Semilight" panose="020B0402040204020203" pitchFamily="34" charset="0"/>
                </a:rPr>
              </a:br>
              <a:r>
                <a:rPr lang="en-US" sz="1102" kern="0" spc="-27" dirty="0">
                  <a:solidFill>
                    <a:srgbClr val="002050"/>
                  </a:solidFill>
                  <a:latin typeface="Segoe UI Semilight" panose="020B0402040204020203" pitchFamily="34" charset="0"/>
                  <a:cs typeface="Segoe UI Semilight" panose="020B0402040204020203" pitchFamily="34" charset="0"/>
                </a:rPr>
                <a:t>and </a:t>
              </a:r>
              <a:br>
                <a:rPr lang="en-US" sz="1102" kern="0" spc="-27" dirty="0">
                  <a:solidFill>
                    <a:srgbClr val="002050"/>
                  </a:solidFill>
                  <a:latin typeface="Segoe UI Semilight" panose="020B0402040204020203" pitchFamily="34" charset="0"/>
                  <a:cs typeface="Segoe UI Semilight" panose="020B0402040204020203" pitchFamily="34" charset="0"/>
                </a:rPr>
              </a:br>
              <a:r>
                <a:rPr lang="en-US" sz="1102" kern="0" spc="-27" dirty="0">
                  <a:solidFill>
                    <a:srgbClr val="002050"/>
                  </a:solidFill>
                  <a:latin typeface="Segoe UI Semilight" panose="020B0402040204020203" pitchFamily="34" charset="0"/>
                  <a:cs typeface="Segoe UI Semilight" panose="020B0402040204020203" pitchFamily="34" charset="0"/>
                </a:rPr>
                <a:t>devices</a:t>
              </a:r>
            </a:p>
          </p:txBody>
        </p:sp>
        <p:sp>
          <p:nvSpPr>
            <p:cNvPr id="478" name="Rectangle 477"/>
            <p:cNvSpPr/>
            <p:nvPr/>
          </p:nvSpPr>
          <p:spPr>
            <a:xfrm>
              <a:off x="813890" y="5956959"/>
              <a:ext cx="933597" cy="321144"/>
            </a:xfrm>
            <a:prstGeom prst="rect">
              <a:avLst/>
            </a:prstGeom>
          </p:spPr>
          <p:txBody>
            <a:bodyPr wrap="none" lIns="0" tIns="0" rIns="0" bIns="0" anchor="ctr">
              <a:noAutofit/>
            </a:bodyPr>
            <a:lstStyle/>
            <a:p>
              <a:pPr defTabSz="839987">
                <a:lnSpc>
                  <a:spcPct val="90000"/>
                </a:lnSpc>
              </a:pPr>
              <a:r>
                <a:rPr lang="en-US" sz="2205" kern="0" dirty="0">
                  <a:solidFill>
                    <a:srgbClr val="002050"/>
                  </a:solidFill>
                  <a:latin typeface="Segoe UI Light"/>
                </a:rPr>
                <a:t>Data</a:t>
              </a:r>
            </a:p>
          </p:txBody>
        </p:sp>
        <p:grpSp>
          <p:nvGrpSpPr>
            <p:cNvPr id="479" name="Group 478"/>
            <p:cNvGrpSpPr/>
            <p:nvPr/>
          </p:nvGrpSpPr>
          <p:grpSpPr>
            <a:xfrm>
              <a:off x="1789019" y="1666194"/>
              <a:ext cx="308472" cy="4199169"/>
              <a:chOff x="1776319" y="1369399"/>
              <a:chExt cx="308472" cy="3830198"/>
            </a:xfrm>
          </p:grpSpPr>
          <p:sp>
            <p:nvSpPr>
              <p:cNvPr id="494" name="Freeform 493"/>
              <p:cNvSpPr/>
              <p:nvPr/>
            </p:nvSpPr>
            <p:spPr bwMode="auto">
              <a:xfrm>
                <a:off x="1960934" y="1369399"/>
                <a:ext cx="123857" cy="3830198"/>
              </a:xfrm>
              <a:custGeom>
                <a:avLst/>
                <a:gdLst>
                  <a:gd name="connsiteX0" fmla="*/ 247650 w 247650"/>
                  <a:gd name="connsiteY0" fmla="*/ 0 h 295275"/>
                  <a:gd name="connsiteX1" fmla="*/ 0 w 247650"/>
                  <a:gd name="connsiteY1" fmla="*/ 0 h 295275"/>
                  <a:gd name="connsiteX2" fmla="*/ 0 w 247650"/>
                  <a:gd name="connsiteY2" fmla="*/ 295275 h 295275"/>
                  <a:gd name="connsiteX3" fmla="*/ 238125 w 247650"/>
                  <a:gd name="connsiteY3" fmla="*/ 295275 h 295275"/>
                </a:gdLst>
                <a:ahLst/>
                <a:cxnLst>
                  <a:cxn ang="0">
                    <a:pos x="connsiteX0" y="connsiteY0"/>
                  </a:cxn>
                  <a:cxn ang="0">
                    <a:pos x="connsiteX1" y="connsiteY1"/>
                  </a:cxn>
                  <a:cxn ang="0">
                    <a:pos x="connsiteX2" y="connsiteY2"/>
                  </a:cxn>
                  <a:cxn ang="0">
                    <a:pos x="connsiteX3" y="connsiteY3"/>
                  </a:cxn>
                </a:cxnLst>
                <a:rect l="l" t="t" r="r" b="b"/>
                <a:pathLst>
                  <a:path w="247650" h="295275">
                    <a:moveTo>
                      <a:pt x="247650" y="0"/>
                    </a:moveTo>
                    <a:lnTo>
                      <a:pt x="0" y="0"/>
                    </a:lnTo>
                    <a:lnTo>
                      <a:pt x="0" y="295275"/>
                    </a:lnTo>
                    <a:lnTo>
                      <a:pt x="238125" y="295275"/>
                    </a:lnTo>
                  </a:path>
                </a:pathLst>
              </a:custGeom>
              <a:noFill/>
              <a:ln w="12700" cap="flat" cmpd="sng" algn="ctr">
                <a:solidFill>
                  <a:srgbClr val="0078D7"/>
                </a:solidFill>
                <a:prstDash val="solid"/>
                <a:headEnd type="none" w="med" len="med"/>
                <a:tailEnd type="none" w="med" len="med"/>
              </a:ln>
              <a:effectLst/>
            </p:spPr>
            <p:txBody>
              <a:bodyPr rtlCol="0" anchor="ctr"/>
              <a:lstStyle/>
              <a:p>
                <a:pPr algn="ctr" defTabSz="839987">
                  <a:defRPr/>
                </a:pPr>
                <a:endParaRPr lang="en-US" sz="1654" kern="0" dirty="0">
                  <a:solidFill>
                    <a:srgbClr val="FFFFFF"/>
                  </a:solidFill>
                  <a:latin typeface="Segoe UI"/>
                </a:endParaRPr>
              </a:p>
            </p:txBody>
          </p:sp>
          <p:cxnSp>
            <p:nvCxnSpPr>
              <p:cNvPr id="495" name="Straight Connector 494"/>
              <p:cNvCxnSpPr/>
              <p:nvPr/>
            </p:nvCxnSpPr>
            <p:spPr>
              <a:xfrm>
                <a:off x="1776319" y="3284498"/>
                <a:ext cx="308472" cy="0"/>
              </a:xfrm>
              <a:prstGeom prst="line">
                <a:avLst/>
              </a:prstGeom>
              <a:noFill/>
              <a:ln w="12700" cap="flat" cmpd="sng" algn="ctr">
                <a:solidFill>
                  <a:srgbClr val="0078D7"/>
                </a:solidFill>
                <a:prstDash val="solid"/>
                <a:headEnd type="none"/>
                <a:tailEnd type="none"/>
              </a:ln>
              <a:effectLst/>
            </p:spPr>
          </p:cxnSp>
        </p:grpSp>
      </p:grpSp>
      <p:pic>
        <p:nvPicPr>
          <p:cNvPr id="496" name="Picture 4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8699" y="3236349"/>
            <a:ext cx="679287" cy="794810"/>
          </a:xfrm>
          <a:prstGeom prst="rect">
            <a:avLst/>
          </a:prstGeom>
        </p:spPr>
      </p:pic>
      <p:pic>
        <p:nvPicPr>
          <p:cNvPr id="497" name="Picture 4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31702" y="4712460"/>
            <a:ext cx="658980" cy="771052"/>
          </a:xfrm>
          <a:prstGeom prst="rect">
            <a:avLst/>
          </a:prstGeom>
        </p:spPr>
      </p:pic>
      <p:pic>
        <p:nvPicPr>
          <p:cNvPr id="498" name="Picture 4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1829" y="1896948"/>
            <a:ext cx="600185" cy="702256"/>
          </a:xfrm>
          <a:prstGeom prst="rect">
            <a:avLst/>
          </a:prstGeom>
        </p:spPr>
      </p:pic>
      <p:sp>
        <p:nvSpPr>
          <p:cNvPr id="2" name="Rectangle 1"/>
          <p:cNvSpPr/>
          <p:nvPr/>
        </p:nvSpPr>
        <p:spPr>
          <a:xfrm>
            <a:off x="1224609" y="6199877"/>
            <a:ext cx="9691123" cy="350128"/>
          </a:xfrm>
          <a:prstGeom prst="rect">
            <a:avLst/>
          </a:prstGeom>
        </p:spPr>
        <p:txBody>
          <a:bodyPr wrap="square">
            <a:spAutoFit/>
          </a:bodyPr>
          <a:lstStyle/>
          <a:p>
            <a:pPr defTabSz="914367"/>
            <a:r>
              <a:rPr lang="fr-FR" sz="1687" dirty="0">
                <a:solidFill>
                  <a:srgbClr val="505050"/>
                </a:solidFill>
                <a:latin typeface="Segoe UI"/>
                <a:hlinkClick r:id="rId6"/>
              </a:rPr>
              <a:t>http://www.microsoft.com/en-us/server-cloud/cortana-intelligence-suite</a:t>
            </a:r>
            <a:endParaRPr lang="fr-FR" sz="1687" dirty="0">
              <a:solidFill>
                <a:srgbClr val="505050"/>
              </a:solidFill>
              <a:latin typeface="Segoe UI"/>
            </a:endParaRPr>
          </a:p>
        </p:txBody>
      </p:sp>
    </p:spTree>
    <p:extLst>
      <p:ext uri="{BB962C8B-B14F-4D97-AF65-F5344CB8AC3E}">
        <p14:creationId xmlns:p14="http://schemas.microsoft.com/office/powerpoint/2010/main" val="1110084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74"/>
                                        </p:tgtEl>
                                        <p:attrNameLst>
                                          <p:attrName>style.visibility</p:attrName>
                                        </p:attrNameLst>
                                      </p:cBhvr>
                                      <p:to>
                                        <p:strVal val="visible"/>
                                      </p:to>
                                    </p:set>
                                    <p:animEffect transition="in" filter="fade">
                                      <p:cBhvr>
                                        <p:cTn id="7" dur="500"/>
                                        <p:tgtEl>
                                          <p:spTgt spid="47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16"/>
                                        </p:tgtEl>
                                        <p:attrNameLst>
                                          <p:attrName>style.visibility</p:attrName>
                                        </p:attrNameLst>
                                      </p:cBhvr>
                                      <p:to>
                                        <p:strVal val="visible"/>
                                      </p:to>
                                    </p:set>
                                    <p:animEffect transition="in" filter="fade">
                                      <p:cBhvr>
                                        <p:cTn id="11" dur="500"/>
                                        <p:tgtEl>
                                          <p:spTgt spid="41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49"/>
                                        </p:tgtEl>
                                        <p:attrNameLst>
                                          <p:attrName>style.visibility</p:attrName>
                                        </p:attrNameLst>
                                      </p:cBhvr>
                                      <p:to>
                                        <p:strVal val="visible"/>
                                      </p:to>
                                    </p:set>
                                    <p:animEffect transition="in" filter="fade">
                                      <p:cBhvr>
                                        <p:cTn id="15" dur="500"/>
                                        <p:tgtEl>
                                          <p:spTgt spid="44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31"/>
                                        </p:tgtEl>
                                        <p:attrNameLst>
                                          <p:attrName>style.visibility</p:attrName>
                                        </p:attrNameLst>
                                      </p:cBhvr>
                                      <p:to>
                                        <p:strVal val="visible"/>
                                      </p:to>
                                    </p:set>
                                    <p:animEffect transition="in" filter="fade">
                                      <p:cBhvr>
                                        <p:cTn id="19" dur="500"/>
                                        <p:tgtEl>
                                          <p:spTgt spid="43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91"/>
                                        </p:tgtEl>
                                        <p:attrNameLst>
                                          <p:attrName>style.visibility</p:attrName>
                                        </p:attrNameLst>
                                      </p:cBhvr>
                                      <p:to>
                                        <p:strVal val="visible"/>
                                      </p:to>
                                    </p:set>
                                    <p:animEffect transition="in" filter="fade">
                                      <p:cBhvr>
                                        <p:cTn id="23" dur="500"/>
                                        <p:tgtEl>
                                          <p:spTgt spid="39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64"/>
                                        </p:tgtEl>
                                        <p:attrNameLst>
                                          <p:attrName>style.visibility</p:attrName>
                                        </p:attrNameLst>
                                      </p:cBhvr>
                                      <p:to>
                                        <p:strVal val="visible"/>
                                      </p:to>
                                    </p:set>
                                    <p:animEffect transition="in" filter="fade">
                                      <p:cBhvr>
                                        <p:cTn id="27" dur="500"/>
                                        <p:tgtEl>
                                          <p:spTgt spid="3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865" y="1188280"/>
            <a:ext cx="12190271" cy="5668748"/>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Machine Learning services in the cloud	</a:t>
            </a:r>
          </a:p>
        </p:txBody>
      </p:sp>
      <p:grpSp>
        <p:nvGrpSpPr>
          <p:cNvPr id="11" name="Group 10"/>
          <p:cNvGrpSpPr/>
          <p:nvPr/>
        </p:nvGrpSpPr>
        <p:grpSpPr>
          <a:xfrm>
            <a:off x="4782429" y="2615435"/>
            <a:ext cx="3323840" cy="448149"/>
            <a:chOff x="6370637" y="2393534"/>
            <a:chExt cx="3390972" cy="457200"/>
          </a:xfrm>
        </p:grpSpPr>
        <p:sp>
          <p:nvSpPr>
            <p:cNvPr id="12" name="Right Arrow 11"/>
            <p:cNvSpPr/>
            <p:nvPr/>
          </p:nvSpPr>
          <p:spPr bwMode="auto">
            <a:xfrm>
              <a:off x="6370637" y="2393534"/>
              <a:ext cx="914400" cy="457200"/>
            </a:xfrm>
            <a:prstGeom prst="rightArrow">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kern="0"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TextBox 12"/>
            <p:cNvSpPr txBox="1"/>
            <p:nvPr/>
          </p:nvSpPr>
          <p:spPr>
            <a:xfrm>
              <a:off x="7450817" y="2437433"/>
              <a:ext cx="2310792" cy="369400"/>
            </a:xfrm>
            <a:prstGeom prst="rect">
              <a:avLst/>
            </a:prstGeom>
            <a:noFill/>
          </p:spPr>
          <p:txBody>
            <a:bodyPr wrap="none" lIns="0" tIns="0" rIns="0" bIns="0" rtlCol="0" anchor="ctr" anchorCtr="0">
              <a:spAutoFit/>
            </a:bodyPr>
            <a:lstStyle>
              <a:defPPr>
                <a:defRPr lang="en-US"/>
              </a:defPPr>
              <a:lvl1pPr>
                <a:defRPr sz="2400">
                  <a:gradFill>
                    <a:gsLst>
                      <a:gs pos="0">
                        <a:schemeClr val="tx1"/>
                      </a:gs>
                      <a:gs pos="80000">
                        <a:schemeClr val="tx1"/>
                      </a:gs>
                    </a:gsLst>
                    <a:lin ang="16200000" scaled="0"/>
                  </a:gradFill>
                </a:defRPr>
              </a:lvl1pPr>
            </a:lstStyle>
            <a:p>
              <a:pPr defTabSz="914225">
                <a:defRPr/>
              </a:pPr>
              <a:r>
                <a:rPr lang="en-US" sz="2353" kern="0" dirty="0">
                  <a:gradFill>
                    <a:gsLst>
                      <a:gs pos="0">
                        <a:srgbClr val="505050"/>
                      </a:gs>
                      <a:gs pos="80000">
                        <a:srgbClr val="505050"/>
                      </a:gs>
                    </a:gsLst>
                    <a:lin ang="16200000" scaled="0"/>
                  </a:gradFill>
                  <a:latin typeface="Segoe UI"/>
                </a:rPr>
                <a:t>Best of Microsoft</a:t>
              </a:r>
            </a:p>
          </p:txBody>
        </p:sp>
      </p:grpSp>
      <p:grpSp>
        <p:nvGrpSpPr>
          <p:cNvPr id="14" name="Group 13"/>
          <p:cNvGrpSpPr/>
          <p:nvPr/>
        </p:nvGrpSpPr>
        <p:grpSpPr>
          <a:xfrm>
            <a:off x="2497056" y="1450987"/>
            <a:ext cx="2294521" cy="1881485"/>
            <a:chOff x="2546604" y="1211639"/>
            <a:chExt cx="2340864" cy="1919486"/>
          </a:xfrm>
        </p:grpSpPr>
        <p:sp>
          <p:nvSpPr>
            <p:cNvPr id="15" name="Trapezoid 14"/>
            <p:cNvSpPr/>
            <p:nvPr/>
          </p:nvSpPr>
          <p:spPr>
            <a:xfrm>
              <a:off x="2546604" y="1211639"/>
              <a:ext cx="2340864" cy="1919486"/>
            </a:xfrm>
            <a:prstGeom prst="trapezoid">
              <a:avLst>
                <a:gd name="adj" fmla="val 71457"/>
              </a:avLst>
            </a:prstGeom>
            <a:solidFill>
              <a:schemeClr val="accent1">
                <a:lumMod val="60000"/>
                <a:lumOff val="4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lIns="0" rIns="0" anchor="b"/>
            <a:lstStyle/>
            <a:p>
              <a:pPr algn="ctr" defTabSz="914225">
                <a:defRPr/>
              </a:pPr>
              <a:endParaRPr lang="en-US" sz="1567" b="1" kern="0" dirty="0">
                <a:solidFill>
                  <a:sysClr val="windowText" lastClr="000000"/>
                </a:solidFill>
                <a:latin typeface="Segoe UI"/>
              </a:endParaRPr>
            </a:p>
          </p:txBody>
        </p:sp>
        <p:sp>
          <p:nvSpPr>
            <p:cNvPr id="16" name="TextBox 15"/>
            <p:cNvSpPr txBox="1"/>
            <p:nvPr/>
          </p:nvSpPr>
          <p:spPr>
            <a:xfrm>
              <a:off x="2671558" y="2125285"/>
              <a:ext cx="2090957" cy="100584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24898" tIns="24898" rIns="24898" bIns="24898" numCol="1" spcCol="1270" anchor="ctr" anchorCtr="0">
              <a:noAutofit/>
            </a:bodyPr>
            <a:lstStyle>
              <a:defPPr>
                <a:defRPr lang="en-US"/>
              </a:defPPr>
              <a:lvl1pPr algn="ctr" defTabSz="889000">
                <a:lnSpc>
                  <a:spcPct val="90000"/>
                </a:lnSpc>
                <a:spcBef>
                  <a:spcPct val="0"/>
                </a:spcBef>
                <a:spcAft>
                  <a:spcPct val="35000"/>
                </a:spcAft>
                <a:defRPr sz="200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888829">
                <a:defRPr/>
              </a:pPr>
              <a:r>
                <a:rPr lang="en-US" sz="1961" kern="0" dirty="0"/>
                <a:t>Machine Learning</a:t>
              </a:r>
            </a:p>
            <a:p>
              <a:pPr defTabSz="871320">
                <a:defRPr/>
              </a:pPr>
              <a:r>
                <a:rPr lang="en-US" sz="1600" i="1" kern="0" dirty="0"/>
                <a:t>Algorithms</a:t>
              </a:r>
            </a:p>
          </p:txBody>
        </p:sp>
      </p:grpSp>
      <p:grpSp>
        <p:nvGrpSpPr>
          <p:cNvPr id="17" name="Group 16"/>
          <p:cNvGrpSpPr/>
          <p:nvPr/>
        </p:nvGrpSpPr>
        <p:grpSpPr>
          <a:xfrm>
            <a:off x="5809278" y="3735097"/>
            <a:ext cx="2875453" cy="724173"/>
            <a:chOff x="6746080" y="3504410"/>
            <a:chExt cx="2933528" cy="738800"/>
          </a:xfrm>
        </p:grpSpPr>
        <p:sp>
          <p:nvSpPr>
            <p:cNvPr id="18" name="Right Arrow 17"/>
            <p:cNvSpPr/>
            <p:nvPr/>
          </p:nvSpPr>
          <p:spPr bwMode="auto">
            <a:xfrm>
              <a:off x="6746080" y="3667418"/>
              <a:ext cx="914400" cy="457200"/>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kern="0"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TextBox 18"/>
            <p:cNvSpPr txBox="1"/>
            <p:nvPr/>
          </p:nvSpPr>
          <p:spPr>
            <a:xfrm>
              <a:off x="7828360" y="3504410"/>
              <a:ext cx="1851248" cy="738800"/>
            </a:xfrm>
            <a:prstGeom prst="rect">
              <a:avLst/>
            </a:prstGeom>
            <a:noFill/>
          </p:spPr>
          <p:txBody>
            <a:bodyPr wrap="none" lIns="0" tIns="0" rIns="0" bIns="0" rtlCol="0" anchor="ctr" anchorCtr="0">
              <a:spAutoFit/>
            </a:bodyPr>
            <a:lstStyle>
              <a:defPPr>
                <a:defRPr lang="en-US"/>
              </a:defPPr>
              <a:lvl1pPr>
                <a:defRPr sz="2400">
                  <a:gradFill>
                    <a:gsLst>
                      <a:gs pos="0">
                        <a:schemeClr val="tx1"/>
                      </a:gs>
                      <a:gs pos="80000">
                        <a:schemeClr val="tx1"/>
                      </a:gs>
                    </a:gsLst>
                    <a:lin ang="16200000" scaled="0"/>
                  </a:gradFill>
                </a:defRPr>
              </a:lvl1pPr>
            </a:lstStyle>
            <a:p>
              <a:pPr defTabSz="914225">
                <a:defRPr/>
              </a:pPr>
              <a:r>
                <a:rPr lang="en-US" sz="2353" kern="0" dirty="0">
                  <a:gradFill>
                    <a:gsLst>
                      <a:gs pos="0">
                        <a:srgbClr val="505050"/>
                      </a:gs>
                      <a:gs pos="80000">
                        <a:srgbClr val="505050"/>
                      </a:gs>
                    </a:gsLst>
                    <a:lin ang="16200000" scaled="0"/>
                  </a:gradFill>
                  <a:latin typeface="Segoe UI"/>
                </a:rPr>
                <a:t>Data Scientist</a:t>
              </a:r>
            </a:p>
            <a:p>
              <a:pPr defTabSz="914225">
                <a:defRPr/>
              </a:pPr>
              <a:r>
                <a:rPr lang="en-US" sz="2353" kern="0" dirty="0">
                  <a:gradFill>
                    <a:gsLst>
                      <a:gs pos="0">
                        <a:srgbClr val="505050"/>
                      </a:gs>
                      <a:gs pos="80000">
                        <a:srgbClr val="505050"/>
                      </a:gs>
                    </a:gsLst>
                    <a:lin ang="16200000" scaled="0"/>
                  </a:gradFill>
                  <a:latin typeface="Segoe UI"/>
                </a:rPr>
                <a:t>IT Pro</a:t>
              </a:r>
            </a:p>
          </p:txBody>
        </p:sp>
      </p:grpSp>
      <p:sp>
        <p:nvSpPr>
          <p:cNvPr id="22" name="Trapezoid 21"/>
          <p:cNvSpPr/>
          <p:nvPr/>
        </p:nvSpPr>
        <p:spPr>
          <a:xfrm>
            <a:off x="1594173" y="3422820"/>
            <a:ext cx="4100288" cy="1335593"/>
          </a:xfrm>
          <a:prstGeom prst="trapezoid">
            <a:avLst>
              <a:gd name="adj" fmla="val 61356"/>
            </a:avLst>
          </a:prstGeom>
          <a:solidFill>
            <a:schemeClr val="accent1"/>
          </a:solidFill>
          <a:ln>
            <a:noFill/>
          </a:ln>
        </p:spPr>
        <p:style>
          <a:lnRef idx="2">
            <a:schemeClr val="lt1">
              <a:hueOff val="0"/>
              <a:satOff val="0"/>
              <a:lumOff val="0"/>
              <a:alphaOff val="0"/>
            </a:schemeClr>
          </a:lnRef>
          <a:fillRef idx="1">
            <a:schemeClr val="accent1">
              <a:shade val="80000"/>
              <a:hueOff val="162021"/>
              <a:satOff val="-5214"/>
              <a:lumOff val="11477"/>
              <a:alphaOff val="0"/>
            </a:schemeClr>
          </a:fillRef>
          <a:effectRef idx="0">
            <a:schemeClr val="accent1">
              <a:shade val="80000"/>
              <a:hueOff val="162021"/>
              <a:satOff val="-5214"/>
              <a:lumOff val="11477"/>
              <a:alphaOff val="0"/>
            </a:schemeClr>
          </a:effectRef>
          <a:fontRef idx="minor">
            <a:schemeClr val="lt1"/>
          </a:fontRef>
        </p:style>
      </p:sp>
      <p:grpSp>
        <p:nvGrpSpPr>
          <p:cNvPr id="24" name="Group 23"/>
          <p:cNvGrpSpPr/>
          <p:nvPr/>
        </p:nvGrpSpPr>
        <p:grpSpPr>
          <a:xfrm>
            <a:off x="704709" y="4854777"/>
            <a:ext cx="8686531" cy="1334835"/>
            <a:chOff x="766956" y="5502966"/>
            <a:chExt cx="8734681" cy="1005840"/>
          </a:xfrm>
        </p:grpSpPr>
        <p:sp>
          <p:nvSpPr>
            <p:cNvPr id="25" name="Right Arrow 24"/>
            <p:cNvSpPr/>
            <p:nvPr/>
          </p:nvSpPr>
          <p:spPr bwMode="auto">
            <a:xfrm>
              <a:off x="6874688" y="5777286"/>
              <a:ext cx="914400" cy="457200"/>
            </a:xfrm>
            <a:prstGeom prst="rightArrow">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algn="ctr" defTabSz="895919" fontAlgn="base">
                <a:spcBef>
                  <a:spcPct val="0"/>
                </a:spcBef>
                <a:spcAft>
                  <a:spcPct val="0"/>
                </a:spcAft>
                <a:defRPr/>
              </a:pPr>
              <a:endParaRPr lang="en-US" sz="1765" kern="0" spc="-4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TextBox 25"/>
            <p:cNvSpPr txBox="1"/>
            <p:nvPr/>
          </p:nvSpPr>
          <p:spPr>
            <a:xfrm>
              <a:off x="8005804" y="5869464"/>
              <a:ext cx="1495833" cy="272844"/>
            </a:xfrm>
            <a:prstGeom prst="rect">
              <a:avLst/>
            </a:prstGeom>
            <a:noFill/>
          </p:spPr>
          <p:txBody>
            <a:bodyPr wrap="none" lIns="0" tIns="0" rIns="0" bIns="0" rtlCol="0" anchor="ctr" anchorCtr="0">
              <a:spAutoFit/>
            </a:bodyPr>
            <a:lstStyle>
              <a:defPPr>
                <a:defRPr lang="en-US"/>
              </a:defPPr>
              <a:lvl1pPr>
                <a:defRPr sz="2400">
                  <a:gradFill>
                    <a:gsLst>
                      <a:gs pos="0">
                        <a:srgbClr val="505050"/>
                      </a:gs>
                      <a:gs pos="80000">
                        <a:srgbClr val="505050"/>
                      </a:gs>
                    </a:gsLst>
                    <a:lin ang="16200000" scaled="0"/>
                  </a:gradFill>
                </a:defRPr>
              </a:lvl1pPr>
            </a:lstStyle>
            <a:p>
              <a:pPr defTabSz="914192">
                <a:defRPr/>
              </a:pPr>
              <a:r>
                <a:rPr lang="en-US" sz="2353" kern="0" dirty="0">
                  <a:latin typeface="Segoe UI"/>
                </a:rPr>
                <a:t>Developers</a:t>
              </a:r>
            </a:p>
          </p:txBody>
        </p:sp>
        <p:grpSp>
          <p:nvGrpSpPr>
            <p:cNvPr id="27" name="Group 26"/>
            <p:cNvGrpSpPr/>
            <p:nvPr/>
          </p:nvGrpSpPr>
          <p:grpSpPr>
            <a:xfrm>
              <a:off x="766956" y="5502966"/>
              <a:ext cx="5891015" cy="1005840"/>
              <a:chOff x="-96277" y="3051462"/>
              <a:chExt cx="5891015" cy="1005840"/>
            </a:xfrm>
            <a:solidFill>
              <a:schemeClr val="accent6">
                <a:lumMod val="90000"/>
                <a:lumOff val="10000"/>
              </a:schemeClr>
            </a:solidFill>
          </p:grpSpPr>
          <p:sp>
            <p:nvSpPr>
              <p:cNvPr id="28" name="Trapezoid 27"/>
              <p:cNvSpPr/>
              <p:nvPr/>
            </p:nvSpPr>
            <p:spPr>
              <a:xfrm>
                <a:off x="-96277" y="3051462"/>
                <a:ext cx="5891015" cy="1005840"/>
              </a:xfrm>
              <a:prstGeom prst="trapezoid">
                <a:avLst>
                  <a:gd name="adj" fmla="val 61874"/>
                </a:avLst>
              </a:prstGeom>
              <a:solidFill>
                <a:schemeClr val="accent1">
                  <a:lumMod val="50000"/>
                </a:schemeClr>
              </a:solidFill>
              <a:ln>
                <a:noFill/>
              </a:ln>
            </p:spPr>
            <p:style>
              <a:lnRef idx="2">
                <a:schemeClr val="lt1">
                  <a:hueOff val="0"/>
                  <a:satOff val="0"/>
                  <a:lumOff val="0"/>
                  <a:alphaOff val="0"/>
                </a:schemeClr>
              </a:lnRef>
              <a:fillRef idx="1">
                <a:schemeClr val="accent1">
                  <a:shade val="80000"/>
                  <a:hueOff val="486064"/>
                  <a:satOff val="-15643"/>
                  <a:lumOff val="34432"/>
                  <a:alphaOff val="0"/>
                </a:schemeClr>
              </a:fillRef>
              <a:effectRef idx="0">
                <a:schemeClr val="accent1">
                  <a:shade val="80000"/>
                  <a:hueOff val="486064"/>
                  <a:satOff val="-15643"/>
                  <a:lumOff val="34432"/>
                  <a:alphaOff val="0"/>
                </a:schemeClr>
              </a:effectRef>
              <a:fontRef idx="minor">
                <a:schemeClr val="lt1"/>
              </a:fontRef>
            </p:style>
          </p:sp>
          <p:sp>
            <p:nvSpPr>
              <p:cNvPr id="29" name="Trapezoid 10"/>
              <p:cNvSpPr/>
              <p:nvPr/>
            </p:nvSpPr>
            <p:spPr>
              <a:xfrm>
                <a:off x="793737" y="3051462"/>
                <a:ext cx="4110989" cy="1005840"/>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24898" tIns="24898" rIns="24898" bIns="24898" numCol="1" spcCol="1270" anchor="ctr" anchorCtr="0">
                <a:noAutofit/>
              </a:bodyPr>
              <a:lstStyle/>
              <a:p>
                <a:pPr algn="ctr" defTabSz="871320">
                  <a:lnSpc>
                    <a:spcPct val="90000"/>
                  </a:lnSpc>
                  <a:spcBef>
                    <a:spcPct val="0"/>
                  </a:spcBef>
                  <a:spcAft>
                    <a:spcPct val="35000"/>
                  </a:spcAft>
                  <a:defRPr/>
                </a:pPr>
                <a:r>
                  <a:rPr lang="en-US" sz="1961"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Microsoft Cognitive Services</a:t>
                </a:r>
              </a:p>
              <a:p>
                <a:pPr algn="ctr" defTabSz="871320">
                  <a:lnSpc>
                    <a:spcPct val="90000"/>
                  </a:lnSpc>
                  <a:spcBef>
                    <a:spcPct val="0"/>
                  </a:spcBef>
                  <a:spcAft>
                    <a:spcPct val="35000"/>
                  </a:spcAft>
                  <a:defRPr/>
                </a:pPr>
                <a:r>
                  <a:rPr lang="en-US" sz="1961"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PIs</a:t>
                </a:r>
              </a:p>
            </p:txBody>
          </p:sp>
        </p:grpSp>
      </p:grpSp>
      <p:sp>
        <p:nvSpPr>
          <p:cNvPr id="30" name="Trapezoid 6"/>
          <p:cNvSpPr/>
          <p:nvPr/>
        </p:nvSpPr>
        <p:spPr>
          <a:xfrm>
            <a:off x="2044028" y="3558515"/>
            <a:ext cx="3200578" cy="1335592"/>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24898" tIns="24898" rIns="24898" bIns="24898" numCol="1" spcCol="1270" anchor="ctr" anchorCtr="0">
            <a:noAutofit/>
          </a:bodyPr>
          <a:lstStyle/>
          <a:p>
            <a:pPr algn="ctr" defTabSz="871320">
              <a:lnSpc>
                <a:spcPct val="90000"/>
              </a:lnSpc>
              <a:spcBef>
                <a:spcPct val="0"/>
              </a:spcBef>
              <a:spcAft>
                <a:spcPct val="35000"/>
              </a:spcAft>
              <a:defRPr/>
            </a:pPr>
            <a:r>
              <a:rPr lang="en-US" sz="1961" b="1"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Azure Machine Learning </a:t>
            </a:r>
          </a:p>
          <a:p>
            <a:pPr algn="ctr" defTabSz="871320">
              <a:lnSpc>
                <a:spcPct val="90000"/>
              </a:lnSpc>
              <a:spcBef>
                <a:spcPct val="0"/>
              </a:spcBef>
              <a:spcAft>
                <a:spcPct val="35000"/>
              </a:spcAft>
              <a:defRPr/>
            </a:pPr>
            <a:r>
              <a:rPr lang="en-US" sz="1961" b="1"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CNTK</a:t>
            </a:r>
          </a:p>
          <a:p>
            <a:pPr algn="ctr" defTabSz="871320">
              <a:lnSpc>
                <a:spcPct val="90000"/>
              </a:lnSpc>
              <a:spcBef>
                <a:spcPct val="0"/>
              </a:spcBef>
              <a:spcAft>
                <a:spcPct val="35000"/>
              </a:spcAft>
              <a:defRPr/>
            </a:pPr>
            <a:r>
              <a:rPr lang="en-US" sz="1600" i="1" kern="0" dirty="0">
                <a:gradFill>
                  <a:gsLst>
                    <a:gs pos="1250">
                      <a:srgbClr val="FFFFFF"/>
                    </a:gs>
                    <a:gs pos="100000">
                      <a:srgbClr val="FFFFFF"/>
                    </a:gs>
                  </a:gsLst>
                  <a:lin ang="5400000" scaled="0"/>
                </a:gradFill>
                <a:latin typeface="Segoe UI Semibold" panose="020B0702040204020203" pitchFamily="34" charset="0"/>
                <a:cs typeface="Segoe UI Semibold" panose="020B0702040204020203" pitchFamily="34" charset="0"/>
              </a:rPr>
              <a:t>Modelling and Operationalization</a:t>
            </a:r>
          </a:p>
        </p:txBody>
      </p:sp>
    </p:spTree>
    <p:extLst>
      <p:ext uri="{BB962C8B-B14F-4D97-AF65-F5344CB8AC3E}">
        <p14:creationId xmlns:p14="http://schemas.microsoft.com/office/powerpoint/2010/main" val="2514964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Machine Learning services in the cloud	</a:t>
            </a:r>
            <a:endParaRPr lang="en-US" dirty="0"/>
          </a:p>
        </p:txBody>
      </p:sp>
      <p:sp>
        <p:nvSpPr>
          <p:cNvPr id="2" name="Espace réservé du texte 1"/>
          <p:cNvSpPr>
            <a:spLocks noGrp="1"/>
          </p:cNvSpPr>
          <p:nvPr>
            <p:ph type="body" sz="quarter" idx="13"/>
          </p:nvPr>
        </p:nvSpPr>
        <p:spPr/>
        <p:txBody>
          <a:bodyPr/>
          <a:lstStyle/>
          <a:p>
            <a:endParaRPr lang="fr-FR"/>
          </a:p>
        </p:txBody>
      </p:sp>
      <p:sp>
        <p:nvSpPr>
          <p:cNvPr id="3" name="Espace réservé pour une image  2"/>
          <p:cNvSpPr>
            <a:spLocks noGrp="1"/>
          </p:cNvSpPr>
          <p:nvPr>
            <p:ph type="pic" sz="quarter" idx="17"/>
          </p:nvPr>
        </p:nvSpPr>
        <p:spPr/>
      </p:sp>
      <p:pic>
        <p:nvPicPr>
          <p:cNvPr id="7" name="Picture 6"/>
          <p:cNvPicPr>
            <a:picLocks noChangeAspect="1"/>
          </p:cNvPicPr>
          <p:nvPr/>
        </p:nvPicPr>
        <p:blipFill>
          <a:blip r:embed="rId3"/>
          <a:stretch>
            <a:fillRect/>
          </a:stretch>
        </p:blipFill>
        <p:spPr>
          <a:xfrm>
            <a:off x="2025" y="1188280"/>
            <a:ext cx="12190271" cy="5694333"/>
          </a:xfrm>
          <a:prstGeom prst="rect">
            <a:avLst/>
          </a:prstGeom>
          <a:noFill/>
          <a:ln>
            <a:noFill/>
          </a:ln>
        </p:spPr>
      </p:pic>
      <p:sp>
        <p:nvSpPr>
          <p:cNvPr id="18" name="Rectangle 17"/>
          <p:cNvSpPr/>
          <p:nvPr/>
        </p:nvSpPr>
        <p:spPr bwMode="auto">
          <a:xfrm>
            <a:off x="7282375" y="6372454"/>
            <a:ext cx="815190" cy="484574"/>
          </a:xfrm>
          <a:prstGeom prst="rect">
            <a:avLst/>
          </a:prstGeom>
          <a:noFill/>
          <a:ln w="57150">
            <a:solidFill>
              <a:srgbClr val="00B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192821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grayscl/>
            <a:extLst>
              <a:ext uri="{28A0092B-C50C-407E-A947-70E740481C1C}">
                <a14:useLocalDpi xmlns:a14="http://schemas.microsoft.com/office/drawing/2010/main" val="0"/>
              </a:ext>
            </a:extLst>
          </a:blip>
          <a:srcRect l="16265" t="3005" r="6165" b="1684"/>
          <a:stretch/>
        </p:blipFill>
        <p:spPr>
          <a:xfrm>
            <a:off x="4938532" y="0"/>
            <a:ext cx="7439582" cy="6856055"/>
          </a:xfrm>
          <a:prstGeom prst="rect">
            <a:avLst/>
          </a:prstGeom>
        </p:spPr>
      </p:pic>
      <p:sp>
        <p:nvSpPr>
          <p:cNvPr id="11" name="Rectangle 10"/>
          <p:cNvSpPr/>
          <p:nvPr/>
        </p:nvSpPr>
        <p:spPr bwMode="auto">
          <a:xfrm>
            <a:off x="4938532" y="-4823"/>
            <a:ext cx="7439582" cy="6856540"/>
          </a:xfrm>
          <a:prstGeom prst="rect">
            <a:avLst/>
          </a:prstGeom>
          <a:gradFill flip="none" rotWithShape="1">
            <a:gsLst>
              <a:gs pos="2917">
                <a:srgbClr val="000000">
                  <a:alpha val="85000"/>
                </a:srgbClr>
              </a:gs>
              <a:gs pos="50000">
                <a:srgbClr val="000000">
                  <a:alpha val="70000"/>
                </a:srgbClr>
              </a:gs>
              <a:gs pos="76000">
                <a:srgbClr val="000000">
                  <a:alpha val="5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Rectangle 1"/>
          <p:cNvSpPr/>
          <p:nvPr/>
        </p:nvSpPr>
        <p:spPr bwMode="auto">
          <a:xfrm>
            <a:off x="4938532" y="4823"/>
            <a:ext cx="7439582" cy="6856540"/>
          </a:xfrm>
          <a:prstGeom prst="rect">
            <a:avLst/>
          </a:prstGeom>
          <a:solidFill>
            <a:schemeClr val="accent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a:xfrm>
            <a:off x="477485" y="2122622"/>
            <a:ext cx="4413197" cy="3262432"/>
          </a:xfrm>
          <a:prstGeom prst="rect">
            <a:avLst/>
          </a:prstGeom>
        </p:spPr>
        <p:txBody>
          <a:bodyPr wrap="square">
            <a:spAutoFit/>
          </a:bodyPr>
          <a:lstStyle/>
          <a:p>
            <a:pPr defTabSz="914225">
              <a:spcAft>
                <a:spcPts val="1175"/>
              </a:spcAft>
            </a:pPr>
            <a:r>
              <a:rPr lang="en-US" altLang="en-US" sz="4400" kern="0" dirty="0">
                <a:solidFill>
                  <a:srgbClr val="505050"/>
                </a:solidFill>
                <a:latin typeface="Segoe UI Light"/>
              </a:rPr>
              <a:t> </a:t>
            </a:r>
            <a:br>
              <a:rPr lang="en-US" altLang="en-US" sz="4400" kern="0" dirty="0">
                <a:solidFill>
                  <a:srgbClr val="505050"/>
                </a:solidFill>
                <a:latin typeface="Segoe UI Light"/>
              </a:rPr>
            </a:br>
            <a:r>
              <a:rPr lang="en-US" altLang="en-US" sz="4400" kern="0" dirty="0">
                <a:solidFill>
                  <a:srgbClr val="505050"/>
                </a:solidFill>
                <a:latin typeface="Segoe UI Light"/>
              </a:rPr>
              <a:t>Cognitive </a:t>
            </a:r>
            <a:br>
              <a:rPr lang="en-US" altLang="en-US" sz="4400" kern="0" dirty="0">
                <a:solidFill>
                  <a:srgbClr val="505050"/>
                </a:solidFill>
                <a:latin typeface="Segoe UI Light"/>
              </a:rPr>
            </a:br>
            <a:r>
              <a:rPr lang="en-US" altLang="en-US" sz="4400" kern="0" dirty="0">
                <a:solidFill>
                  <a:srgbClr val="505050"/>
                </a:solidFill>
                <a:latin typeface="Segoe UI Light"/>
              </a:rPr>
              <a:t>Services</a:t>
            </a:r>
          </a:p>
          <a:p>
            <a:pPr defTabSz="914225">
              <a:spcAft>
                <a:spcPts val="1175"/>
              </a:spcAft>
            </a:pPr>
            <a:r>
              <a:rPr lang="en-US" sz="3200" kern="0" dirty="0">
                <a:solidFill>
                  <a:schemeClr val="tx2"/>
                </a:solidFill>
                <a:latin typeface="Segoe UI Light"/>
              </a:rPr>
              <a:t>Give your solutions </a:t>
            </a:r>
            <a:br>
              <a:rPr lang="en-US" sz="3200" kern="0" dirty="0">
                <a:solidFill>
                  <a:schemeClr val="tx2"/>
                </a:solidFill>
                <a:latin typeface="Segoe UI Light"/>
              </a:rPr>
            </a:br>
            <a:r>
              <a:rPr lang="en-US" sz="3200" kern="0" dirty="0">
                <a:solidFill>
                  <a:schemeClr val="tx2"/>
                </a:solidFill>
                <a:latin typeface="Segoe UI Light"/>
              </a:rPr>
              <a:t>a human side</a:t>
            </a:r>
          </a:p>
        </p:txBody>
      </p:sp>
      <p:sp>
        <p:nvSpPr>
          <p:cNvPr id="6" name="TextBox 5"/>
          <p:cNvSpPr txBox="1"/>
          <p:nvPr/>
        </p:nvSpPr>
        <p:spPr>
          <a:xfrm>
            <a:off x="6277847" y="949996"/>
            <a:ext cx="4571352" cy="1203236"/>
          </a:xfrm>
          <a:prstGeom prst="rect">
            <a:avLst/>
          </a:prstGeom>
          <a:noFill/>
        </p:spPr>
        <p:txBody>
          <a:bodyPr wrap="square" lIns="182854" tIns="146284" rIns="182854" bIns="146284" rtlCol="0">
            <a:spAutoFit/>
          </a:bodyPr>
          <a:lstStyle/>
          <a:p>
            <a:pPr defTabSz="914225">
              <a:lnSpc>
                <a:spcPct val="90000"/>
              </a:lnSpc>
              <a:spcAft>
                <a:spcPts val="600"/>
              </a:spcAft>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Vision</a:t>
            </a:r>
          </a:p>
          <a:p>
            <a:pPr defTabSz="914225">
              <a:lnSpc>
                <a:spcPct val="90000"/>
              </a:lnSpc>
              <a:spcAft>
                <a:spcPts val="600"/>
              </a:spcAft>
            </a:pPr>
            <a:r>
              <a:rPr lang="en-US" sz="1600" kern="0" dirty="0">
                <a:gradFill>
                  <a:gsLst>
                    <a:gs pos="2917">
                      <a:srgbClr val="FFFFFF"/>
                    </a:gs>
                    <a:gs pos="30000">
                      <a:srgbClr val="FFFFFF"/>
                    </a:gs>
                  </a:gsLst>
                  <a:lin ang="5400000" scaled="0"/>
                </a:gradFill>
                <a:latin typeface="Segoe UI"/>
              </a:rPr>
              <a:t>From faces to feelings, allow your </a:t>
            </a:r>
            <a:br>
              <a:rPr lang="en-US" sz="1600" kern="0" dirty="0">
                <a:gradFill>
                  <a:gsLst>
                    <a:gs pos="2917">
                      <a:srgbClr val="FFFFFF"/>
                    </a:gs>
                    <a:gs pos="30000">
                      <a:srgbClr val="FFFFFF"/>
                    </a:gs>
                  </a:gsLst>
                  <a:lin ang="5400000" scaled="0"/>
                </a:gradFill>
                <a:latin typeface="Segoe UI"/>
              </a:rPr>
            </a:br>
            <a:r>
              <a:rPr lang="en-US" sz="1600" kern="0" dirty="0">
                <a:gradFill>
                  <a:gsLst>
                    <a:gs pos="2917">
                      <a:srgbClr val="FFFFFF"/>
                    </a:gs>
                    <a:gs pos="30000">
                      <a:srgbClr val="FFFFFF"/>
                    </a:gs>
                  </a:gsLst>
                  <a:lin ang="5400000" scaled="0"/>
                </a:gradFill>
                <a:latin typeface="Segoe UI"/>
              </a:rPr>
              <a:t>apps to understand images and video</a:t>
            </a:r>
          </a:p>
        </p:txBody>
      </p:sp>
      <p:sp>
        <p:nvSpPr>
          <p:cNvPr id="7" name="TextBox 6"/>
          <p:cNvSpPr txBox="1"/>
          <p:nvPr/>
        </p:nvSpPr>
        <p:spPr>
          <a:xfrm>
            <a:off x="6277847" y="2095261"/>
            <a:ext cx="4571352" cy="1175666"/>
          </a:xfrm>
          <a:prstGeom prst="rect">
            <a:avLst/>
          </a:prstGeom>
          <a:noFill/>
        </p:spPr>
        <p:txBody>
          <a:bodyPr wrap="square" lIns="182854" tIns="146284" rIns="182854" bIns="146284" rtlCol="0">
            <a:spAutoFit/>
          </a:bodyPr>
          <a:lstStyle/>
          <a:p>
            <a:pPr defTabSz="914225">
              <a:lnSpc>
                <a:spcPct val="90000"/>
              </a:lnSpc>
              <a:spcAft>
                <a:spcPts val="600"/>
              </a:spcAft>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peech</a:t>
            </a:r>
          </a:p>
          <a:p>
            <a:pPr defTabSz="914225">
              <a:lnSpc>
                <a:spcPct val="90000"/>
              </a:lnSpc>
              <a:spcAft>
                <a:spcPts val="600"/>
              </a:spcAft>
            </a:pPr>
            <a:r>
              <a:rPr lang="en-US" sz="1600" kern="0" dirty="0">
                <a:gradFill>
                  <a:gsLst>
                    <a:gs pos="2917">
                      <a:srgbClr val="FFFFFF"/>
                    </a:gs>
                    <a:gs pos="30000">
                      <a:srgbClr val="FFFFFF"/>
                    </a:gs>
                  </a:gsLst>
                  <a:lin ang="5400000" scaled="0"/>
                </a:gradFill>
                <a:latin typeface="Segoe UI"/>
              </a:rPr>
              <a:t>Hear and speak to your users by filtering noise, identifying speakers, and understanding intent</a:t>
            </a:r>
          </a:p>
        </p:txBody>
      </p:sp>
      <p:sp>
        <p:nvSpPr>
          <p:cNvPr id="8" name="TextBox 7"/>
          <p:cNvSpPr txBox="1"/>
          <p:nvPr/>
        </p:nvSpPr>
        <p:spPr>
          <a:xfrm>
            <a:off x="6277847" y="3240524"/>
            <a:ext cx="4571352" cy="1203236"/>
          </a:xfrm>
          <a:prstGeom prst="rect">
            <a:avLst/>
          </a:prstGeom>
          <a:noFill/>
        </p:spPr>
        <p:txBody>
          <a:bodyPr wrap="square" lIns="182854" tIns="146284" rIns="182854" bIns="146284" rtlCol="0">
            <a:spAutoFit/>
          </a:bodyPr>
          <a:lstStyle/>
          <a:p>
            <a:pPr defTabSz="914225">
              <a:lnSpc>
                <a:spcPct val="90000"/>
              </a:lnSpc>
              <a:spcAft>
                <a:spcPts val="600"/>
              </a:spcAft>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Language</a:t>
            </a:r>
          </a:p>
          <a:p>
            <a:pPr defTabSz="914225">
              <a:lnSpc>
                <a:spcPct val="90000"/>
              </a:lnSpc>
              <a:spcAft>
                <a:spcPts val="600"/>
              </a:spcAft>
            </a:pPr>
            <a:r>
              <a:rPr lang="en-US" sz="1600" kern="0" dirty="0">
                <a:gradFill>
                  <a:gsLst>
                    <a:gs pos="2917">
                      <a:srgbClr val="FFFFFF"/>
                    </a:gs>
                    <a:gs pos="30000">
                      <a:srgbClr val="FFFFFF"/>
                    </a:gs>
                  </a:gsLst>
                  <a:lin ang="5400000" scaled="0"/>
                </a:gradFill>
                <a:latin typeface="Segoe UI"/>
              </a:rPr>
              <a:t>Process text and learn how to recognize what users want</a:t>
            </a:r>
          </a:p>
        </p:txBody>
      </p:sp>
      <p:sp>
        <p:nvSpPr>
          <p:cNvPr id="9" name="TextBox 8"/>
          <p:cNvSpPr txBox="1"/>
          <p:nvPr/>
        </p:nvSpPr>
        <p:spPr>
          <a:xfrm>
            <a:off x="6277847" y="4385788"/>
            <a:ext cx="4571352" cy="1203236"/>
          </a:xfrm>
          <a:prstGeom prst="rect">
            <a:avLst/>
          </a:prstGeom>
          <a:noFill/>
        </p:spPr>
        <p:txBody>
          <a:bodyPr wrap="square" lIns="182854" tIns="146284" rIns="182854" bIns="146284" rtlCol="0">
            <a:spAutoFit/>
          </a:bodyPr>
          <a:lstStyle/>
          <a:p>
            <a:pPr defTabSz="914225">
              <a:lnSpc>
                <a:spcPct val="90000"/>
              </a:lnSpc>
              <a:spcAft>
                <a:spcPts val="600"/>
              </a:spcAft>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Knowledge</a:t>
            </a:r>
          </a:p>
          <a:p>
            <a:pPr defTabSz="914225">
              <a:lnSpc>
                <a:spcPct val="90000"/>
              </a:lnSpc>
              <a:spcAft>
                <a:spcPts val="600"/>
              </a:spcAft>
            </a:pPr>
            <a:r>
              <a:rPr lang="en-US" sz="1600" kern="0" dirty="0">
                <a:gradFill>
                  <a:gsLst>
                    <a:gs pos="2917">
                      <a:srgbClr val="FFFFFF"/>
                    </a:gs>
                    <a:gs pos="30000">
                      <a:srgbClr val="FFFFFF"/>
                    </a:gs>
                  </a:gsLst>
                  <a:lin ang="5400000" scaled="0"/>
                </a:gradFill>
                <a:latin typeface="Segoe UI"/>
              </a:rPr>
              <a:t>Tap into rich knowledge amassed from </a:t>
            </a:r>
            <a:br>
              <a:rPr lang="en-US" sz="1600" kern="0" dirty="0">
                <a:gradFill>
                  <a:gsLst>
                    <a:gs pos="2917">
                      <a:srgbClr val="FFFFFF"/>
                    </a:gs>
                    <a:gs pos="30000">
                      <a:srgbClr val="FFFFFF"/>
                    </a:gs>
                  </a:gsLst>
                  <a:lin ang="5400000" scaled="0"/>
                </a:gradFill>
                <a:latin typeface="Segoe UI"/>
              </a:rPr>
            </a:br>
            <a:r>
              <a:rPr lang="en-US" sz="1600" kern="0" dirty="0">
                <a:gradFill>
                  <a:gsLst>
                    <a:gs pos="2917">
                      <a:srgbClr val="FFFFFF"/>
                    </a:gs>
                    <a:gs pos="30000">
                      <a:srgbClr val="FFFFFF"/>
                    </a:gs>
                  </a:gsLst>
                  <a:lin ang="5400000" scaled="0"/>
                </a:gradFill>
                <a:latin typeface="Segoe UI"/>
              </a:rPr>
              <a:t>the web, academia, or your own data</a:t>
            </a:r>
          </a:p>
        </p:txBody>
      </p:sp>
      <p:sp>
        <p:nvSpPr>
          <p:cNvPr id="10" name="TextBox 9"/>
          <p:cNvSpPr txBox="1"/>
          <p:nvPr/>
        </p:nvSpPr>
        <p:spPr>
          <a:xfrm>
            <a:off x="6277847" y="5531049"/>
            <a:ext cx="4571352" cy="1203236"/>
          </a:xfrm>
          <a:prstGeom prst="rect">
            <a:avLst/>
          </a:prstGeom>
          <a:noFill/>
        </p:spPr>
        <p:txBody>
          <a:bodyPr wrap="square" lIns="182854" tIns="146284" rIns="182854" bIns="146284" rtlCol="0">
            <a:spAutoFit/>
          </a:bodyPr>
          <a:lstStyle/>
          <a:p>
            <a:pPr defTabSz="914225">
              <a:lnSpc>
                <a:spcPct val="90000"/>
              </a:lnSpc>
              <a:spcAft>
                <a:spcPts val="600"/>
              </a:spcAft>
            </a:pPr>
            <a:r>
              <a:rPr lang="en-US" sz="2600" kern="0" dirty="0">
                <a:gradFill>
                  <a:gsLst>
                    <a:gs pos="2917">
                      <a:srgbClr val="FFFFFF"/>
                    </a:gs>
                    <a:gs pos="30000">
                      <a:srgbClr val="FFFFFF"/>
                    </a:gs>
                  </a:gsLst>
                  <a:lin ang="5400000" scaled="0"/>
                </a:gradFill>
                <a:latin typeface="Segoe UI Semilight" panose="020B0402040204020203" pitchFamily="34" charset="0"/>
                <a:cs typeface="Segoe UI Semilight" panose="020B0402040204020203" pitchFamily="34" charset="0"/>
              </a:rPr>
              <a:t>Search</a:t>
            </a:r>
          </a:p>
          <a:p>
            <a:pPr defTabSz="914225">
              <a:lnSpc>
                <a:spcPct val="90000"/>
              </a:lnSpc>
              <a:spcAft>
                <a:spcPts val="600"/>
              </a:spcAft>
            </a:pPr>
            <a:r>
              <a:rPr lang="en-US" sz="1600" kern="0" dirty="0">
                <a:gradFill>
                  <a:gsLst>
                    <a:gs pos="2917">
                      <a:srgbClr val="FFFFFF"/>
                    </a:gs>
                    <a:gs pos="30000">
                      <a:srgbClr val="FFFFFF"/>
                    </a:gs>
                  </a:gsLst>
                  <a:lin ang="5400000" scaled="0"/>
                </a:gradFill>
                <a:latin typeface="Segoe UI"/>
              </a:rPr>
              <a:t>Access billions of web pages, images, videos, and news with the power of Bing APIs</a:t>
            </a:r>
          </a:p>
        </p:txBody>
      </p:sp>
      <p:sp>
        <p:nvSpPr>
          <p:cNvPr id="3" name="Rectangle 2"/>
          <p:cNvSpPr/>
          <p:nvPr/>
        </p:nvSpPr>
        <p:spPr>
          <a:xfrm>
            <a:off x="5164823" y="302069"/>
            <a:ext cx="4897495" cy="526811"/>
          </a:xfrm>
          <a:prstGeom prst="rect">
            <a:avLst/>
          </a:prstGeom>
        </p:spPr>
        <p:txBody>
          <a:bodyPr wrap="none">
            <a:spAutoFit/>
          </a:bodyPr>
          <a:lstStyle/>
          <a:p>
            <a:pPr defTabSz="914225">
              <a:lnSpc>
                <a:spcPct val="90000"/>
              </a:lnSpc>
              <a:spcAft>
                <a:spcPts val="600"/>
              </a:spcAft>
            </a:pPr>
            <a:r>
              <a:rPr lang="en-US" sz="3137" kern="0" dirty="0">
                <a:gradFill>
                  <a:gsLst>
                    <a:gs pos="2917">
                      <a:srgbClr val="FFFFFF"/>
                    </a:gs>
                    <a:gs pos="30000">
                      <a:srgbClr val="FFFFFF"/>
                    </a:gs>
                  </a:gsLst>
                  <a:lin ang="5400000" scaled="0"/>
                </a:gradFill>
                <a:latin typeface="Segoe UI Light"/>
              </a:rPr>
              <a:t>Microsoft Cognitive Services</a:t>
            </a:r>
          </a:p>
        </p:txBody>
      </p:sp>
      <p:sp>
        <p:nvSpPr>
          <p:cNvPr id="40" name="Freeform 22"/>
          <p:cNvSpPr>
            <a:spLocks noChangeAspect="1"/>
          </p:cNvSpPr>
          <p:nvPr/>
        </p:nvSpPr>
        <p:spPr bwMode="auto">
          <a:xfrm>
            <a:off x="5403327" y="1332831"/>
            <a:ext cx="661251" cy="437566"/>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kern="0">
              <a:solidFill>
                <a:srgbClr val="505050"/>
              </a:solidFill>
              <a:latin typeface="Segoe UI"/>
            </a:endParaRPr>
          </a:p>
        </p:txBody>
      </p:sp>
      <p:sp>
        <p:nvSpPr>
          <p:cNvPr id="41" name="Freeform 18"/>
          <p:cNvSpPr>
            <a:spLocks noChangeAspect="1"/>
          </p:cNvSpPr>
          <p:nvPr/>
        </p:nvSpPr>
        <p:spPr bwMode="auto">
          <a:xfrm>
            <a:off x="5440688" y="2439980"/>
            <a:ext cx="586529" cy="51379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kern="0">
              <a:solidFill>
                <a:srgbClr val="505050"/>
              </a:solidFill>
              <a:latin typeface="Segoe UI"/>
            </a:endParaRPr>
          </a:p>
        </p:txBody>
      </p:sp>
      <p:sp>
        <p:nvSpPr>
          <p:cNvPr id="42" name="Freeform 9"/>
          <p:cNvSpPr>
            <a:spLocks noChangeAspect="1"/>
          </p:cNvSpPr>
          <p:nvPr/>
        </p:nvSpPr>
        <p:spPr bwMode="auto">
          <a:xfrm>
            <a:off x="5523844" y="3577935"/>
            <a:ext cx="420217" cy="528413"/>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kern="0">
              <a:solidFill>
                <a:srgbClr val="505050"/>
              </a:solidFill>
              <a:latin typeface="Segoe UI"/>
            </a:endParaRPr>
          </a:p>
        </p:txBody>
      </p:sp>
      <p:sp>
        <p:nvSpPr>
          <p:cNvPr id="43" name="Freeform 5"/>
          <p:cNvSpPr>
            <a:spLocks/>
          </p:cNvSpPr>
          <p:nvPr/>
        </p:nvSpPr>
        <p:spPr bwMode="auto">
          <a:xfrm>
            <a:off x="5470775" y="4724227"/>
            <a:ext cx="526355" cy="526355"/>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kern="0">
              <a:solidFill>
                <a:srgbClr val="505050"/>
              </a:solidFill>
              <a:latin typeface="Segoe UI"/>
            </a:endParaRPr>
          </a:p>
        </p:txBody>
      </p:sp>
      <p:grpSp>
        <p:nvGrpSpPr>
          <p:cNvPr id="46" name="Group 45"/>
          <p:cNvGrpSpPr/>
          <p:nvPr/>
        </p:nvGrpSpPr>
        <p:grpSpPr>
          <a:xfrm>
            <a:off x="5465203" y="5868460"/>
            <a:ext cx="537500" cy="528413"/>
            <a:chOff x="10832823" y="3353836"/>
            <a:chExt cx="537576" cy="528488"/>
          </a:xfrm>
        </p:grpSpPr>
        <p:sp>
          <p:nvSpPr>
            <p:cNvPr id="44"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kern="0">
                <a:solidFill>
                  <a:srgbClr val="505050"/>
                </a:solidFill>
                <a:latin typeface="Segoe UI"/>
              </a:endParaRPr>
            </a:p>
          </p:txBody>
        </p:sp>
        <p:sp>
          <p:nvSpPr>
            <p:cNvPr id="45"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kern="0">
                <a:solidFill>
                  <a:srgbClr val="505050"/>
                </a:solidFill>
                <a:latin typeface="Segoe UI"/>
              </a:endParaRPr>
            </a:p>
          </p:txBody>
        </p:sp>
      </p:grpSp>
    </p:spTree>
    <p:extLst>
      <p:ext uri="{BB962C8B-B14F-4D97-AF65-F5344CB8AC3E}">
        <p14:creationId xmlns:p14="http://schemas.microsoft.com/office/powerpoint/2010/main" val="30407984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b="15555"/>
          <a:stretch/>
        </p:blipFill>
        <p:spPr>
          <a:xfrm>
            <a:off x="0" y="487"/>
            <a:ext cx="12192000" cy="6857027"/>
          </a:xfrm>
          <a:prstGeom prst="rect">
            <a:avLst/>
          </a:prstGeom>
        </p:spPr>
      </p:pic>
      <p:sp>
        <p:nvSpPr>
          <p:cNvPr id="63" name="Rectangle 62"/>
          <p:cNvSpPr/>
          <p:nvPr/>
        </p:nvSpPr>
        <p:spPr bwMode="auto">
          <a:xfrm>
            <a:off x="3991" y="487"/>
            <a:ext cx="12188010" cy="6857027"/>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69241" y="289957"/>
            <a:ext cx="11469879" cy="899537"/>
          </a:xfrm>
        </p:spPr>
        <p:txBody>
          <a:bodyPr vert="horz" wrap="square" lIns="268927" tIns="89642" rIns="143428" bIns="89642" rtlCol="0" anchor="t">
            <a:noAutofit/>
          </a:bodyPr>
          <a:lstStyle/>
          <a:p>
            <a:pPr marL="846587" defTabSz="174297"/>
            <a:r>
              <a:rPr lang="en-US" sz="4607" dirty="0"/>
              <a:t>Smarter robots with Cognitive Services</a:t>
            </a:r>
          </a:p>
        </p:txBody>
      </p:sp>
      <p:sp>
        <p:nvSpPr>
          <p:cNvPr id="80" name="Pentagon 79"/>
          <p:cNvSpPr/>
          <p:nvPr/>
        </p:nvSpPr>
        <p:spPr bwMode="gray">
          <a:xfrm>
            <a:off x="394847" y="5297526"/>
            <a:ext cx="2035629" cy="1111194"/>
          </a:xfrm>
          <a:custGeom>
            <a:avLst/>
            <a:gdLst>
              <a:gd name="connsiteX0" fmla="*/ 0 w 759625"/>
              <a:gd name="connsiteY0" fmla="*/ 0 h 2340864"/>
              <a:gd name="connsiteX1" fmla="*/ 509108 w 759625"/>
              <a:gd name="connsiteY1" fmla="*/ 0 h 2340864"/>
              <a:gd name="connsiteX2" fmla="*/ 759625 w 759625"/>
              <a:gd name="connsiteY2" fmla="*/ 1170432 h 2340864"/>
              <a:gd name="connsiteX3" fmla="*/ 509108 w 759625"/>
              <a:gd name="connsiteY3" fmla="*/ 2340864 h 2340864"/>
              <a:gd name="connsiteX4" fmla="*/ 0 w 759625"/>
              <a:gd name="connsiteY4" fmla="*/ 2340864 h 2340864"/>
              <a:gd name="connsiteX5" fmla="*/ 0 w 759625"/>
              <a:gd name="connsiteY5" fmla="*/ 0 h 2340864"/>
              <a:gd name="connsiteX0" fmla="*/ 0 w 509108"/>
              <a:gd name="connsiteY0" fmla="*/ 0 h 2340864"/>
              <a:gd name="connsiteX1" fmla="*/ 509108 w 509108"/>
              <a:gd name="connsiteY1" fmla="*/ 0 h 2340864"/>
              <a:gd name="connsiteX2" fmla="*/ 509108 w 509108"/>
              <a:gd name="connsiteY2" fmla="*/ 2340864 h 2340864"/>
              <a:gd name="connsiteX3" fmla="*/ 0 w 509108"/>
              <a:gd name="connsiteY3" fmla="*/ 2340864 h 2340864"/>
              <a:gd name="connsiteX4" fmla="*/ 0 w 509108"/>
              <a:gd name="connsiteY4" fmla="*/ 0 h 234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108" h="2340864">
                <a:moveTo>
                  <a:pt x="0" y="0"/>
                </a:moveTo>
                <a:lnTo>
                  <a:pt x="509108" y="0"/>
                </a:lnTo>
                <a:lnTo>
                  <a:pt x="509108" y="2340864"/>
                </a:lnTo>
                <a:lnTo>
                  <a:pt x="0" y="2340864"/>
                </a:lnTo>
                <a:lnTo>
                  <a:pt x="0" y="0"/>
                </a:ln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defRPr/>
            </a:pPr>
            <a: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Computer vision</a:t>
            </a:r>
          </a:p>
        </p:txBody>
      </p:sp>
      <p:sp>
        <p:nvSpPr>
          <p:cNvPr id="59" name="Rectangle 58"/>
          <p:cNvSpPr/>
          <p:nvPr/>
        </p:nvSpPr>
        <p:spPr bwMode="auto">
          <a:xfrm>
            <a:off x="267117" y="3332448"/>
            <a:ext cx="2291092" cy="3620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961" kern="0" dirty="0">
                <a:gradFill>
                  <a:gsLst>
                    <a:gs pos="86792">
                      <a:schemeClr val="tx2"/>
                    </a:gs>
                    <a:gs pos="64151">
                      <a:schemeClr val="tx2"/>
                    </a:gs>
                  </a:gsLst>
                  <a:lin ang="5400000" scaled="0"/>
                </a:gradFill>
                <a:latin typeface="Segoe UI Semibold" pitchFamily="34" charset="0"/>
                <a:ea typeface="Segoe UI" panose="020B0502040204020203" pitchFamily="34" charset="0"/>
                <a:cs typeface="Segoe UI" panose="020B0502040204020203" pitchFamily="34" charset="0"/>
              </a:rPr>
              <a:t>VISION</a:t>
            </a:r>
          </a:p>
        </p:txBody>
      </p:sp>
      <p:sp>
        <p:nvSpPr>
          <p:cNvPr id="69" name="Rectangle 68"/>
          <p:cNvSpPr/>
          <p:nvPr/>
        </p:nvSpPr>
        <p:spPr bwMode="auto">
          <a:xfrm>
            <a:off x="444523" y="4121941"/>
            <a:ext cx="1936278"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Recognize people and things </a:t>
            </a:r>
          </a:p>
        </p:txBody>
      </p:sp>
      <p:sp>
        <p:nvSpPr>
          <p:cNvPr id="100" name="Pentagon 99"/>
          <p:cNvSpPr/>
          <p:nvPr/>
        </p:nvSpPr>
        <p:spPr bwMode="gray">
          <a:xfrm>
            <a:off x="2688127" y="5297526"/>
            <a:ext cx="2145385" cy="1111194"/>
          </a:xfrm>
          <a:custGeom>
            <a:avLst/>
            <a:gdLst>
              <a:gd name="connsiteX0" fmla="*/ 0 w 781049"/>
              <a:gd name="connsiteY0" fmla="*/ 0 h 2340864"/>
              <a:gd name="connsiteX1" fmla="*/ 523467 w 781049"/>
              <a:gd name="connsiteY1" fmla="*/ 0 h 2340864"/>
              <a:gd name="connsiteX2" fmla="*/ 781049 w 781049"/>
              <a:gd name="connsiteY2" fmla="*/ 1170432 h 2340864"/>
              <a:gd name="connsiteX3" fmla="*/ 523467 w 781049"/>
              <a:gd name="connsiteY3" fmla="*/ 2340864 h 2340864"/>
              <a:gd name="connsiteX4" fmla="*/ 0 w 781049"/>
              <a:gd name="connsiteY4" fmla="*/ 2340864 h 2340864"/>
              <a:gd name="connsiteX5" fmla="*/ 0 w 781049"/>
              <a:gd name="connsiteY5" fmla="*/ 0 h 2340864"/>
              <a:gd name="connsiteX0" fmla="*/ 0 w 523467"/>
              <a:gd name="connsiteY0" fmla="*/ 0 h 2340864"/>
              <a:gd name="connsiteX1" fmla="*/ 523467 w 523467"/>
              <a:gd name="connsiteY1" fmla="*/ 0 h 2340864"/>
              <a:gd name="connsiteX2" fmla="*/ 523467 w 523467"/>
              <a:gd name="connsiteY2" fmla="*/ 2340864 h 2340864"/>
              <a:gd name="connsiteX3" fmla="*/ 0 w 523467"/>
              <a:gd name="connsiteY3" fmla="*/ 2340864 h 2340864"/>
              <a:gd name="connsiteX4" fmla="*/ 0 w 523467"/>
              <a:gd name="connsiteY4" fmla="*/ 0 h 234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467" h="2340864">
                <a:moveTo>
                  <a:pt x="0" y="0"/>
                </a:moveTo>
                <a:lnTo>
                  <a:pt x="523467" y="0"/>
                </a:lnTo>
                <a:lnTo>
                  <a:pt x="523467" y="2340864"/>
                </a:lnTo>
                <a:lnTo>
                  <a:pt x="0" y="2340864"/>
                </a:lnTo>
                <a:lnTo>
                  <a:pt x="0" y="0"/>
                </a:ln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89642" tIns="140609" rIns="89642"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Speech-to-text </a:t>
            </a:r>
            <a:b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and text-to-</a:t>
            </a:r>
            <a:b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speech service</a:t>
            </a:r>
          </a:p>
        </p:txBody>
      </p:sp>
      <p:sp>
        <p:nvSpPr>
          <p:cNvPr id="81" name="Rectangle 80"/>
          <p:cNvSpPr/>
          <p:nvPr/>
        </p:nvSpPr>
        <p:spPr bwMode="auto">
          <a:xfrm>
            <a:off x="2621614" y="3332448"/>
            <a:ext cx="2278412" cy="3620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961" kern="0" dirty="0">
                <a:gradFill>
                  <a:gsLst>
                    <a:gs pos="86792">
                      <a:schemeClr val="tx2"/>
                    </a:gs>
                    <a:gs pos="64151">
                      <a:schemeClr val="tx2"/>
                    </a:gs>
                  </a:gsLst>
                  <a:lin ang="5400000" scaled="0"/>
                </a:gradFill>
                <a:latin typeface="Segoe UI Semibold" pitchFamily="34" charset="0"/>
                <a:ea typeface="Segoe UI" panose="020B0502040204020203" pitchFamily="34" charset="0"/>
                <a:cs typeface="Segoe UI" panose="020B0502040204020203" pitchFamily="34" charset="0"/>
              </a:rPr>
              <a:t>SPEECH</a:t>
            </a:r>
          </a:p>
        </p:txBody>
      </p:sp>
      <p:sp>
        <p:nvSpPr>
          <p:cNvPr id="76" name="Rectangle 75"/>
          <p:cNvSpPr/>
          <p:nvPr/>
        </p:nvSpPr>
        <p:spPr bwMode="auto">
          <a:xfrm>
            <a:off x="2792680" y="4121941"/>
            <a:ext cx="1936278"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Give me </a:t>
            </a:r>
            <a:b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directions to </a:t>
            </a:r>
            <a:b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El Gaucho</a:t>
            </a:r>
          </a:p>
        </p:txBody>
      </p:sp>
      <p:sp>
        <p:nvSpPr>
          <p:cNvPr id="54" name="Pentagon 53"/>
          <p:cNvSpPr/>
          <p:nvPr/>
        </p:nvSpPr>
        <p:spPr bwMode="gray">
          <a:xfrm>
            <a:off x="5073205" y="5297526"/>
            <a:ext cx="2037186" cy="1111194"/>
          </a:xfrm>
          <a:custGeom>
            <a:avLst/>
            <a:gdLst>
              <a:gd name="connsiteX0" fmla="*/ 0 w 781037"/>
              <a:gd name="connsiteY0" fmla="*/ 0 h 2340864"/>
              <a:gd name="connsiteX1" fmla="*/ 523459 w 781037"/>
              <a:gd name="connsiteY1" fmla="*/ 0 h 2340864"/>
              <a:gd name="connsiteX2" fmla="*/ 781037 w 781037"/>
              <a:gd name="connsiteY2" fmla="*/ 1170432 h 2340864"/>
              <a:gd name="connsiteX3" fmla="*/ 523459 w 781037"/>
              <a:gd name="connsiteY3" fmla="*/ 2340864 h 2340864"/>
              <a:gd name="connsiteX4" fmla="*/ 0 w 781037"/>
              <a:gd name="connsiteY4" fmla="*/ 2340864 h 2340864"/>
              <a:gd name="connsiteX5" fmla="*/ 0 w 781037"/>
              <a:gd name="connsiteY5" fmla="*/ 0 h 2340864"/>
              <a:gd name="connsiteX0" fmla="*/ 0 w 523459"/>
              <a:gd name="connsiteY0" fmla="*/ 0 h 2340864"/>
              <a:gd name="connsiteX1" fmla="*/ 523459 w 523459"/>
              <a:gd name="connsiteY1" fmla="*/ 0 h 2340864"/>
              <a:gd name="connsiteX2" fmla="*/ 523459 w 523459"/>
              <a:gd name="connsiteY2" fmla="*/ 2340864 h 2340864"/>
              <a:gd name="connsiteX3" fmla="*/ 0 w 523459"/>
              <a:gd name="connsiteY3" fmla="*/ 2340864 h 2340864"/>
              <a:gd name="connsiteX4" fmla="*/ 0 w 523459"/>
              <a:gd name="connsiteY4" fmla="*/ 0 h 234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459" h="2340864">
                <a:moveTo>
                  <a:pt x="0" y="0"/>
                </a:moveTo>
                <a:lnTo>
                  <a:pt x="523459" y="0"/>
                </a:lnTo>
                <a:lnTo>
                  <a:pt x="523459" y="2340864"/>
                </a:lnTo>
                <a:lnTo>
                  <a:pt x="0" y="2340864"/>
                </a:lnTo>
                <a:lnTo>
                  <a:pt x="0" y="0"/>
                </a:ln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Natural language processing</a:t>
            </a:r>
          </a:p>
        </p:txBody>
      </p:sp>
      <p:sp>
        <p:nvSpPr>
          <p:cNvPr id="91" name="Rectangle 90"/>
          <p:cNvSpPr/>
          <p:nvPr/>
        </p:nvSpPr>
        <p:spPr bwMode="auto">
          <a:xfrm>
            <a:off x="4951253" y="3332448"/>
            <a:ext cx="2281091" cy="3620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961" kern="0" dirty="0">
                <a:gradFill>
                  <a:gsLst>
                    <a:gs pos="86792">
                      <a:schemeClr val="tx2"/>
                    </a:gs>
                    <a:gs pos="64151">
                      <a:schemeClr val="tx2"/>
                    </a:gs>
                  </a:gsLst>
                  <a:lin ang="5400000" scaled="0"/>
                </a:gradFill>
                <a:latin typeface="Segoe UI Semibold" pitchFamily="34" charset="0"/>
                <a:ea typeface="Segoe UI" panose="020B0502040204020203" pitchFamily="34" charset="0"/>
                <a:cs typeface="Segoe UI" panose="020B0502040204020203" pitchFamily="34" charset="0"/>
              </a:rPr>
              <a:t>LANGUAGE</a:t>
            </a:r>
          </a:p>
        </p:txBody>
      </p:sp>
      <p:sp>
        <p:nvSpPr>
          <p:cNvPr id="82" name="Rectangle 81"/>
          <p:cNvSpPr/>
          <p:nvPr/>
        </p:nvSpPr>
        <p:spPr bwMode="auto">
          <a:xfrm>
            <a:off x="5123659" y="4121941"/>
            <a:ext cx="1936278"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Play today’s </a:t>
            </a:r>
            <a:b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Daily Show</a:t>
            </a:r>
          </a:p>
        </p:txBody>
      </p:sp>
      <p:sp>
        <p:nvSpPr>
          <p:cNvPr id="87" name="Pentagon 86"/>
          <p:cNvSpPr/>
          <p:nvPr/>
        </p:nvSpPr>
        <p:spPr bwMode="gray">
          <a:xfrm>
            <a:off x="7426243" y="5297526"/>
            <a:ext cx="2035629" cy="1111194"/>
          </a:xfrm>
          <a:custGeom>
            <a:avLst/>
            <a:gdLst>
              <a:gd name="connsiteX0" fmla="*/ 0 w 781097"/>
              <a:gd name="connsiteY0" fmla="*/ 0 h 2340864"/>
              <a:gd name="connsiteX1" fmla="*/ 523499 w 781097"/>
              <a:gd name="connsiteY1" fmla="*/ 0 h 2340864"/>
              <a:gd name="connsiteX2" fmla="*/ 781097 w 781097"/>
              <a:gd name="connsiteY2" fmla="*/ 1170432 h 2340864"/>
              <a:gd name="connsiteX3" fmla="*/ 523499 w 781097"/>
              <a:gd name="connsiteY3" fmla="*/ 2340864 h 2340864"/>
              <a:gd name="connsiteX4" fmla="*/ 0 w 781097"/>
              <a:gd name="connsiteY4" fmla="*/ 2340864 h 2340864"/>
              <a:gd name="connsiteX5" fmla="*/ 0 w 781097"/>
              <a:gd name="connsiteY5" fmla="*/ 0 h 2340864"/>
              <a:gd name="connsiteX0" fmla="*/ 0 w 523499"/>
              <a:gd name="connsiteY0" fmla="*/ 0 h 2340864"/>
              <a:gd name="connsiteX1" fmla="*/ 523499 w 523499"/>
              <a:gd name="connsiteY1" fmla="*/ 0 h 2340864"/>
              <a:gd name="connsiteX2" fmla="*/ 523499 w 523499"/>
              <a:gd name="connsiteY2" fmla="*/ 2340864 h 2340864"/>
              <a:gd name="connsiteX3" fmla="*/ 0 w 523499"/>
              <a:gd name="connsiteY3" fmla="*/ 2340864 h 2340864"/>
              <a:gd name="connsiteX4" fmla="*/ 0 w 523499"/>
              <a:gd name="connsiteY4" fmla="*/ 0 h 234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499" h="2340864">
                <a:moveTo>
                  <a:pt x="0" y="0"/>
                </a:moveTo>
                <a:lnTo>
                  <a:pt x="523499" y="0"/>
                </a:lnTo>
                <a:lnTo>
                  <a:pt x="523499" y="2340864"/>
                </a:lnTo>
                <a:lnTo>
                  <a:pt x="0" y="2340864"/>
                </a:lnTo>
                <a:lnTo>
                  <a:pt x="0" y="0"/>
                </a:ln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Knowledge </a:t>
            </a:r>
            <a:b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exploration service</a:t>
            </a:r>
          </a:p>
        </p:txBody>
      </p:sp>
      <p:sp>
        <p:nvSpPr>
          <p:cNvPr id="103" name="Rectangle 102"/>
          <p:cNvSpPr/>
          <p:nvPr/>
        </p:nvSpPr>
        <p:spPr bwMode="auto">
          <a:xfrm>
            <a:off x="7297574" y="3332448"/>
            <a:ext cx="2292970" cy="3620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961" kern="0" dirty="0">
                <a:gradFill>
                  <a:gsLst>
                    <a:gs pos="86792">
                      <a:schemeClr val="tx2"/>
                    </a:gs>
                    <a:gs pos="64151">
                      <a:schemeClr val="tx2"/>
                    </a:gs>
                  </a:gsLst>
                  <a:lin ang="5400000" scaled="0"/>
                </a:gradFill>
                <a:latin typeface="Segoe UI Semibold" pitchFamily="34" charset="0"/>
                <a:ea typeface="Segoe UI" panose="020B0502040204020203" pitchFamily="34" charset="0"/>
                <a:cs typeface="Segoe UI" panose="020B0502040204020203" pitchFamily="34" charset="0"/>
              </a:rPr>
              <a:t>KNOWLEDGE</a:t>
            </a:r>
          </a:p>
        </p:txBody>
      </p:sp>
      <p:sp>
        <p:nvSpPr>
          <p:cNvPr id="88" name="Rectangle 87"/>
          <p:cNvSpPr/>
          <p:nvPr/>
        </p:nvSpPr>
        <p:spPr bwMode="auto">
          <a:xfrm>
            <a:off x="7475919" y="4121941"/>
            <a:ext cx="1936278"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Show me the top </a:t>
            </a:r>
            <a:b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economics </a:t>
            </a:r>
          </a:p>
          <a:p>
            <a:pPr algn="ctr" defTabSz="914102" fontAlgn="base">
              <a:lnSpc>
                <a:spcPct val="90000"/>
              </a:lnSpc>
              <a:spcBef>
                <a:spcPct val="0"/>
              </a:spcBef>
              <a:spcAft>
                <a:spcPct val="0"/>
              </a:spcAft>
            </a:pP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journals</a:t>
            </a:r>
          </a:p>
        </p:txBody>
      </p:sp>
      <p:sp>
        <p:nvSpPr>
          <p:cNvPr id="65" name="Pentagon 64"/>
          <p:cNvSpPr/>
          <p:nvPr/>
        </p:nvSpPr>
        <p:spPr bwMode="gray">
          <a:xfrm>
            <a:off x="9765610" y="5297526"/>
            <a:ext cx="2035629" cy="1111194"/>
          </a:xfrm>
          <a:custGeom>
            <a:avLst/>
            <a:gdLst>
              <a:gd name="connsiteX0" fmla="*/ 0 w 781097"/>
              <a:gd name="connsiteY0" fmla="*/ 0 h 2340864"/>
              <a:gd name="connsiteX1" fmla="*/ 523499 w 781097"/>
              <a:gd name="connsiteY1" fmla="*/ 0 h 2340864"/>
              <a:gd name="connsiteX2" fmla="*/ 781097 w 781097"/>
              <a:gd name="connsiteY2" fmla="*/ 1170432 h 2340864"/>
              <a:gd name="connsiteX3" fmla="*/ 523499 w 781097"/>
              <a:gd name="connsiteY3" fmla="*/ 2340864 h 2340864"/>
              <a:gd name="connsiteX4" fmla="*/ 0 w 781097"/>
              <a:gd name="connsiteY4" fmla="*/ 2340864 h 2340864"/>
              <a:gd name="connsiteX5" fmla="*/ 0 w 781097"/>
              <a:gd name="connsiteY5" fmla="*/ 0 h 2340864"/>
              <a:gd name="connsiteX0" fmla="*/ 0 w 523499"/>
              <a:gd name="connsiteY0" fmla="*/ 0 h 2340864"/>
              <a:gd name="connsiteX1" fmla="*/ 523499 w 523499"/>
              <a:gd name="connsiteY1" fmla="*/ 0 h 2340864"/>
              <a:gd name="connsiteX2" fmla="*/ 523499 w 523499"/>
              <a:gd name="connsiteY2" fmla="*/ 2340864 h 2340864"/>
              <a:gd name="connsiteX3" fmla="*/ 0 w 523499"/>
              <a:gd name="connsiteY3" fmla="*/ 2340864 h 2340864"/>
              <a:gd name="connsiteX4" fmla="*/ 0 w 523499"/>
              <a:gd name="connsiteY4" fmla="*/ 0 h 2340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3499" h="2340864">
                <a:moveTo>
                  <a:pt x="0" y="0"/>
                </a:moveTo>
                <a:lnTo>
                  <a:pt x="523499" y="0"/>
                </a:lnTo>
                <a:lnTo>
                  <a:pt x="523499" y="2340864"/>
                </a:lnTo>
                <a:lnTo>
                  <a:pt x="0" y="2340864"/>
                </a:lnTo>
                <a:lnTo>
                  <a:pt x="0" y="0"/>
                </a:lnTo>
                <a:close/>
              </a:path>
            </a:pathLst>
          </a:custGeom>
          <a:no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ctr" anchorCtr="0" forceAA="0" compatLnSpc="1">
            <a:prstTxWarp prst="textNoShape">
              <a:avLst/>
            </a:prstTxWarp>
            <a:noAutofit/>
          </a:bodyPr>
          <a:lstStyle/>
          <a:p>
            <a:pPr algn="ctr" defTabSz="896094" fontAlgn="base">
              <a:lnSpc>
                <a:spcPct val="90000"/>
              </a:lnSpc>
              <a:spcBef>
                <a:spcPct val="0"/>
              </a:spcBef>
              <a:spcAft>
                <a:spcPct val="0"/>
              </a:spcAft>
            </a:pPr>
            <a:r>
              <a:rPr lang="en-US" sz="1568" kern="0" dirty="0">
                <a:gradFill>
                  <a:gsLst>
                    <a:gs pos="47170">
                      <a:schemeClr val="tx2"/>
                    </a:gs>
                    <a:gs pos="36000">
                      <a:schemeClr val="tx2"/>
                    </a:gs>
                  </a:gsLst>
                  <a:lin ang="5400000" scaled="0"/>
                </a:gradFill>
                <a:latin typeface="Segoe UI" panose="020B0502040204020203" pitchFamily="34" charset="0"/>
                <a:ea typeface="Segoe UI" panose="020B0502040204020203" pitchFamily="34" charset="0"/>
                <a:cs typeface="Segoe UI" panose="020B0502040204020203" pitchFamily="34" charset="0"/>
              </a:rPr>
              <a:t>Bing search</a:t>
            </a:r>
          </a:p>
        </p:txBody>
      </p:sp>
      <p:sp>
        <p:nvSpPr>
          <p:cNvPr id="104" name="Rectangle 103"/>
          <p:cNvSpPr/>
          <p:nvPr/>
        </p:nvSpPr>
        <p:spPr bwMode="auto">
          <a:xfrm>
            <a:off x="9641769" y="3332448"/>
            <a:ext cx="2283311" cy="36207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0" bIns="44821" numCol="1" spcCol="0" rtlCol="0" fromWordArt="0" anchor="ctr" anchorCtr="0" forceAA="0" compatLnSpc="1">
            <a:prstTxWarp prst="textNoShape">
              <a:avLst/>
            </a:prstTxWarp>
            <a:spAutoFit/>
          </a:bodyPr>
          <a:lstStyle/>
          <a:p>
            <a:pPr algn="ctr" defTabSz="914102" fontAlgn="base">
              <a:lnSpc>
                <a:spcPct val="90000"/>
              </a:lnSpc>
              <a:spcBef>
                <a:spcPct val="0"/>
              </a:spcBef>
              <a:spcAft>
                <a:spcPct val="0"/>
              </a:spcAft>
            </a:pPr>
            <a:r>
              <a:rPr lang="en-US" sz="1961" kern="0" dirty="0">
                <a:gradFill>
                  <a:gsLst>
                    <a:gs pos="86792">
                      <a:schemeClr val="tx2"/>
                    </a:gs>
                    <a:gs pos="64151">
                      <a:schemeClr val="tx2"/>
                    </a:gs>
                  </a:gsLst>
                  <a:lin ang="5400000" scaled="0"/>
                </a:gradFill>
                <a:latin typeface="Segoe UI Semibold" pitchFamily="34" charset="0"/>
                <a:ea typeface="Segoe UI" panose="020B0502040204020203" pitchFamily="34" charset="0"/>
                <a:cs typeface="Segoe UI" panose="020B0502040204020203" pitchFamily="34" charset="0"/>
              </a:rPr>
              <a:t>SEARCH</a:t>
            </a:r>
          </a:p>
        </p:txBody>
      </p:sp>
      <p:sp>
        <p:nvSpPr>
          <p:cNvPr id="94" name="Rectangle 93"/>
          <p:cNvSpPr/>
          <p:nvPr/>
        </p:nvSpPr>
        <p:spPr bwMode="auto">
          <a:xfrm>
            <a:off x="9815285" y="4121941"/>
            <a:ext cx="1936278" cy="89642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Search for </a:t>
            </a:r>
            <a:b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br>
            <a:r>
              <a:rPr lang="en-US" sz="1176" kern="0" dirty="0">
                <a:gradFill>
                  <a:gsLst>
                    <a:gs pos="1250">
                      <a:schemeClr val="tx1"/>
                    </a:gs>
                    <a:gs pos="100000">
                      <a:schemeClr val="tx1"/>
                    </a:gs>
                  </a:gsLst>
                  <a:lin ang="5400000" scaled="0"/>
                </a:gradFill>
                <a:latin typeface="Segoe UI" panose="020B0502040204020203" pitchFamily="34" charset="0"/>
                <a:ea typeface="Segoe UI" panose="020B0502040204020203" pitchFamily="34" charset="0"/>
                <a:cs typeface="Segoe UI" panose="020B0502040204020203" pitchFamily="34" charset="0"/>
              </a:rPr>
              <a:t>‘cute kittens’ </a:t>
            </a:r>
          </a:p>
        </p:txBody>
      </p:sp>
      <p:sp>
        <p:nvSpPr>
          <p:cNvPr id="73" name="Oval 72"/>
          <p:cNvSpPr/>
          <p:nvPr/>
        </p:nvSpPr>
        <p:spPr bwMode="auto">
          <a:xfrm>
            <a:off x="452882" y="291514"/>
            <a:ext cx="727898" cy="727898"/>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7928" rIns="0" bIns="0" numCol="1" spcCol="0" rtlCol="0" fromWordArt="0" anchor="ctr" anchorCtr="1" forceAA="0" compatLnSpc="1">
            <a:prstTxWarp prst="textNoShape">
              <a:avLst/>
            </a:prstTxWarp>
            <a:noAutofit/>
          </a:bodyPr>
          <a:lstStyle/>
          <a:p>
            <a:pPr algn="ctr" defTabSz="914102" fontAlgn="base">
              <a:lnSpc>
                <a:spcPct val="90000"/>
              </a:lnSpc>
              <a:spcBef>
                <a:spcPct val="0"/>
              </a:spcBef>
              <a:spcAft>
                <a:spcPct val="0"/>
              </a:spcAft>
            </a:pPr>
            <a:endParaRPr lang="en-GB" sz="4607" kern="0" dirty="0">
              <a:gradFill>
                <a:gsLst>
                  <a:gs pos="0">
                    <a:srgbClr val="FFFFFF"/>
                  </a:gs>
                  <a:gs pos="100000">
                    <a:srgbClr val="FFFFFF"/>
                  </a:gs>
                </a:gsLst>
                <a:lin ang="5400000" scaled="0"/>
              </a:gradFill>
              <a:latin typeface="Segoe UI Semibold" pitchFamily="34" charset="0"/>
              <a:ea typeface="Segoe UI" pitchFamily="34" charset="0"/>
              <a:cs typeface="Segoe UI" pitchFamily="34" charset="0"/>
            </a:endParaRPr>
          </a:p>
        </p:txBody>
      </p:sp>
      <p:grpSp>
        <p:nvGrpSpPr>
          <p:cNvPr id="74" name="Group 73"/>
          <p:cNvGrpSpPr/>
          <p:nvPr/>
        </p:nvGrpSpPr>
        <p:grpSpPr>
          <a:xfrm>
            <a:off x="650974" y="462851"/>
            <a:ext cx="331714" cy="385226"/>
            <a:chOff x="480545" y="3363425"/>
            <a:chExt cx="700555" cy="813572"/>
          </a:xfrm>
        </p:grpSpPr>
        <p:grpSp>
          <p:nvGrpSpPr>
            <p:cNvPr id="75" name="Group 167"/>
            <p:cNvGrpSpPr>
              <a:grpSpLocks noChangeAspect="1"/>
            </p:cNvGrpSpPr>
            <p:nvPr/>
          </p:nvGrpSpPr>
          <p:grpSpPr bwMode="auto">
            <a:xfrm>
              <a:off x="480545" y="3401469"/>
              <a:ext cx="662035" cy="775528"/>
              <a:chOff x="3811" y="2084"/>
              <a:chExt cx="210" cy="246"/>
            </a:xfrm>
          </p:grpSpPr>
          <p:sp>
            <p:nvSpPr>
              <p:cNvPr id="86" name="Rectangle 168"/>
              <p:cNvSpPr>
                <a:spLocks noChangeArrowheads="1"/>
              </p:cNvSpPr>
              <p:nvPr/>
            </p:nvSpPr>
            <p:spPr bwMode="auto">
              <a:xfrm>
                <a:off x="3869" y="2191"/>
                <a:ext cx="90" cy="73"/>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9" name="Oval 169"/>
              <p:cNvSpPr>
                <a:spLocks noChangeArrowheads="1"/>
              </p:cNvSpPr>
              <p:nvPr/>
            </p:nvSpPr>
            <p:spPr bwMode="auto">
              <a:xfrm>
                <a:off x="3926" y="2133"/>
                <a:ext cx="8" cy="9"/>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0" name="Freeform 170"/>
              <p:cNvSpPr>
                <a:spLocks/>
              </p:cNvSpPr>
              <p:nvPr/>
            </p:nvSpPr>
            <p:spPr bwMode="auto">
              <a:xfrm>
                <a:off x="3828" y="2207"/>
                <a:ext cx="41" cy="41"/>
              </a:xfrm>
              <a:custGeom>
                <a:avLst/>
                <a:gdLst>
                  <a:gd name="T0" fmla="*/ 0 w 20"/>
                  <a:gd name="T1" fmla="*/ 20 h 20"/>
                  <a:gd name="T2" fmla="*/ 20 w 20"/>
                  <a:gd name="T3" fmla="*/ 0 h 20"/>
                </a:gdLst>
                <a:ahLst/>
                <a:cxnLst>
                  <a:cxn ang="0">
                    <a:pos x="T0" y="T1"/>
                  </a:cxn>
                  <a:cxn ang="0">
                    <a:pos x="T2" y="T3"/>
                  </a:cxn>
                </a:cxnLst>
                <a:rect l="0" t="0" r="r" b="b"/>
                <a:pathLst>
                  <a:path w="20" h="20">
                    <a:moveTo>
                      <a:pt x="0" y="20"/>
                    </a:moveTo>
                    <a:cubicBezTo>
                      <a:pt x="0" y="9"/>
                      <a:pt x="9" y="0"/>
                      <a:pt x="2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3" name="Freeform 171"/>
              <p:cNvSpPr>
                <a:spLocks/>
              </p:cNvSpPr>
              <p:nvPr/>
            </p:nvSpPr>
            <p:spPr bwMode="auto">
              <a:xfrm>
                <a:off x="3811" y="2248"/>
                <a:ext cx="33" cy="16"/>
              </a:xfrm>
              <a:custGeom>
                <a:avLst/>
                <a:gdLst>
                  <a:gd name="T0" fmla="*/ 0 w 16"/>
                  <a:gd name="T1" fmla="*/ 8 h 8"/>
                  <a:gd name="T2" fmla="*/ 8 w 16"/>
                  <a:gd name="T3" fmla="*/ 0 h 8"/>
                  <a:gd name="T4" fmla="*/ 16 w 16"/>
                  <a:gd name="T5" fmla="*/ 8 h 8"/>
                </a:gdLst>
                <a:ahLst/>
                <a:cxnLst>
                  <a:cxn ang="0">
                    <a:pos x="T0" y="T1"/>
                  </a:cxn>
                  <a:cxn ang="0">
                    <a:pos x="T2" y="T3"/>
                  </a:cxn>
                  <a:cxn ang="0">
                    <a:pos x="T4" y="T5"/>
                  </a:cxn>
                </a:cxnLst>
                <a:rect l="0" t="0" r="r" b="b"/>
                <a:pathLst>
                  <a:path w="16" h="8">
                    <a:moveTo>
                      <a:pt x="0" y="8"/>
                    </a:moveTo>
                    <a:cubicBezTo>
                      <a:pt x="0" y="4"/>
                      <a:pt x="3" y="0"/>
                      <a:pt x="8" y="0"/>
                    </a:cubicBezTo>
                    <a:cubicBezTo>
                      <a:pt x="12" y="0"/>
                      <a:pt x="16" y="4"/>
                      <a:pt x="16" y="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5" name="Freeform 172"/>
              <p:cNvSpPr>
                <a:spLocks/>
              </p:cNvSpPr>
              <p:nvPr/>
            </p:nvSpPr>
            <p:spPr bwMode="auto">
              <a:xfrm>
                <a:off x="3963" y="2191"/>
                <a:ext cx="41" cy="41"/>
              </a:xfrm>
              <a:custGeom>
                <a:avLst/>
                <a:gdLst>
                  <a:gd name="T0" fmla="*/ 20 w 20"/>
                  <a:gd name="T1" fmla="*/ 0 h 20"/>
                  <a:gd name="T2" fmla="*/ 0 w 20"/>
                  <a:gd name="T3" fmla="*/ 20 h 20"/>
                </a:gdLst>
                <a:ahLst/>
                <a:cxnLst>
                  <a:cxn ang="0">
                    <a:pos x="T0" y="T1"/>
                  </a:cxn>
                  <a:cxn ang="0">
                    <a:pos x="T2" y="T3"/>
                  </a:cxn>
                </a:cxnLst>
                <a:rect l="0" t="0" r="r" b="b"/>
                <a:pathLst>
                  <a:path w="20" h="20">
                    <a:moveTo>
                      <a:pt x="20" y="0"/>
                    </a:moveTo>
                    <a:cubicBezTo>
                      <a:pt x="20" y="12"/>
                      <a:pt x="11" y="20"/>
                      <a:pt x="0" y="2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6" name="Freeform 173"/>
              <p:cNvSpPr>
                <a:spLocks/>
              </p:cNvSpPr>
              <p:nvPr/>
            </p:nvSpPr>
            <p:spPr bwMode="auto">
              <a:xfrm>
                <a:off x="3988" y="2174"/>
                <a:ext cx="33" cy="17"/>
              </a:xfrm>
              <a:custGeom>
                <a:avLst/>
                <a:gdLst>
                  <a:gd name="T0" fmla="*/ 16 w 16"/>
                  <a:gd name="T1" fmla="*/ 0 h 8"/>
                  <a:gd name="T2" fmla="*/ 8 w 16"/>
                  <a:gd name="T3" fmla="*/ 8 h 8"/>
                  <a:gd name="T4" fmla="*/ 0 w 16"/>
                  <a:gd name="T5" fmla="*/ 0 h 8"/>
                </a:gdLst>
                <a:ahLst/>
                <a:cxnLst>
                  <a:cxn ang="0">
                    <a:pos x="T0" y="T1"/>
                  </a:cxn>
                  <a:cxn ang="0">
                    <a:pos x="T2" y="T3"/>
                  </a:cxn>
                  <a:cxn ang="0">
                    <a:pos x="T4" y="T5"/>
                  </a:cxn>
                </a:cxnLst>
                <a:rect l="0" t="0" r="r" b="b"/>
                <a:pathLst>
                  <a:path w="16" h="8">
                    <a:moveTo>
                      <a:pt x="16" y="0"/>
                    </a:moveTo>
                    <a:cubicBezTo>
                      <a:pt x="16" y="5"/>
                      <a:pt x="12" y="8"/>
                      <a:pt x="8" y="8"/>
                    </a:cubicBezTo>
                    <a:cubicBezTo>
                      <a:pt x="3" y="8"/>
                      <a:pt x="0" y="5"/>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7" name="Freeform 174"/>
              <p:cNvSpPr>
                <a:spLocks/>
              </p:cNvSpPr>
              <p:nvPr/>
            </p:nvSpPr>
            <p:spPr bwMode="auto">
              <a:xfrm>
                <a:off x="3926" y="2264"/>
                <a:ext cx="25" cy="50"/>
              </a:xfrm>
              <a:custGeom>
                <a:avLst/>
                <a:gdLst>
                  <a:gd name="T0" fmla="*/ 0 w 12"/>
                  <a:gd name="T1" fmla="*/ 0 h 24"/>
                  <a:gd name="T2" fmla="*/ 12 w 12"/>
                  <a:gd name="T3" fmla="*/ 24 h 24"/>
                </a:gdLst>
                <a:ahLst/>
                <a:cxnLst>
                  <a:cxn ang="0">
                    <a:pos x="T0" y="T1"/>
                  </a:cxn>
                  <a:cxn ang="0">
                    <a:pos x="T2" y="T3"/>
                  </a:cxn>
                </a:cxnLst>
                <a:rect l="0" t="0" r="r" b="b"/>
                <a:pathLst>
                  <a:path w="12" h="24">
                    <a:moveTo>
                      <a:pt x="0" y="0"/>
                    </a:moveTo>
                    <a:cubicBezTo>
                      <a:pt x="0" y="0"/>
                      <a:pt x="12" y="5"/>
                      <a:pt x="12" y="24"/>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8" name="Freeform 175"/>
              <p:cNvSpPr>
                <a:spLocks/>
              </p:cNvSpPr>
              <p:nvPr/>
            </p:nvSpPr>
            <p:spPr bwMode="auto">
              <a:xfrm>
                <a:off x="3885" y="2084"/>
                <a:ext cx="25" cy="25"/>
              </a:xfrm>
              <a:custGeom>
                <a:avLst/>
                <a:gdLst>
                  <a:gd name="T0" fmla="*/ 12 w 12"/>
                  <a:gd name="T1" fmla="*/ 12 h 12"/>
                  <a:gd name="T2" fmla="*/ 0 w 12"/>
                  <a:gd name="T3" fmla="*/ 0 h 12"/>
                </a:gdLst>
                <a:ahLst/>
                <a:cxnLst>
                  <a:cxn ang="0">
                    <a:pos x="T0" y="T1"/>
                  </a:cxn>
                  <a:cxn ang="0">
                    <a:pos x="T2" y="T3"/>
                  </a:cxn>
                </a:cxnLst>
                <a:rect l="0" t="0" r="r" b="b"/>
                <a:pathLst>
                  <a:path w="12" h="12">
                    <a:moveTo>
                      <a:pt x="12" y="12"/>
                    </a:moveTo>
                    <a:cubicBezTo>
                      <a:pt x="12" y="12"/>
                      <a:pt x="12" y="0"/>
                      <a:pt x="0" y="0"/>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99" name="Freeform 176"/>
              <p:cNvSpPr>
                <a:spLocks/>
              </p:cNvSpPr>
              <p:nvPr/>
            </p:nvSpPr>
            <p:spPr bwMode="auto">
              <a:xfrm>
                <a:off x="3934" y="2314"/>
                <a:ext cx="33" cy="16"/>
              </a:xfrm>
              <a:custGeom>
                <a:avLst/>
                <a:gdLst>
                  <a:gd name="T0" fmla="*/ 0 w 16"/>
                  <a:gd name="T1" fmla="*/ 8 h 8"/>
                  <a:gd name="T2" fmla="*/ 8 w 16"/>
                  <a:gd name="T3" fmla="*/ 0 h 8"/>
                  <a:gd name="T4" fmla="*/ 16 w 16"/>
                  <a:gd name="T5" fmla="*/ 8 h 8"/>
                </a:gdLst>
                <a:ahLst/>
                <a:cxnLst>
                  <a:cxn ang="0">
                    <a:pos x="T0" y="T1"/>
                  </a:cxn>
                  <a:cxn ang="0">
                    <a:pos x="T2" y="T3"/>
                  </a:cxn>
                  <a:cxn ang="0">
                    <a:pos x="T4" y="T5"/>
                  </a:cxn>
                </a:cxnLst>
                <a:rect l="0" t="0" r="r" b="b"/>
                <a:pathLst>
                  <a:path w="16" h="8">
                    <a:moveTo>
                      <a:pt x="0" y="8"/>
                    </a:moveTo>
                    <a:cubicBezTo>
                      <a:pt x="0" y="4"/>
                      <a:pt x="3" y="0"/>
                      <a:pt x="8" y="0"/>
                    </a:cubicBezTo>
                    <a:cubicBezTo>
                      <a:pt x="12" y="0"/>
                      <a:pt x="16" y="4"/>
                      <a:pt x="16" y="8"/>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1" name="Freeform 177"/>
              <p:cNvSpPr>
                <a:spLocks/>
              </p:cNvSpPr>
              <p:nvPr/>
            </p:nvSpPr>
            <p:spPr bwMode="auto">
              <a:xfrm>
                <a:off x="3849" y="2283"/>
                <a:ext cx="16" cy="33"/>
              </a:xfrm>
              <a:custGeom>
                <a:avLst/>
                <a:gdLst>
                  <a:gd name="T0" fmla="*/ 0 w 8"/>
                  <a:gd name="T1" fmla="*/ 0 h 16"/>
                  <a:gd name="T2" fmla="*/ 8 w 8"/>
                  <a:gd name="T3" fmla="*/ 8 h 16"/>
                  <a:gd name="T4" fmla="*/ 0 w 8"/>
                  <a:gd name="T5" fmla="*/ 16 h 16"/>
                </a:gdLst>
                <a:ahLst/>
                <a:cxnLst>
                  <a:cxn ang="0">
                    <a:pos x="T0" y="T1"/>
                  </a:cxn>
                  <a:cxn ang="0">
                    <a:pos x="T2" y="T3"/>
                  </a:cxn>
                  <a:cxn ang="0">
                    <a:pos x="T4" y="T5"/>
                  </a:cxn>
                </a:cxnLst>
                <a:rect l="0" t="0" r="r" b="b"/>
                <a:pathLst>
                  <a:path w="8" h="16">
                    <a:moveTo>
                      <a:pt x="0" y="0"/>
                    </a:moveTo>
                    <a:cubicBezTo>
                      <a:pt x="4" y="0"/>
                      <a:pt x="8" y="4"/>
                      <a:pt x="8" y="8"/>
                    </a:cubicBezTo>
                    <a:cubicBezTo>
                      <a:pt x="8" y="13"/>
                      <a:pt x="4" y="16"/>
                      <a:pt x="0" y="1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2" name="Freeform 178"/>
              <p:cNvSpPr>
                <a:spLocks/>
              </p:cNvSpPr>
              <p:nvPr/>
            </p:nvSpPr>
            <p:spPr bwMode="auto">
              <a:xfrm>
                <a:off x="3869" y="2105"/>
                <a:ext cx="90" cy="61"/>
              </a:xfrm>
              <a:custGeom>
                <a:avLst/>
                <a:gdLst>
                  <a:gd name="T0" fmla="*/ 0 w 44"/>
                  <a:gd name="T1" fmla="*/ 22 h 30"/>
                  <a:gd name="T2" fmla="*/ 22 w 44"/>
                  <a:gd name="T3" fmla="*/ 0 h 30"/>
                  <a:gd name="T4" fmla="*/ 44 w 44"/>
                  <a:gd name="T5" fmla="*/ 22 h 30"/>
                  <a:gd name="T6" fmla="*/ 44 w 44"/>
                  <a:gd name="T7" fmla="*/ 30 h 30"/>
                  <a:gd name="T8" fmla="*/ 0 w 44"/>
                  <a:gd name="T9" fmla="*/ 30 h 30"/>
                  <a:gd name="T10" fmla="*/ 0 w 44"/>
                  <a:gd name="T11" fmla="*/ 22 h 30"/>
                </a:gdLst>
                <a:ahLst/>
                <a:cxnLst>
                  <a:cxn ang="0">
                    <a:pos x="T0" y="T1"/>
                  </a:cxn>
                  <a:cxn ang="0">
                    <a:pos x="T2" y="T3"/>
                  </a:cxn>
                  <a:cxn ang="0">
                    <a:pos x="T4" y="T5"/>
                  </a:cxn>
                  <a:cxn ang="0">
                    <a:pos x="T6" y="T7"/>
                  </a:cxn>
                  <a:cxn ang="0">
                    <a:pos x="T8" y="T9"/>
                  </a:cxn>
                  <a:cxn ang="0">
                    <a:pos x="T10" y="T11"/>
                  </a:cxn>
                </a:cxnLst>
                <a:rect l="0" t="0" r="r" b="b"/>
                <a:pathLst>
                  <a:path w="44" h="30">
                    <a:moveTo>
                      <a:pt x="0" y="22"/>
                    </a:moveTo>
                    <a:cubicBezTo>
                      <a:pt x="0" y="10"/>
                      <a:pt x="10" y="0"/>
                      <a:pt x="22" y="0"/>
                    </a:cubicBezTo>
                    <a:cubicBezTo>
                      <a:pt x="34" y="0"/>
                      <a:pt x="44" y="10"/>
                      <a:pt x="44" y="22"/>
                    </a:cubicBezTo>
                    <a:cubicBezTo>
                      <a:pt x="44" y="30"/>
                      <a:pt x="44" y="30"/>
                      <a:pt x="44" y="30"/>
                    </a:cubicBezTo>
                    <a:cubicBezTo>
                      <a:pt x="0" y="30"/>
                      <a:pt x="0" y="30"/>
                      <a:pt x="0" y="30"/>
                    </a:cubicBezTo>
                    <a:lnTo>
                      <a:pt x="0" y="22"/>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5" name="Freeform 179"/>
              <p:cNvSpPr>
                <a:spLocks/>
              </p:cNvSpPr>
              <p:nvPr/>
            </p:nvSpPr>
            <p:spPr bwMode="auto">
              <a:xfrm>
                <a:off x="3863" y="2267"/>
                <a:ext cx="33" cy="32"/>
              </a:xfrm>
              <a:custGeom>
                <a:avLst/>
                <a:gdLst>
                  <a:gd name="T0" fmla="*/ 16 w 16"/>
                  <a:gd name="T1" fmla="*/ 0 h 16"/>
                  <a:gd name="T2" fmla="*/ 0 w 16"/>
                  <a:gd name="T3" fmla="*/ 16 h 16"/>
                </a:gdLst>
                <a:ahLst/>
                <a:cxnLst>
                  <a:cxn ang="0">
                    <a:pos x="T0" y="T1"/>
                  </a:cxn>
                  <a:cxn ang="0">
                    <a:pos x="T2" y="T3"/>
                  </a:cxn>
                </a:cxnLst>
                <a:rect l="0" t="0" r="r" b="b"/>
                <a:pathLst>
                  <a:path w="16" h="16">
                    <a:moveTo>
                      <a:pt x="16" y="0"/>
                    </a:moveTo>
                    <a:cubicBezTo>
                      <a:pt x="16" y="9"/>
                      <a:pt x="9" y="16"/>
                      <a:pt x="0" y="1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77" name="Group 183"/>
            <p:cNvGrpSpPr>
              <a:grpSpLocks noChangeAspect="1"/>
            </p:cNvGrpSpPr>
            <p:nvPr/>
          </p:nvGrpSpPr>
          <p:grpSpPr bwMode="auto">
            <a:xfrm>
              <a:off x="1011660" y="3363425"/>
              <a:ext cx="169440" cy="285133"/>
              <a:chOff x="3825" y="2054"/>
              <a:chExt cx="186" cy="313"/>
            </a:xfrm>
          </p:grpSpPr>
          <p:sp>
            <p:nvSpPr>
              <p:cNvPr id="79" name="Line 184"/>
              <p:cNvSpPr>
                <a:spLocks noChangeShapeType="1"/>
              </p:cNvSpPr>
              <p:nvPr/>
            </p:nvSpPr>
            <p:spPr bwMode="auto">
              <a:xfrm>
                <a:off x="3875" y="2314"/>
                <a:ext cx="86"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3" name="Line 185"/>
              <p:cNvSpPr>
                <a:spLocks noChangeShapeType="1"/>
              </p:cNvSpPr>
              <p:nvPr/>
            </p:nvSpPr>
            <p:spPr bwMode="auto">
              <a:xfrm>
                <a:off x="3891" y="2367"/>
                <a:ext cx="52"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84" name="Freeform 187"/>
              <p:cNvSpPr>
                <a:spLocks/>
              </p:cNvSpPr>
              <p:nvPr/>
            </p:nvSpPr>
            <p:spPr bwMode="auto">
              <a:xfrm>
                <a:off x="3825" y="2054"/>
                <a:ext cx="186" cy="212"/>
              </a:xfrm>
              <a:custGeom>
                <a:avLst/>
                <a:gdLst>
                  <a:gd name="T0" fmla="*/ 69 w 90"/>
                  <a:gd name="T1" fmla="*/ 104 h 104"/>
                  <a:gd name="T2" fmla="*/ 20 w 90"/>
                  <a:gd name="T3" fmla="*/ 104 h 104"/>
                  <a:gd name="T4" fmla="*/ 20 w 90"/>
                  <a:gd name="T5" fmla="*/ 100 h 104"/>
                  <a:gd name="T6" fmla="*/ 8 w 90"/>
                  <a:gd name="T7" fmla="*/ 72 h 104"/>
                  <a:gd name="T8" fmla="*/ 8 w 90"/>
                  <a:gd name="T9" fmla="*/ 72 h 104"/>
                  <a:gd name="T10" fmla="*/ 0 w 90"/>
                  <a:gd name="T11" fmla="*/ 45 h 104"/>
                  <a:gd name="T12" fmla="*/ 45 w 90"/>
                  <a:gd name="T13" fmla="*/ 0 h 104"/>
                  <a:gd name="T14" fmla="*/ 90 w 90"/>
                  <a:gd name="T15" fmla="*/ 45 h 104"/>
                  <a:gd name="T16" fmla="*/ 81 w 90"/>
                  <a:gd name="T17" fmla="*/ 72 h 104"/>
                  <a:gd name="T18" fmla="*/ 79 w 90"/>
                  <a:gd name="T19" fmla="*/ 74 h 104"/>
                  <a:gd name="T20" fmla="*/ 70 w 90"/>
                  <a:gd name="T21" fmla="*/ 100 h 104"/>
                  <a:gd name="T22" fmla="*/ 69 w 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04">
                    <a:moveTo>
                      <a:pt x="69" y="104"/>
                    </a:moveTo>
                    <a:cubicBezTo>
                      <a:pt x="20" y="104"/>
                      <a:pt x="20" y="104"/>
                      <a:pt x="20" y="104"/>
                    </a:cubicBezTo>
                    <a:cubicBezTo>
                      <a:pt x="20" y="100"/>
                      <a:pt x="20" y="100"/>
                      <a:pt x="20" y="100"/>
                    </a:cubicBezTo>
                    <a:cubicBezTo>
                      <a:pt x="20" y="100"/>
                      <a:pt x="18" y="85"/>
                      <a:pt x="8" y="72"/>
                    </a:cubicBezTo>
                    <a:cubicBezTo>
                      <a:pt x="8" y="72"/>
                      <a:pt x="8" y="72"/>
                      <a:pt x="8" y="72"/>
                    </a:cubicBezTo>
                    <a:cubicBezTo>
                      <a:pt x="3" y="64"/>
                      <a:pt x="0" y="55"/>
                      <a:pt x="0" y="45"/>
                    </a:cubicBezTo>
                    <a:cubicBezTo>
                      <a:pt x="0" y="20"/>
                      <a:pt x="20" y="0"/>
                      <a:pt x="45" y="0"/>
                    </a:cubicBezTo>
                    <a:cubicBezTo>
                      <a:pt x="69" y="0"/>
                      <a:pt x="90" y="20"/>
                      <a:pt x="90" y="45"/>
                    </a:cubicBezTo>
                    <a:cubicBezTo>
                      <a:pt x="90" y="55"/>
                      <a:pt x="87" y="64"/>
                      <a:pt x="81" y="72"/>
                    </a:cubicBezTo>
                    <a:cubicBezTo>
                      <a:pt x="79" y="74"/>
                      <a:pt x="79" y="74"/>
                      <a:pt x="79" y="74"/>
                    </a:cubicBezTo>
                    <a:cubicBezTo>
                      <a:pt x="71" y="87"/>
                      <a:pt x="70" y="100"/>
                      <a:pt x="70" y="100"/>
                    </a:cubicBezTo>
                    <a:lnTo>
                      <a:pt x="69" y="104"/>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grpSp>
        <p:nvGrpSpPr>
          <p:cNvPr id="6" name="Group 5"/>
          <p:cNvGrpSpPr/>
          <p:nvPr/>
        </p:nvGrpSpPr>
        <p:grpSpPr>
          <a:xfrm>
            <a:off x="829986" y="1833475"/>
            <a:ext cx="1165352" cy="1165352"/>
            <a:chOff x="846628" y="1869743"/>
            <a:chExt cx="1188720" cy="1188720"/>
          </a:xfrm>
        </p:grpSpPr>
        <p:sp>
          <p:nvSpPr>
            <p:cNvPr id="3" name="Oval 2"/>
            <p:cNvSpPr/>
            <p:nvPr/>
          </p:nvSpPr>
          <p:spPr bwMode="auto">
            <a:xfrm>
              <a:off x="846628" y="1869743"/>
              <a:ext cx="1188720" cy="1188720"/>
            </a:xfrm>
            <a:prstGeom prst="ellipse">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Freeform 5"/>
            <p:cNvSpPr>
              <a:spLocks noEditPoints="1"/>
            </p:cNvSpPr>
            <p:nvPr/>
          </p:nvSpPr>
          <p:spPr bwMode="auto">
            <a:xfrm>
              <a:off x="1133656" y="2301060"/>
              <a:ext cx="614666" cy="346614"/>
            </a:xfrm>
            <a:custGeom>
              <a:avLst/>
              <a:gdLst>
                <a:gd name="T0" fmla="*/ 73 w 130"/>
                <a:gd name="T1" fmla="*/ 36 h 72"/>
                <a:gd name="T2" fmla="*/ 65 w 130"/>
                <a:gd name="T3" fmla="*/ 44 h 72"/>
                <a:gd name="T4" fmla="*/ 57 w 130"/>
                <a:gd name="T5" fmla="*/ 36 h 72"/>
                <a:gd name="T6" fmla="*/ 65 w 130"/>
                <a:gd name="T7" fmla="*/ 28 h 72"/>
                <a:gd name="T8" fmla="*/ 73 w 130"/>
                <a:gd name="T9" fmla="*/ 36 h 72"/>
                <a:gd name="T10" fmla="*/ 126 w 130"/>
                <a:gd name="T11" fmla="*/ 44 h 72"/>
                <a:gd name="T12" fmla="*/ 126 w 130"/>
                <a:gd name="T13" fmla="*/ 44 h 72"/>
                <a:gd name="T14" fmla="*/ 65 w 130"/>
                <a:gd name="T15" fmla="*/ 72 h 72"/>
                <a:gd name="T16" fmla="*/ 4 w 130"/>
                <a:gd name="T17" fmla="*/ 44 h 72"/>
                <a:gd name="T18" fmla="*/ 4 w 130"/>
                <a:gd name="T19" fmla="*/ 44 h 72"/>
                <a:gd name="T20" fmla="*/ 4 w 130"/>
                <a:gd name="T21" fmla="*/ 28 h 72"/>
                <a:gd name="T22" fmla="*/ 4 w 130"/>
                <a:gd name="T23" fmla="*/ 28 h 72"/>
                <a:gd name="T24" fmla="*/ 65 w 130"/>
                <a:gd name="T25" fmla="*/ 0 h 72"/>
                <a:gd name="T26" fmla="*/ 126 w 130"/>
                <a:gd name="T27" fmla="*/ 28 h 72"/>
                <a:gd name="T28" fmla="*/ 126 w 130"/>
                <a:gd name="T29" fmla="*/ 28 h 72"/>
                <a:gd name="T30" fmla="*/ 126 w 130"/>
                <a:gd name="T31" fmla="*/ 44 h 72"/>
                <a:gd name="T32" fmla="*/ 29 w 130"/>
                <a:gd name="T33" fmla="*/ 36 h 72"/>
                <a:gd name="T34" fmla="*/ 37 w 130"/>
                <a:gd name="T35" fmla="*/ 14 h 72"/>
                <a:gd name="T36" fmla="*/ 10 w 130"/>
                <a:gd name="T37" fmla="*/ 33 h 72"/>
                <a:gd name="T38" fmla="*/ 7 w 130"/>
                <a:gd name="T39" fmla="*/ 31 h 72"/>
                <a:gd name="T40" fmla="*/ 10 w 130"/>
                <a:gd name="T41" fmla="*/ 33 h 72"/>
                <a:gd name="T42" fmla="*/ 10 w 130"/>
                <a:gd name="T43" fmla="*/ 39 h 72"/>
                <a:gd name="T44" fmla="*/ 7 w 130"/>
                <a:gd name="T45" fmla="*/ 41 h 72"/>
                <a:gd name="T46" fmla="*/ 10 w 130"/>
                <a:gd name="T47" fmla="*/ 39 h 72"/>
                <a:gd name="T48" fmla="*/ 37 w 130"/>
                <a:gd name="T49" fmla="*/ 58 h 72"/>
                <a:gd name="T50" fmla="*/ 29 w 130"/>
                <a:gd name="T51" fmla="*/ 36 h 72"/>
                <a:gd name="T52" fmla="*/ 93 w 130"/>
                <a:gd name="T53" fmla="*/ 36 h 72"/>
                <a:gd name="T54" fmla="*/ 68 w 130"/>
                <a:gd name="T55" fmla="*/ 8 h 72"/>
                <a:gd name="T56" fmla="*/ 65 w 130"/>
                <a:gd name="T57" fmla="*/ 8 h 72"/>
                <a:gd name="T58" fmla="*/ 62 w 130"/>
                <a:gd name="T59" fmla="*/ 8 h 72"/>
                <a:gd name="T60" fmla="*/ 37 w 130"/>
                <a:gd name="T61" fmla="*/ 36 h 72"/>
                <a:gd name="T62" fmla="*/ 62 w 130"/>
                <a:gd name="T63" fmla="*/ 64 h 72"/>
                <a:gd name="T64" fmla="*/ 65 w 130"/>
                <a:gd name="T65" fmla="*/ 64 h 72"/>
                <a:gd name="T66" fmla="*/ 68 w 130"/>
                <a:gd name="T67" fmla="*/ 64 h 72"/>
                <a:gd name="T68" fmla="*/ 93 w 130"/>
                <a:gd name="T69" fmla="*/ 36 h 72"/>
                <a:gd name="T70" fmla="*/ 120 w 130"/>
                <a:gd name="T71" fmla="*/ 33 h 72"/>
                <a:gd name="T72" fmla="*/ 123 w 130"/>
                <a:gd name="T73" fmla="*/ 31 h 72"/>
                <a:gd name="T74" fmla="*/ 120 w 130"/>
                <a:gd name="T75" fmla="*/ 33 h 72"/>
                <a:gd name="T76" fmla="*/ 93 w 130"/>
                <a:gd name="T77" fmla="*/ 14 h 72"/>
                <a:gd name="T78" fmla="*/ 101 w 130"/>
                <a:gd name="T79" fmla="*/ 36 h 72"/>
                <a:gd name="T80" fmla="*/ 93 w 130"/>
                <a:gd name="T81" fmla="*/ 58 h 72"/>
                <a:gd name="T82" fmla="*/ 120 w 130"/>
                <a:gd name="T83" fmla="*/ 39 h 72"/>
                <a:gd name="T84" fmla="*/ 123 w 130"/>
                <a:gd name="T85" fmla="*/ 41 h 72"/>
                <a:gd name="T86" fmla="*/ 120 w 130"/>
                <a:gd name="T87" fmla="*/ 39 h 72"/>
                <a:gd name="T88" fmla="*/ 120 w 130"/>
                <a:gd name="T89" fmla="*/ 3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0" h="72">
                  <a:moveTo>
                    <a:pt x="73" y="36"/>
                  </a:moveTo>
                  <a:cubicBezTo>
                    <a:pt x="73" y="40"/>
                    <a:pt x="69" y="44"/>
                    <a:pt x="65" y="44"/>
                  </a:cubicBezTo>
                  <a:cubicBezTo>
                    <a:pt x="61" y="44"/>
                    <a:pt x="57" y="40"/>
                    <a:pt x="57" y="36"/>
                  </a:cubicBezTo>
                  <a:cubicBezTo>
                    <a:pt x="57" y="32"/>
                    <a:pt x="61" y="28"/>
                    <a:pt x="65" y="28"/>
                  </a:cubicBezTo>
                  <a:cubicBezTo>
                    <a:pt x="69" y="28"/>
                    <a:pt x="73" y="32"/>
                    <a:pt x="73" y="36"/>
                  </a:cubicBezTo>
                  <a:close/>
                  <a:moveTo>
                    <a:pt x="126" y="44"/>
                  </a:moveTo>
                  <a:cubicBezTo>
                    <a:pt x="126" y="44"/>
                    <a:pt x="126" y="44"/>
                    <a:pt x="126" y="44"/>
                  </a:cubicBezTo>
                  <a:cubicBezTo>
                    <a:pt x="110" y="62"/>
                    <a:pt x="88" y="72"/>
                    <a:pt x="65" y="72"/>
                  </a:cubicBezTo>
                  <a:cubicBezTo>
                    <a:pt x="42" y="72"/>
                    <a:pt x="20" y="62"/>
                    <a:pt x="4" y="44"/>
                  </a:cubicBezTo>
                  <a:cubicBezTo>
                    <a:pt x="4" y="44"/>
                    <a:pt x="4" y="44"/>
                    <a:pt x="4" y="44"/>
                  </a:cubicBezTo>
                  <a:cubicBezTo>
                    <a:pt x="0" y="40"/>
                    <a:pt x="0" y="32"/>
                    <a:pt x="4" y="28"/>
                  </a:cubicBezTo>
                  <a:cubicBezTo>
                    <a:pt x="4" y="28"/>
                    <a:pt x="4" y="28"/>
                    <a:pt x="4" y="28"/>
                  </a:cubicBezTo>
                  <a:cubicBezTo>
                    <a:pt x="20" y="10"/>
                    <a:pt x="42" y="0"/>
                    <a:pt x="65" y="0"/>
                  </a:cubicBezTo>
                  <a:cubicBezTo>
                    <a:pt x="88" y="0"/>
                    <a:pt x="110" y="10"/>
                    <a:pt x="126" y="28"/>
                  </a:cubicBezTo>
                  <a:cubicBezTo>
                    <a:pt x="126" y="28"/>
                    <a:pt x="126" y="28"/>
                    <a:pt x="126" y="28"/>
                  </a:cubicBezTo>
                  <a:cubicBezTo>
                    <a:pt x="130" y="32"/>
                    <a:pt x="130" y="40"/>
                    <a:pt x="126" y="44"/>
                  </a:cubicBezTo>
                  <a:close/>
                  <a:moveTo>
                    <a:pt x="29" y="36"/>
                  </a:moveTo>
                  <a:cubicBezTo>
                    <a:pt x="29" y="28"/>
                    <a:pt x="32" y="20"/>
                    <a:pt x="37" y="14"/>
                  </a:cubicBezTo>
                  <a:cubicBezTo>
                    <a:pt x="27" y="18"/>
                    <a:pt x="18" y="25"/>
                    <a:pt x="10" y="33"/>
                  </a:cubicBezTo>
                  <a:cubicBezTo>
                    <a:pt x="7" y="31"/>
                    <a:pt x="7" y="31"/>
                    <a:pt x="7" y="31"/>
                  </a:cubicBezTo>
                  <a:cubicBezTo>
                    <a:pt x="10" y="33"/>
                    <a:pt x="10" y="33"/>
                    <a:pt x="10" y="33"/>
                  </a:cubicBezTo>
                  <a:cubicBezTo>
                    <a:pt x="9" y="35"/>
                    <a:pt x="9" y="37"/>
                    <a:pt x="10" y="39"/>
                  </a:cubicBezTo>
                  <a:cubicBezTo>
                    <a:pt x="7" y="41"/>
                    <a:pt x="7" y="41"/>
                    <a:pt x="7" y="41"/>
                  </a:cubicBezTo>
                  <a:cubicBezTo>
                    <a:pt x="10" y="39"/>
                    <a:pt x="10" y="39"/>
                    <a:pt x="10" y="39"/>
                  </a:cubicBezTo>
                  <a:cubicBezTo>
                    <a:pt x="18" y="47"/>
                    <a:pt x="27" y="54"/>
                    <a:pt x="37" y="58"/>
                  </a:cubicBezTo>
                  <a:cubicBezTo>
                    <a:pt x="32" y="52"/>
                    <a:pt x="29" y="44"/>
                    <a:pt x="29" y="36"/>
                  </a:cubicBezTo>
                  <a:close/>
                  <a:moveTo>
                    <a:pt x="93" y="36"/>
                  </a:moveTo>
                  <a:cubicBezTo>
                    <a:pt x="93" y="22"/>
                    <a:pt x="82" y="10"/>
                    <a:pt x="68" y="8"/>
                  </a:cubicBezTo>
                  <a:cubicBezTo>
                    <a:pt x="67" y="8"/>
                    <a:pt x="66" y="8"/>
                    <a:pt x="65" y="8"/>
                  </a:cubicBezTo>
                  <a:cubicBezTo>
                    <a:pt x="64" y="8"/>
                    <a:pt x="63" y="8"/>
                    <a:pt x="62" y="8"/>
                  </a:cubicBezTo>
                  <a:cubicBezTo>
                    <a:pt x="48" y="10"/>
                    <a:pt x="37" y="22"/>
                    <a:pt x="37" y="36"/>
                  </a:cubicBezTo>
                  <a:cubicBezTo>
                    <a:pt x="37" y="50"/>
                    <a:pt x="48" y="62"/>
                    <a:pt x="62" y="64"/>
                  </a:cubicBezTo>
                  <a:cubicBezTo>
                    <a:pt x="63" y="64"/>
                    <a:pt x="64" y="64"/>
                    <a:pt x="65" y="64"/>
                  </a:cubicBezTo>
                  <a:cubicBezTo>
                    <a:pt x="66" y="64"/>
                    <a:pt x="67" y="64"/>
                    <a:pt x="68" y="64"/>
                  </a:cubicBezTo>
                  <a:cubicBezTo>
                    <a:pt x="82" y="62"/>
                    <a:pt x="93" y="50"/>
                    <a:pt x="93" y="36"/>
                  </a:cubicBezTo>
                  <a:close/>
                  <a:moveTo>
                    <a:pt x="120" y="33"/>
                  </a:moveTo>
                  <a:cubicBezTo>
                    <a:pt x="123" y="31"/>
                    <a:pt x="123" y="31"/>
                    <a:pt x="123" y="31"/>
                  </a:cubicBezTo>
                  <a:cubicBezTo>
                    <a:pt x="120" y="33"/>
                    <a:pt x="120" y="33"/>
                    <a:pt x="120" y="33"/>
                  </a:cubicBezTo>
                  <a:cubicBezTo>
                    <a:pt x="112" y="25"/>
                    <a:pt x="103" y="18"/>
                    <a:pt x="93" y="14"/>
                  </a:cubicBezTo>
                  <a:cubicBezTo>
                    <a:pt x="98" y="20"/>
                    <a:pt x="101" y="28"/>
                    <a:pt x="101" y="36"/>
                  </a:cubicBezTo>
                  <a:cubicBezTo>
                    <a:pt x="101" y="44"/>
                    <a:pt x="98" y="52"/>
                    <a:pt x="93" y="58"/>
                  </a:cubicBezTo>
                  <a:cubicBezTo>
                    <a:pt x="103" y="54"/>
                    <a:pt x="112" y="47"/>
                    <a:pt x="120" y="39"/>
                  </a:cubicBezTo>
                  <a:cubicBezTo>
                    <a:pt x="123" y="41"/>
                    <a:pt x="123" y="41"/>
                    <a:pt x="123" y="41"/>
                  </a:cubicBezTo>
                  <a:cubicBezTo>
                    <a:pt x="120" y="39"/>
                    <a:pt x="120" y="39"/>
                    <a:pt x="120" y="39"/>
                  </a:cubicBezTo>
                  <a:cubicBezTo>
                    <a:pt x="121" y="37"/>
                    <a:pt x="121" y="35"/>
                    <a:pt x="120" y="33"/>
                  </a:cubicBezTo>
                  <a:close/>
                </a:path>
              </a:pathLst>
            </a:custGeom>
            <a:solidFill>
              <a:schemeClr val="accent1"/>
            </a:solidFill>
            <a:ln w="0">
              <a:solidFill>
                <a:schemeClr val="bg1"/>
              </a:solidFill>
            </a:ln>
          </p:spPr>
          <p:txBody>
            <a:bodyPr vert="horz" wrap="square" lIns="89642" tIns="44821" rIns="89642" bIns="44821" numCol="1" anchor="t" anchorCtr="0" compatLnSpc="1">
              <a:prstTxWarp prst="textNoShape">
                <a:avLst/>
              </a:prstTxWarp>
            </a:bodyPr>
            <a:lstStyle/>
            <a:p>
              <a:pPr defTabSz="896386"/>
              <a:endParaRPr lang="en-US" sz="1765" kern="0" dirty="0">
                <a:gradFill>
                  <a:gsLst>
                    <a:gs pos="1250">
                      <a:schemeClr val="tx2"/>
                    </a:gs>
                    <a:gs pos="100000">
                      <a:schemeClr val="tx2"/>
                    </a:gs>
                  </a:gsLst>
                  <a:lin ang="5400000" scaled="0"/>
                </a:gradFill>
              </a:endParaRPr>
            </a:p>
          </p:txBody>
        </p:sp>
      </p:grpSp>
      <p:grpSp>
        <p:nvGrpSpPr>
          <p:cNvPr id="14" name="Group 13"/>
          <p:cNvGrpSpPr/>
          <p:nvPr/>
        </p:nvGrpSpPr>
        <p:grpSpPr>
          <a:xfrm>
            <a:off x="3178143" y="1833475"/>
            <a:ext cx="1165352" cy="1165352"/>
            <a:chOff x="3241871" y="1869743"/>
            <a:chExt cx="1188720" cy="1188720"/>
          </a:xfrm>
        </p:grpSpPr>
        <p:sp>
          <p:nvSpPr>
            <p:cNvPr id="72" name="Oval 71"/>
            <p:cNvSpPr/>
            <p:nvPr/>
          </p:nvSpPr>
          <p:spPr bwMode="auto">
            <a:xfrm>
              <a:off x="3241871" y="1869743"/>
              <a:ext cx="1188720" cy="1188720"/>
            </a:xfrm>
            <a:prstGeom prst="ellipse">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21"/>
            <p:cNvSpPr>
              <a:spLocks noEditPoints="1"/>
            </p:cNvSpPr>
            <p:nvPr/>
          </p:nvSpPr>
          <p:spPr bwMode="auto">
            <a:xfrm>
              <a:off x="3687474" y="2260923"/>
              <a:ext cx="288925" cy="390525"/>
            </a:xfrm>
            <a:custGeom>
              <a:avLst/>
              <a:gdLst>
                <a:gd name="T0" fmla="*/ 12 w 88"/>
                <a:gd name="T1" fmla="*/ 78 h 120"/>
                <a:gd name="T2" fmla="*/ 32 w 88"/>
                <a:gd name="T3" fmla="*/ 96 h 120"/>
                <a:gd name="T4" fmla="*/ 56 w 88"/>
                <a:gd name="T5" fmla="*/ 96 h 120"/>
                <a:gd name="T6" fmla="*/ 76 w 88"/>
                <a:gd name="T7" fmla="*/ 78 h 120"/>
                <a:gd name="T8" fmla="*/ 80 w 88"/>
                <a:gd name="T9" fmla="*/ 44 h 120"/>
                <a:gd name="T10" fmla="*/ 88 w 88"/>
                <a:gd name="T11" fmla="*/ 44 h 120"/>
                <a:gd name="T12" fmla="*/ 84 w 88"/>
                <a:gd name="T13" fmla="*/ 79 h 120"/>
                <a:gd name="T14" fmla="*/ 56 w 88"/>
                <a:gd name="T15" fmla="*/ 104 h 120"/>
                <a:gd name="T16" fmla="*/ 48 w 88"/>
                <a:gd name="T17" fmla="*/ 104 h 120"/>
                <a:gd name="T18" fmla="*/ 48 w 88"/>
                <a:gd name="T19" fmla="*/ 112 h 120"/>
                <a:gd name="T20" fmla="*/ 64 w 88"/>
                <a:gd name="T21" fmla="*/ 112 h 120"/>
                <a:gd name="T22" fmla="*/ 64 w 88"/>
                <a:gd name="T23" fmla="*/ 120 h 120"/>
                <a:gd name="T24" fmla="*/ 24 w 88"/>
                <a:gd name="T25" fmla="*/ 120 h 120"/>
                <a:gd name="T26" fmla="*/ 24 w 88"/>
                <a:gd name="T27" fmla="*/ 112 h 120"/>
                <a:gd name="T28" fmla="*/ 40 w 88"/>
                <a:gd name="T29" fmla="*/ 112 h 120"/>
                <a:gd name="T30" fmla="*/ 40 w 88"/>
                <a:gd name="T31" fmla="*/ 104 h 120"/>
                <a:gd name="T32" fmla="*/ 32 w 88"/>
                <a:gd name="T33" fmla="*/ 104 h 120"/>
                <a:gd name="T34" fmla="*/ 4 w 88"/>
                <a:gd name="T35" fmla="*/ 79 h 120"/>
                <a:gd name="T36" fmla="*/ 0 w 88"/>
                <a:gd name="T37" fmla="*/ 44 h 120"/>
                <a:gd name="T38" fmla="*/ 8 w 88"/>
                <a:gd name="T39" fmla="*/ 44 h 120"/>
                <a:gd name="T40" fmla="*/ 12 w 88"/>
                <a:gd name="T41" fmla="*/ 78 h 120"/>
                <a:gd name="T42" fmla="*/ 20 w 88"/>
                <a:gd name="T43" fmla="*/ 76 h 120"/>
                <a:gd name="T44" fmla="*/ 16 w 88"/>
                <a:gd name="T45" fmla="*/ 45 h 120"/>
                <a:gd name="T46" fmla="*/ 16 w 88"/>
                <a:gd name="T47" fmla="*/ 43 h 120"/>
                <a:gd name="T48" fmla="*/ 20 w 88"/>
                <a:gd name="T49" fmla="*/ 12 h 120"/>
                <a:gd name="T50" fmla="*/ 32 w 88"/>
                <a:gd name="T51" fmla="*/ 0 h 120"/>
                <a:gd name="T52" fmla="*/ 56 w 88"/>
                <a:gd name="T53" fmla="*/ 0 h 120"/>
                <a:gd name="T54" fmla="*/ 68 w 88"/>
                <a:gd name="T55" fmla="*/ 12 h 120"/>
                <a:gd name="T56" fmla="*/ 72 w 88"/>
                <a:gd name="T57" fmla="*/ 43 h 120"/>
                <a:gd name="T58" fmla="*/ 72 w 88"/>
                <a:gd name="T59" fmla="*/ 45 h 120"/>
                <a:gd name="T60" fmla="*/ 68 w 88"/>
                <a:gd name="T61" fmla="*/ 76 h 120"/>
                <a:gd name="T62" fmla="*/ 56 w 88"/>
                <a:gd name="T63" fmla="*/ 88 h 120"/>
                <a:gd name="T64" fmla="*/ 32 w 88"/>
                <a:gd name="T65" fmla="*/ 88 h 120"/>
                <a:gd name="T66" fmla="*/ 20 w 88"/>
                <a:gd name="T67" fmla="*/ 76 h 120"/>
                <a:gd name="T68" fmla="*/ 24 w 88"/>
                <a:gd name="T69" fmla="*/ 44 h 120"/>
                <a:gd name="T70" fmla="*/ 24 w 88"/>
                <a:gd name="T71" fmla="*/ 44 h 120"/>
                <a:gd name="T72" fmla="*/ 28 w 88"/>
                <a:gd name="T73" fmla="*/ 76 h 120"/>
                <a:gd name="T74" fmla="*/ 32 w 88"/>
                <a:gd name="T75" fmla="*/ 80 h 120"/>
                <a:gd name="T76" fmla="*/ 56 w 88"/>
                <a:gd name="T77" fmla="*/ 80 h 120"/>
                <a:gd name="T78" fmla="*/ 60 w 88"/>
                <a:gd name="T79" fmla="*/ 76 h 120"/>
                <a:gd name="T80" fmla="*/ 60 w 88"/>
                <a:gd name="T81" fmla="*/ 76 h 120"/>
                <a:gd name="T82" fmla="*/ 64 w 88"/>
                <a:gd name="T83" fmla="*/ 44 h 120"/>
                <a:gd name="T84" fmla="*/ 64 w 88"/>
                <a:gd name="T85" fmla="*/ 44 h 120"/>
                <a:gd name="T86" fmla="*/ 60 w 88"/>
                <a:gd name="T87" fmla="*/ 12 h 120"/>
                <a:gd name="T88" fmla="*/ 56 w 88"/>
                <a:gd name="T89" fmla="*/ 8 h 120"/>
                <a:gd name="T90" fmla="*/ 32 w 88"/>
                <a:gd name="T91" fmla="*/ 8 h 120"/>
                <a:gd name="T92" fmla="*/ 28 w 88"/>
                <a:gd name="T93" fmla="*/ 12 h 120"/>
                <a:gd name="T94" fmla="*/ 28 w 88"/>
                <a:gd name="T95" fmla="*/ 12 h 120"/>
                <a:gd name="T96" fmla="*/ 24 w 88"/>
                <a:gd name="T97" fmla="*/ 4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120">
                  <a:moveTo>
                    <a:pt x="12" y="78"/>
                  </a:moveTo>
                  <a:cubicBezTo>
                    <a:pt x="13" y="88"/>
                    <a:pt x="21" y="96"/>
                    <a:pt x="32" y="96"/>
                  </a:cubicBezTo>
                  <a:cubicBezTo>
                    <a:pt x="56" y="96"/>
                    <a:pt x="56" y="96"/>
                    <a:pt x="56" y="96"/>
                  </a:cubicBezTo>
                  <a:cubicBezTo>
                    <a:pt x="67" y="96"/>
                    <a:pt x="75" y="88"/>
                    <a:pt x="76" y="78"/>
                  </a:cubicBezTo>
                  <a:cubicBezTo>
                    <a:pt x="80" y="44"/>
                    <a:pt x="80" y="44"/>
                    <a:pt x="80" y="44"/>
                  </a:cubicBezTo>
                  <a:cubicBezTo>
                    <a:pt x="88" y="44"/>
                    <a:pt x="88" y="44"/>
                    <a:pt x="88" y="44"/>
                  </a:cubicBezTo>
                  <a:cubicBezTo>
                    <a:pt x="84" y="79"/>
                    <a:pt x="84" y="79"/>
                    <a:pt x="84" y="79"/>
                  </a:cubicBezTo>
                  <a:cubicBezTo>
                    <a:pt x="83" y="93"/>
                    <a:pt x="71" y="104"/>
                    <a:pt x="56" y="104"/>
                  </a:cubicBezTo>
                  <a:cubicBezTo>
                    <a:pt x="48" y="104"/>
                    <a:pt x="48" y="104"/>
                    <a:pt x="48" y="104"/>
                  </a:cubicBezTo>
                  <a:cubicBezTo>
                    <a:pt x="48" y="112"/>
                    <a:pt x="48" y="112"/>
                    <a:pt x="48" y="112"/>
                  </a:cubicBezTo>
                  <a:cubicBezTo>
                    <a:pt x="64" y="112"/>
                    <a:pt x="64" y="112"/>
                    <a:pt x="64" y="112"/>
                  </a:cubicBezTo>
                  <a:cubicBezTo>
                    <a:pt x="64" y="120"/>
                    <a:pt x="64" y="120"/>
                    <a:pt x="64" y="120"/>
                  </a:cubicBezTo>
                  <a:cubicBezTo>
                    <a:pt x="24" y="120"/>
                    <a:pt x="24" y="120"/>
                    <a:pt x="24" y="120"/>
                  </a:cubicBezTo>
                  <a:cubicBezTo>
                    <a:pt x="24" y="112"/>
                    <a:pt x="24" y="112"/>
                    <a:pt x="24" y="112"/>
                  </a:cubicBezTo>
                  <a:cubicBezTo>
                    <a:pt x="40" y="112"/>
                    <a:pt x="40" y="112"/>
                    <a:pt x="40" y="112"/>
                  </a:cubicBezTo>
                  <a:cubicBezTo>
                    <a:pt x="40" y="104"/>
                    <a:pt x="40" y="104"/>
                    <a:pt x="40" y="104"/>
                  </a:cubicBezTo>
                  <a:cubicBezTo>
                    <a:pt x="32" y="104"/>
                    <a:pt x="32" y="104"/>
                    <a:pt x="32" y="104"/>
                  </a:cubicBezTo>
                  <a:cubicBezTo>
                    <a:pt x="17" y="104"/>
                    <a:pt x="5" y="93"/>
                    <a:pt x="4" y="79"/>
                  </a:cubicBezTo>
                  <a:cubicBezTo>
                    <a:pt x="0" y="44"/>
                    <a:pt x="0" y="44"/>
                    <a:pt x="0" y="44"/>
                  </a:cubicBezTo>
                  <a:cubicBezTo>
                    <a:pt x="8" y="44"/>
                    <a:pt x="8" y="44"/>
                    <a:pt x="8" y="44"/>
                  </a:cubicBezTo>
                  <a:lnTo>
                    <a:pt x="12" y="78"/>
                  </a:lnTo>
                  <a:close/>
                  <a:moveTo>
                    <a:pt x="20" y="76"/>
                  </a:moveTo>
                  <a:cubicBezTo>
                    <a:pt x="16" y="45"/>
                    <a:pt x="16" y="45"/>
                    <a:pt x="16" y="45"/>
                  </a:cubicBezTo>
                  <a:cubicBezTo>
                    <a:pt x="16" y="44"/>
                    <a:pt x="16" y="44"/>
                    <a:pt x="16" y="43"/>
                  </a:cubicBezTo>
                  <a:cubicBezTo>
                    <a:pt x="20" y="12"/>
                    <a:pt x="20" y="12"/>
                    <a:pt x="20" y="12"/>
                  </a:cubicBezTo>
                  <a:cubicBezTo>
                    <a:pt x="20" y="5"/>
                    <a:pt x="25" y="0"/>
                    <a:pt x="32" y="0"/>
                  </a:cubicBezTo>
                  <a:cubicBezTo>
                    <a:pt x="56" y="0"/>
                    <a:pt x="56" y="0"/>
                    <a:pt x="56" y="0"/>
                  </a:cubicBezTo>
                  <a:cubicBezTo>
                    <a:pt x="63" y="0"/>
                    <a:pt x="68" y="5"/>
                    <a:pt x="68" y="12"/>
                  </a:cubicBezTo>
                  <a:cubicBezTo>
                    <a:pt x="72" y="43"/>
                    <a:pt x="72" y="43"/>
                    <a:pt x="72" y="43"/>
                  </a:cubicBezTo>
                  <a:cubicBezTo>
                    <a:pt x="72" y="44"/>
                    <a:pt x="72" y="44"/>
                    <a:pt x="72" y="45"/>
                  </a:cubicBezTo>
                  <a:cubicBezTo>
                    <a:pt x="68" y="76"/>
                    <a:pt x="68" y="76"/>
                    <a:pt x="68" y="76"/>
                  </a:cubicBezTo>
                  <a:cubicBezTo>
                    <a:pt x="68" y="83"/>
                    <a:pt x="63" y="88"/>
                    <a:pt x="56" y="88"/>
                  </a:cubicBezTo>
                  <a:cubicBezTo>
                    <a:pt x="32" y="88"/>
                    <a:pt x="32" y="88"/>
                    <a:pt x="32" y="88"/>
                  </a:cubicBezTo>
                  <a:cubicBezTo>
                    <a:pt x="25" y="88"/>
                    <a:pt x="20" y="83"/>
                    <a:pt x="20" y="76"/>
                  </a:cubicBezTo>
                  <a:close/>
                  <a:moveTo>
                    <a:pt x="24" y="44"/>
                  </a:moveTo>
                  <a:cubicBezTo>
                    <a:pt x="24" y="44"/>
                    <a:pt x="24" y="44"/>
                    <a:pt x="24" y="44"/>
                  </a:cubicBezTo>
                  <a:cubicBezTo>
                    <a:pt x="28" y="76"/>
                    <a:pt x="28" y="76"/>
                    <a:pt x="28" y="76"/>
                  </a:cubicBezTo>
                  <a:cubicBezTo>
                    <a:pt x="28" y="78"/>
                    <a:pt x="30" y="80"/>
                    <a:pt x="32" y="80"/>
                  </a:cubicBezTo>
                  <a:cubicBezTo>
                    <a:pt x="56" y="80"/>
                    <a:pt x="56" y="80"/>
                    <a:pt x="56" y="80"/>
                  </a:cubicBezTo>
                  <a:cubicBezTo>
                    <a:pt x="58" y="80"/>
                    <a:pt x="60" y="78"/>
                    <a:pt x="60" y="76"/>
                  </a:cubicBezTo>
                  <a:cubicBezTo>
                    <a:pt x="60" y="76"/>
                    <a:pt x="60" y="76"/>
                    <a:pt x="60" y="76"/>
                  </a:cubicBezTo>
                  <a:cubicBezTo>
                    <a:pt x="64" y="44"/>
                    <a:pt x="64" y="44"/>
                    <a:pt x="64" y="44"/>
                  </a:cubicBezTo>
                  <a:cubicBezTo>
                    <a:pt x="64" y="44"/>
                    <a:pt x="64" y="44"/>
                    <a:pt x="64" y="44"/>
                  </a:cubicBezTo>
                  <a:cubicBezTo>
                    <a:pt x="60" y="12"/>
                    <a:pt x="60" y="12"/>
                    <a:pt x="60" y="12"/>
                  </a:cubicBezTo>
                  <a:cubicBezTo>
                    <a:pt x="60" y="10"/>
                    <a:pt x="58" y="8"/>
                    <a:pt x="56" y="8"/>
                  </a:cubicBezTo>
                  <a:cubicBezTo>
                    <a:pt x="32" y="8"/>
                    <a:pt x="32" y="8"/>
                    <a:pt x="32" y="8"/>
                  </a:cubicBezTo>
                  <a:cubicBezTo>
                    <a:pt x="30" y="8"/>
                    <a:pt x="28" y="10"/>
                    <a:pt x="28" y="12"/>
                  </a:cubicBezTo>
                  <a:cubicBezTo>
                    <a:pt x="28" y="12"/>
                    <a:pt x="28" y="12"/>
                    <a:pt x="28" y="12"/>
                  </a:cubicBezTo>
                  <a:lnTo>
                    <a:pt x="24" y="44"/>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gradFill>
                  <a:gsLst>
                    <a:gs pos="1250">
                      <a:schemeClr val="tx2"/>
                    </a:gs>
                    <a:gs pos="100000">
                      <a:schemeClr val="tx2"/>
                    </a:gs>
                  </a:gsLst>
                  <a:lin ang="5400000" scaled="0"/>
                </a:gradFill>
              </a:endParaRPr>
            </a:p>
          </p:txBody>
        </p:sp>
      </p:grpSp>
      <p:grpSp>
        <p:nvGrpSpPr>
          <p:cNvPr id="15" name="Group 14"/>
          <p:cNvGrpSpPr/>
          <p:nvPr/>
        </p:nvGrpSpPr>
        <p:grpSpPr>
          <a:xfrm>
            <a:off x="5509122" y="1833475"/>
            <a:ext cx="1165352" cy="1165352"/>
            <a:chOff x="5619591" y="1869743"/>
            <a:chExt cx="1188720" cy="1188720"/>
          </a:xfrm>
        </p:grpSpPr>
        <p:sp>
          <p:nvSpPr>
            <p:cNvPr id="78" name="Oval 77"/>
            <p:cNvSpPr/>
            <p:nvPr/>
          </p:nvSpPr>
          <p:spPr bwMode="auto">
            <a:xfrm>
              <a:off x="5619591" y="1869743"/>
              <a:ext cx="1188720" cy="1188720"/>
            </a:xfrm>
            <a:prstGeom prst="ellipse">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7"/>
            <p:cNvSpPr>
              <a:spLocks noEditPoints="1"/>
            </p:cNvSpPr>
            <p:nvPr/>
          </p:nvSpPr>
          <p:spPr bwMode="auto">
            <a:xfrm>
              <a:off x="6028460" y="2340551"/>
              <a:ext cx="415925" cy="365125"/>
            </a:xfrm>
            <a:custGeom>
              <a:avLst/>
              <a:gdLst>
                <a:gd name="T0" fmla="*/ 0 w 262"/>
                <a:gd name="T1" fmla="*/ 164 h 230"/>
                <a:gd name="T2" fmla="*/ 33 w 262"/>
                <a:gd name="T3" fmla="*/ 164 h 230"/>
                <a:gd name="T4" fmla="*/ 33 w 262"/>
                <a:gd name="T5" fmla="*/ 230 h 230"/>
                <a:gd name="T6" fmla="*/ 98 w 262"/>
                <a:gd name="T7" fmla="*/ 164 h 230"/>
                <a:gd name="T8" fmla="*/ 262 w 262"/>
                <a:gd name="T9" fmla="*/ 164 h 230"/>
                <a:gd name="T10" fmla="*/ 262 w 262"/>
                <a:gd name="T11" fmla="*/ 0 h 230"/>
                <a:gd name="T12" fmla="*/ 0 w 262"/>
                <a:gd name="T13" fmla="*/ 0 h 230"/>
                <a:gd name="T14" fmla="*/ 0 w 262"/>
                <a:gd name="T15" fmla="*/ 164 h 230"/>
                <a:gd name="T16" fmla="*/ 16 w 262"/>
                <a:gd name="T17" fmla="*/ 17 h 230"/>
                <a:gd name="T18" fmla="*/ 246 w 262"/>
                <a:gd name="T19" fmla="*/ 17 h 230"/>
                <a:gd name="T20" fmla="*/ 246 w 262"/>
                <a:gd name="T21" fmla="*/ 148 h 230"/>
                <a:gd name="T22" fmla="*/ 98 w 262"/>
                <a:gd name="T23" fmla="*/ 148 h 230"/>
                <a:gd name="T24" fmla="*/ 92 w 262"/>
                <a:gd name="T25" fmla="*/ 148 h 230"/>
                <a:gd name="T26" fmla="*/ 86 w 262"/>
                <a:gd name="T27" fmla="*/ 152 h 230"/>
                <a:gd name="T28" fmla="*/ 49 w 262"/>
                <a:gd name="T29" fmla="*/ 191 h 230"/>
                <a:gd name="T30" fmla="*/ 49 w 262"/>
                <a:gd name="T31" fmla="*/ 164 h 230"/>
                <a:gd name="T32" fmla="*/ 49 w 262"/>
                <a:gd name="T33" fmla="*/ 148 h 230"/>
                <a:gd name="T34" fmla="*/ 33 w 262"/>
                <a:gd name="T35" fmla="*/ 148 h 230"/>
                <a:gd name="T36" fmla="*/ 16 w 262"/>
                <a:gd name="T37" fmla="*/ 148 h 230"/>
                <a:gd name="T38" fmla="*/ 16 w 262"/>
                <a:gd name="T39" fmla="*/ 1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2" h="230">
                  <a:moveTo>
                    <a:pt x="0" y="164"/>
                  </a:moveTo>
                  <a:lnTo>
                    <a:pt x="33" y="164"/>
                  </a:lnTo>
                  <a:lnTo>
                    <a:pt x="33" y="230"/>
                  </a:lnTo>
                  <a:lnTo>
                    <a:pt x="98" y="164"/>
                  </a:lnTo>
                  <a:lnTo>
                    <a:pt x="262" y="164"/>
                  </a:lnTo>
                  <a:lnTo>
                    <a:pt x="262" y="0"/>
                  </a:lnTo>
                  <a:lnTo>
                    <a:pt x="0" y="0"/>
                  </a:lnTo>
                  <a:lnTo>
                    <a:pt x="0" y="164"/>
                  </a:lnTo>
                  <a:close/>
                  <a:moveTo>
                    <a:pt x="16" y="17"/>
                  </a:moveTo>
                  <a:lnTo>
                    <a:pt x="246" y="17"/>
                  </a:lnTo>
                  <a:lnTo>
                    <a:pt x="246" y="148"/>
                  </a:lnTo>
                  <a:lnTo>
                    <a:pt x="98" y="148"/>
                  </a:lnTo>
                  <a:lnTo>
                    <a:pt x="92" y="148"/>
                  </a:lnTo>
                  <a:lnTo>
                    <a:pt x="86" y="152"/>
                  </a:lnTo>
                  <a:lnTo>
                    <a:pt x="49" y="191"/>
                  </a:lnTo>
                  <a:lnTo>
                    <a:pt x="49" y="164"/>
                  </a:lnTo>
                  <a:lnTo>
                    <a:pt x="49" y="148"/>
                  </a:lnTo>
                  <a:lnTo>
                    <a:pt x="33" y="148"/>
                  </a:lnTo>
                  <a:lnTo>
                    <a:pt x="16" y="148"/>
                  </a:lnTo>
                  <a:lnTo>
                    <a:pt x="16" y="17"/>
                  </a:ln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gradFill>
                  <a:gsLst>
                    <a:gs pos="1250">
                      <a:schemeClr val="tx2"/>
                    </a:gs>
                    <a:gs pos="100000">
                      <a:schemeClr val="tx2"/>
                    </a:gs>
                  </a:gsLst>
                  <a:lin ang="5400000" scaled="0"/>
                </a:gradFill>
              </a:endParaRPr>
            </a:p>
          </p:txBody>
        </p:sp>
      </p:grpSp>
      <p:grpSp>
        <p:nvGrpSpPr>
          <p:cNvPr id="17" name="Group 16"/>
          <p:cNvGrpSpPr/>
          <p:nvPr/>
        </p:nvGrpSpPr>
        <p:grpSpPr>
          <a:xfrm>
            <a:off x="7861382" y="1833475"/>
            <a:ext cx="1165352" cy="1165352"/>
            <a:chOff x="8019018" y="1869743"/>
            <a:chExt cx="1188720" cy="1188720"/>
          </a:xfrm>
        </p:grpSpPr>
        <p:sp>
          <p:nvSpPr>
            <p:cNvPr id="85" name="Oval 84"/>
            <p:cNvSpPr/>
            <p:nvPr/>
          </p:nvSpPr>
          <p:spPr bwMode="auto">
            <a:xfrm>
              <a:off x="8019018" y="1869743"/>
              <a:ext cx="1188720" cy="1188720"/>
            </a:xfrm>
            <a:prstGeom prst="ellipse">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Freeform 9"/>
            <p:cNvSpPr>
              <a:spLocks noEditPoints="1"/>
            </p:cNvSpPr>
            <p:nvPr/>
          </p:nvSpPr>
          <p:spPr bwMode="auto">
            <a:xfrm>
              <a:off x="8479734" y="2234924"/>
              <a:ext cx="295275" cy="492125"/>
            </a:xfrm>
            <a:custGeom>
              <a:avLst/>
              <a:gdLst>
                <a:gd name="T0" fmla="*/ 66 w 90"/>
                <a:gd name="T1" fmla="*/ 120 h 152"/>
                <a:gd name="T2" fmla="*/ 24 w 90"/>
                <a:gd name="T3" fmla="*/ 120 h 152"/>
                <a:gd name="T4" fmla="*/ 24 w 90"/>
                <a:gd name="T5" fmla="*/ 112 h 152"/>
                <a:gd name="T6" fmla="*/ 66 w 90"/>
                <a:gd name="T7" fmla="*/ 112 h 152"/>
                <a:gd name="T8" fmla="*/ 66 w 90"/>
                <a:gd name="T9" fmla="*/ 120 h 152"/>
                <a:gd name="T10" fmla="*/ 66 w 90"/>
                <a:gd name="T11" fmla="*/ 128 h 152"/>
                <a:gd name="T12" fmla="*/ 24 w 90"/>
                <a:gd name="T13" fmla="*/ 128 h 152"/>
                <a:gd name="T14" fmla="*/ 24 w 90"/>
                <a:gd name="T15" fmla="*/ 136 h 152"/>
                <a:gd name="T16" fmla="*/ 66 w 90"/>
                <a:gd name="T17" fmla="*/ 136 h 152"/>
                <a:gd name="T18" fmla="*/ 66 w 90"/>
                <a:gd name="T19" fmla="*/ 128 h 152"/>
                <a:gd name="T20" fmla="*/ 61 w 90"/>
                <a:gd name="T21" fmla="*/ 144 h 152"/>
                <a:gd name="T22" fmla="*/ 29 w 90"/>
                <a:gd name="T23" fmla="*/ 144 h 152"/>
                <a:gd name="T24" fmla="*/ 29 w 90"/>
                <a:gd name="T25" fmla="*/ 152 h 152"/>
                <a:gd name="T26" fmla="*/ 61 w 90"/>
                <a:gd name="T27" fmla="*/ 152 h 152"/>
                <a:gd name="T28" fmla="*/ 61 w 90"/>
                <a:gd name="T29" fmla="*/ 144 h 152"/>
                <a:gd name="T30" fmla="*/ 70 w 90"/>
                <a:gd name="T31" fmla="*/ 100 h 152"/>
                <a:gd name="T32" fmla="*/ 80 w 90"/>
                <a:gd name="T33" fmla="*/ 74 h 152"/>
                <a:gd name="T34" fmla="*/ 81 w 90"/>
                <a:gd name="T35" fmla="*/ 72 h 152"/>
                <a:gd name="T36" fmla="*/ 90 w 90"/>
                <a:gd name="T37" fmla="*/ 45 h 152"/>
                <a:gd name="T38" fmla="*/ 45 w 90"/>
                <a:gd name="T39" fmla="*/ 0 h 152"/>
                <a:gd name="T40" fmla="*/ 0 w 90"/>
                <a:gd name="T41" fmla="*/ 45 h 152"/>
                <a:gd name="T42" fmla="*/ 9 w 90"/>
                <a:gd name="T43" fmla="*/ 72 h 152"/>
                <a:gd name="T44" fmla="*/ 12 w 90"/>
                <a:gd name="T45" fmla="*/ 70 h 152"/>
                <a:gd name="T46" fmla="*/ 9 w 90"/>
                <a:gd name="T47" fmla="*/ 72 h 152"/>
                <a:gd name="T48" fmla="*/ 20 w 90"/>
                <a:gd name="T49" fmla="*/ 100 h 152"/>
                <a:gd name="T50" fmla="*/ 20 w 90"/>
                <a:gd name="T51" fmla="*/ 104 h 152"/>
                <a:gd name="T52" fmla="*/ 70 w 90"/>
                <a:gd name="T53" fmla="*/ 104 h 152"/>
                <a:gd name="T54" fmla="*/ 70 w 90"/>
                <a:gd name="T55" fmla="*/ 100 h 152"/>
                <a:gd name="T56" fmla="*/ 15 w 90"/>
                <a:gd name="T57" fmla="*/ 67 h 152"/>
                <a:gd name="T58" fmla="*/ 15 w 90"/>
                <a:gd name="T59" fmla="*/ 67 h 152"/>
                <a:gd name="T60" fmla="*/ 8 w 90"/>
                <a:gd name="T61" fmla="*/ 45 h 152"/>
                <a:gd name="T62" fmla="*/ 45 w 90"/>
                <a:gd name="T63" fmla="*/ 8 h 152"/>
                <a:gd name="T64" fmla="*/ 82 w 90"/>
                <a:gd name="T65" fmla="*/ 45 h 152"/>
                <a:gd name="T66" fmla="*/ 75 w 90"/>
                <a:gd name="T67" fmla="*/ 67 h 152"/>
                <a:gd name="T68" fmla="*/ 75 w 90"/>
                <a:gd name="T69" fmla="*/ 67 h 152"/>
                <a:gd name="T70" fmla="*/ 62 w 90"/>
                <a:gd name="T71" fmla="*/ 96 h 152"/>
                <a:gd name="T72" fmla="*/ 28 w 90"/>
                <a:gd name="T73" fmla="*/ 96 h 152"/>
                <a:gd name="T74" fmla="*/ 15 w 90"/>
                <a:gd name="T75" fmla="*/ 6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152">
                  <a:moveTo>
                    <a:pt x="66" y="120"/>
                  </a:moveTo>
                  <a:cubicBezTo>
                    <a:pt x="24" y="120"/>
                    <a:pt x="24" y="120"/>
                    <a:pt x="24" y="120"/>
                  </a:cubicBezTo>
                  <a:cubicBezTo>
                    <a:pt x="24" y="112"/>
                    <a:pt x="24" y="112"/>
                    <a:pt x="24" y="112"/>
                  </a:cubicBezTo>
                  <a:cubicBezTo>
                    <a:pt x="66" y="112"/>
                    <a:pt x="66" y="112"/>
                    <a:pt x="66" y="112"/>
                  </a:cubicBezTo>
                  <a:lnTo>
                    <a:pt x="66" y="120"/>
                  </a:lnTo>
                  <a:close/>
                  <a:moveTo>
                    <a:pt x="66" y="128"/>
                  </a:moveTo>
                  <a:cubicBezTo>
                    <a:pt x="24" y="128"/>
                    <a:pt x="24" y="128"/>
                    <a:pt x="24" y="128"/>
                  </a:cubicBezTo>
                  <a:cubicBezTo>
                    <a:pt x="24" y="136"/>
                    <a:pt x="24" y="136"/>
                    <a:pt x="24" y="136"/>
                  </a:cubicBezTo>
                  <a:cubicBezTo>
                    <a:pt x="66" y="136"/>
                    <a:pt x="66" y="136"/>
                    <a:pt x="66" y="136"/>
                  </a:cubicBezTo>
                  <a:lnTo>
                    <a:pt x="66" y="128"/>
                  </a:lnTo>
                  <a:close/>
                  <a:moveTo>
                    <a:pt x="61" y="144"/>
                  </a:moveTo>
                  <a:cubicBezTo>
                    <a:pt x="29" y="144"/>
                    <a:pt x="29" y="144"/>
                    <a:pt x="29" y="144"/>
                  </a:cubicBezTo>
                  <a:cubicBezTo>
                    <a:pt x="29" y="152"/>
                    <a:pt x="29" y="152"/>
                    <a:pt x="29" y="152"/>
                  </a:cubicBezTo>
                  <a:cubicBezTo>
                    <a:pt x="61" y="152"/>
                    <a:pt x="61" y="152"/>
                    <a:pt x="61" y="152"/>
                  </a:cubicBezTo>
                  <a:lnTo>
                    <a:pt x="61" y="144"/>
                  </a:lnTo>
                  <a:close/>
                  <a:moveTo>
                    <a:pt x="70" y="100"/>
                  </a:moveTo>
                  <a:cubicBezTo>
                    <a:pt x="70" y="100"/>
                    <a:pt x="71" y="87"/>
                    <a:pt x="80" y="74"/>
                  </a:cubicBezTo>
                  <a:cubicBezTo>
                    <a:pt x="81" y="72"/>
                    <a:pt x="81" y="72"/>
                    <a:pt x="81" y="72"/>
                  </a:cubicBezTo>
                  <a:cubicBezTo>
                    <a:pt x="87" y="64"/>
                    <a:pt x="90" y="55"/>
                    <a:pt x="90" y="45"/>
                  </a:cubicBezTo>
                  <a:cubicBezTo>
                    <a:pt x="90" y="20"/>
                    <a:pt x="70" y="0"/>
                    <a:pt x="45" y="0"/>
                  </a:cubicBezTo>
                  <a:cubicBezTo>
                    <a:pt x="20" y="0"/>
                    <a:pt x="0" y="20"/>
                    <a:pt x="0" y="45"/>
                  </a:cubicBezTo>
                  <a:cubicBezTo>
                    <a:pt x="0" y="55"/>
                    <a:pt x="3" y="64"/>
                    <a:pt x="9" y="72"/>
                  </a:cubicBezTo>
                  <a:cubicBezTo>
                    <a:pt x="12" y="70"/>
                    <a:pt x="12" y="70"/>
                    <a:pt x="12" y="70"/>
                  </a:cubicBezTo>
                  <a:cubicBezTo>
                    <a:pt x="9" y="72"/>
                    <a:pt x="9" y="72"/>
                    <a:pt x="9" y="72"/>
                  </a:cubicBezTo>
                  <a:cubicBezTo>
                    <a:pt x="19" y="85"/>
                    <a:pt x="20" y="100"/>
                    <a:pt x="20" y="100"/>
                  </a:cubicBezTo>
                  <a:cubicBezTo>
                    <a:pt x="20" y="104"/>
                    <a:pt x="20" y="104"/>
                    <a:pt x="20" y="104"/>
                  </a:cubicBezTo>
                  <a:cubicBezTo>
                    <a:pt x="70" y="104"/>
                    <a:pt x="70" y="104"/>
                    <a:pt x="70" y="104"/>
                  </a:cubicBezTo>
                  <a:lnTo>
                    <a:pt x="70" y="100"/>
                  </a:lnTo>
                  <a:close/>
                  <a:moveTo>
                    <a:pt x="15" y="67"/>
                  </a:moveTo>
                  <a:cubicBezTo>
                    <a:pt x="15" y="67"/>
                    <a:pt x="15" y="67"/>
                    <a:pt x="15" y="67"/>
                  </a:cubicBezTo>
                  <a:cubicBezTo>
                    <a:pt x="10" y="61"/>
                    <a:pt x="8" y="53"/>
                    <a:pt x="8" y="45"/>
                  </a:cubicBezTo>
                  <a:cubicBezTo>
                    <a:pt x="8" y="25"/>
                    <a:pt x="25" y="8"/>
                    <a:pt x="45" y="8"/>
                  </a:cubicBezTo>
                  <a:cubicBezTo>
                    <a:pt x="65" y="8"/>
                    <a:pt x="82" y="25"/>
                    <a:pt x="82" y="45"/>
                  </a:cubicBezTo>
                  <a:cubicBezTo>
                    <a:pt x="82" y="53"/>
                    <a:pt x="80" y="60"/>
                    <a:pt x="75" y="67"/>
                  </a:cubicBezTo>
                  <a:cubicBezTo>
                    <a:pt x="75" y="67"/>
                    <a:pt x="75" y="67"/>
                    <a:pt x="75" y="67"/>
                  </a:cubicBezTo>
                  <a:cubicBezTo>
                    <a:pt x="66" y="78"/>
                    <a:pt x="63" y="90"/>
                    <a:pt x="62" y="96"/>
                  </a:cubicBezTo>
                  <a:cubicBezTo>
                    <a:pt x="28" y="96"/>
                    <a:pt x="28" y="96"/>
                    <a:pt x="28" y="96"/>
                  </a:cubicBezTo>
                  <a:cubicBezTo>
                    <a:pt x="27" y="90"/>
                    <a:pt x="24" y="78"/>
                    <a:pt x="15" y="67"/>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gradFill>
                  <a:gsLst>
                    <a:gs pos="1250">
                      <a:schemeClr val="tx2"/>
                    </a:gs>
                    <a:gs pos="100000">
                      <a:schemeClr val="tx2"/>
                    </a:gs>
                  </a:gsLst>
                  <a:lin ang="5400000" scaled="0"/>
                </a:gradFill>
              </a:endParaRPr>
            </a:p>
          </p:txBody>
        </p:sp>
      </p:grpSp>
      <p:grpSp>
        <p:nvGrpSpPr>
          <p:cNvPr id="18" name="Group 17"/>
          <p:cNvGrpSpPr/>
          <p:nvPr/>
        </p:nvGrpSpPr>
        <p:grpSpPr>
          <a:xfrm>
            <a:off x="10200748" y="1833475"/>
            <a:ext cx="1165352" cy="1165352"/>
            <a:chOff x="10405294" y="1869743"/>
            <a:chExt cx="1188720" cy="1188720"/>
          </a:xfrm>
        </p:grpSpPr>
        <p:sp>
          <p:nvSpPr>
            <p:cNvPr id="92" name="Oval 91"/>
            <p:cNvSpPr/>
            <p:nvPr/>
          </p:nvSpPr>
          <p:spPr bwMode="auto">
            <a:xfrm>
              <a:off x="10405294" y="1869743"/>
              <a:ext cx="1188720" cy="1188720"/>
            </a:xfrm>
            <a:prstGeom prst="ellipse">
              <a:avLst/>
            </a:prstGeom>
            <a:solidFill>
              <a:schemeClr val="bg1"/>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Freeform 13"/>
            <p:cNvSpPr>
              <a:spLocks noEditPoints="1"/>
            </p:cNvSpPr>
            <p:nvPr/>
          </p:nvSpPr>
          <p:spPr bwMode="auto">
            <a:xfrm>
              <a:off x="10801079" y="2234924"/>
              <a:ext cx="412750" cy="412750"/>
            </a:xfrm>
            <a:custGeom>
              <a:avLst/>
              <a:gdLst>
                <a:gd name="T0" fmla="*/ 86 w 127"/>
                <a:gd name="T1" fmla="*/ 0 h 127"/>
                <a:gd name="T2" fmla="*/ 46 w 127"/>
                <a:gd name="T3" fmla="*/ 41 h 127"/>
                <a:gd name="T4" fmla="*/ 55 w 127"/>
                <a:gd name="T5" fmla="*/ 66 h 127"/>
                <a:gd name="T6" fmla="*/ 0 w 127"/>
                <a:gd name="T7" fmla="*/ 122 h 127"/>
                <a:gd name="T8" fmla="*/ 5 w 127"/>
                <a:gd name="T9" fmla="*/ 127 h 127"/>
                <a:gd name="T10" fmla="*/ 61 w 127"/>
                <a:gd name="T11" fmla="*/ 72 h 127"/>
                <a:gd name="T12" fmla="*/ 86 w 127"/>
                <a:gd name="T13" fmla="*/ 81 h 127"/>
                <a:gd name="T14" fmla="*/ 127 w 127"/>
                <a:gd name="T15" fmla="*/ 41 h 127"/>
                <a:gd name="T16" fmla="*/ 86 w 127"/>
                <a:gd name="T17" fmla="*/ 0 h 127"/>
                <a:gd name="T18" fmla="*/ 86 w 127"/>
                <a:gd name="T19" fmla="*/ 73 h 127"/>
                <a:gd name="T20" fmla="*/ 54 w 127"/>
                <a:gd name="T21" fmla="*/ 41 h 127"/>
                <a:gd name="T22" fmla="*/ 86 w 127"/>
                <a:gd name="T23" fmla="*/ 8 h 127"/>
                <a:gd name="T24" fmla="*/ 119 w 127"/>
                <a:gd name="T25" fmla="*/ 41 h 127"/>
                <a:gd name="T26" fmla="*/ 86 w 127"/>
                <a:gd name="T27" fmla="*/ 7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127">
                  <a:moveTo>
                    <a:pt x="86" y="0"/>
                  </a:moveTo>
                  <a:cubicBezTo>
                    <a:pt x="64" y="0"/>
                    <a:pt x="46" y="18"/>
                    <a:pt x="46" y="41"/>
                  </a:cubicBezTo>
                  <a:cubicBezTo>
                    <a:pt x="46" y="50"/>
                    <a:pt x="49" y="59"/>
                    <a:pt x="55" y="66"/>
                  </a:cubicBezTo>
                  <a:cubicBezTo>
                    <a:pt x="0" y="122"/>
                    <a:pt x="0" y="122"/>
                    <a:pt x="0" y="122"/>
                  </a:cubicBezTo>
                  <a:cubicBezTo>
                    <a:pt x="5" y="127"/>
                    <a:pt x="5" y="127"/>
                    <a:pt x="5" y="127"/>
                  </a:cubicBezTo>
                  <a:cubicBezTo>
                    <a:pt x="61" y="72"/>
                    <a:pt x="61" y="72"/>
                    <a:pt x="61" y="72"/>
                  </a:cubicBezTo>
                  <a:cubicBezTo>
                    <a:pt x="68" y="78"/>
                    <a:pt x="77" y="81"/>
                    <a:pt x="86" y="81"/>
                  </a:cubicBezTo>
                  <a:cubicBezTo>
                    <a:pt x="109" y="81"/>
                    <a:pt x="127" y="63"/>
                    <a:pt x="127" y="41"/>
                  </a:cubicBezTo>
                  <a:cubicBezTo>
                    <a:pt x="127" y="18"/>
                    <a:pt x="109" y="0"/>
                    <a:pt x="86" y="0"/>
                  </a:cubicBezTo>
                  <a:close/>
                  <a:moveTo>
                    <a:pt x="86" y="73"/>
                  </a:moveTo>
                  <a:cubicBezTo>
                    <a:pt x="68" y="73"/>
                    <a:pt x="54" y="59"/>
                    <a:pt x="54" y="41"/>
                  </a:cubicBezTo>
                  <a:cubicBezTo>
                    <a:pt x="54" y="23"/>
                    <a:pt x="68" y="8"/>
                    <a:pt x="86" y="8"/>
                  </a:cubicBezTo>
                  <a:cubicBezTo>
                    <a:pt x="104" y="8"/>
                    <a:pt x="119" y="23"/>
                    <a:pt x="119" y="41"/>
                  </a:cubicBezTo>
                  <a:cubicBezTo>
                    <a:pt x="119" y="59"/>
                    <a:pt x="104" y="73"/>
                    <a:pt x="86" y="73"/>
                  </a:cubicBezTo>
                  <a:close/>
                </a:path>
              </a:pathLst>
            </a:custGeom>
            <a:solidFill>
              <a:schemeClr val="tx2"/>
            </a:solidFill>
            <a:ln>
              <a:noFill/>
            </a:ln>
          </p:spPr>
          <p:txBody>
            <a:bodyPr vert="horz" wrap="square" lIns="89642" tIns="44821" rIns="89642" bIns="44821" numCol="1" anchor="t" anchorCtr="0" compatLnSpc="1">
              <a:prstTxWarp prst="textNoShape">
                <a:avLst/>
              </a:prstTxWarp>
            </a:bodyPr>
            <a:lstStyle/>
            <a:p>
              <a:pPr defTabSz="896386"/>
              <a:endParaRPr lang="en-US" sz="1765" kern="0" dirty="0">
                <a:gradFill>
                  <a:gsLst>
                    <a:gs pos="1250">
                      <a:schemeClr val="tx2"/>
                    </a:gs>
                    <a:gs pos="100000">
                      <a:schemeClr val="tx2"/>
                    </a:gs>
                  </a:gsLst>
                  <a:lin ang="5400000" scaled="0"/>
                </a:gradFill>
              </a:endParaRPr>
            </a:p>
          </p:txBody>
        </p:sp>
      </p:grpSp>
      <p:cxnSp>
        <p:nvCxnSpPr>
          <p:cNvPr id="66" name="Straight Connector 65"/>
          <p:cNvCxnSpPr/>
          <p:nvPr/>
        </p:nvCxnSpPr>
        <p:spPr>
          <a:xfrm flipH="1">
            <a:off x="410864" y="4047811"/>
            <a:ext cx="11399843" cy="0"/>
          </a:xfrm>
          <a:prstGeom prst="line">
            <a:avLst/>
          </a:prstGeom>
          <a:solidFill>
            <a:schemeClr val="tx1">
              <a:lumMod val="20000"/>
              <a:lumOff val="80000"/>
              <a:alpha val="30000"/>
            </a:schemeClr>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67" name="Straight Connector 66"/>
          <p:cNvCxnSpPr/>
          <p:nvPr/>
        </p:nvCxnSpPr>
        <p:spPr>
          <a:xfrm flipH="1">
            <a:off x="410864" y="5187617"/>
            <a:ext cx="11399843" cy="0"/>
          </a:xfrm>
          <a:prstGeom prst="line">
            <a:avLst/>
          </a:prstGeom>
          <a:solidFill>
            <a:schemeClr val="tx1">
              <a:lumMod val="20000"/>
              <a:lumOff val="80000"/>
              <a:alpha val="30000"/>
            </a:schemeClr>
          </a:solid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897084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fade">
                                      <p:cBhvr>
                                        <p:cTn id="23" dur="500"/>
                                        <p:tgtEl>
                                          <p:spTgt spid="5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1"/>
                                        </p:tgtEl>
                                        <p:attrNameLst>
                                          <p:attrName>style.visibility</p:attrName>
                                        </p:attrNameLst>
                                      </p:cBhvr>
                                      <p:to>
                                        <p:strVal val="visible"/>
                                      </p:to>
                                    </p:set>
                                    <p:animEffect transition="in" filter="fade">
                                      <p:cBhvr>
                                        <p:cTn id="26" dur="500"/>
                                        <p:tgtEl>
                                          <p:spTgt spid="8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91"/>
                                        </p:tgtEl>
                                        <p:attrNameLst>
                                          <p:attrName>style.visibility</p:attrName>
                                        </p:attrNameLst>
                                      </p:cBhvr>
                                      <p:to>
                                        <p:strVal val="visible"/>
                                      </p:to>
                                    </p:set>
                                    <p:animEffect transition="in" filter="fade">
                                      <p:cBhvr>
                                        <p:cTn id="29" dur="500"/>
                                        <p:tgtEl>
                                          <p:spTgt spid="9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3"/>
                                        </p:tgtEl>
                                        <p:attrNameLst>
                                          <p:attrName>style.visibility</p:attrName>
                                        </p:attrNameLst>
                                      </p:cBhvr>
                                      <p:to>
                                        <p:strVal val="visible"/>
                                      </p:to>
                                    </p:set>
                                    <p:animEffect transition="in" filter="fade">
                                      <p:cBhvr>
                                        <p:cTn id="32" dur="500"/>
                                        <p:tgtEl>
                                          <p:spTgt spid="10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04"/>
                                        </p:tgtEl>
                                        <p:attrNameLst>
                                          <p:attrName>style.visibility</p:attrName>
                                        </p:attrNameLst>
                                      </p:cBhvr>
                                      <p:to>
                                        <p:strVal val="visible"/>
                                      </p:to>
                                    </p:set>
                                    <p:animEffect transition="in" filter="fade">
                                      <p:cBhvr>
                                        <p:cTn id="35" dur="500"/>
                                        <p:tgtEl>
                                          <p:spTgt spid="104"/>
                                        </p:tgtEl>
                                      </p:cBhvr>
                                    </p:animEffect>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fade">
                                      <p:cBhvr>
                                        <p:cTn id="39" dur="500"/>
                                        <p:tgtEl>
                                          <p:spTgt spid="66"/>
                                        </p:tgtEl>
                                      </p:cBhvr>
                                    </p:animEffect>
                                  </p:childTnLst>
                                </p:cTn>
                              </p:par>
                            </p:childTnLst>
                          </p:cTn>
                        </p:par>
                        <p:par>
                          <p:cTn id="40" fill="hold">
                            <p:stCondLst>
                              <p:cond delay="1500"/>
                            </p:stCondLst>
                            <p:childTnLst>
                              <p:par>
                                <p:cTn id="41" presetID="10" presetClass="entr" presetSubtype="0" fill="hold" grpId="0" nodeType="afterEffect">
                                  <p:stCondLst>
                                    <p:cond delay="0"/>
                                  </p:stCondLst>
                                  <p:childTnLst>
                                    <p:set>
                                      <p:cBhvr>
                                        <p:cTn id="42" dur="1" fill="hold">
                                          <p:stCondLst>
                                            <p:cond delay="0"/>
                                          </p:stCondLst>
                                        </p:cTn>
                                        <p:tgtEl>
                                          <p:spTgt spid="76"/>
                                        </p:tgtEl>
                                        <p:attrNameLst>
                                          <p:attrName>style.visibility</p:attrName>
                                        </p:attrNameLst>
                                      </p:cBhvr>
                                      <p:to>
                                        <p:strVal val="visible"/>
                                      </p:to>
                                    </p:set>
                                    <p:animEffect transition="in" filter="fade">
                                      <p:cBhvr>
                                        <p:cTn id="43" dur="500"/>
                                        <p:tgtEl>
                                          <p:spTgt spid="7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9"/>
                                        </p:tgtEl>
                                        <p:attrNameLst>
                                          <p:attrName>style.visibility</p:attrName>
                                        </p:attrNameLst>
                                      </p:cBhvr>
                                      <p:to>
                                        <p:strVal val="visible"/>
                                      </p:to>
                                    </p:set>
                                    <p:animEffect transition="in" filter="fade">
                                      <p:cBhvr>
                                        <p:cTn id="46" dur="500"/>
                                        <p:tgtEl>
                                          <p:spTgt spid="6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2"/>
                                        </p:tgtEl>
                                        <p:attrNameLst>
                                          <p:attrName>style.visibility</p:attrName>
                                        </p:attrNameLst>
                                      </p:cBhvr>
                                      <p:to>
                                        <p:strVal val="visible"/>
                                      </p:to>
                                    </p:set>
                                    <p:animEffect transition="in" filter="fade">
                                      <p:cBhvr>
                                        <p:cTn id="49" dur="500"/>
                                        <p:tgtEl>
                                          <p:spTgt spid="8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8"/>
                                        </p:tgtEl>
                                        <p:attrNameLst>
                                          <p:attrName>style.visibility</p:attrName>
                                        </p:attrNameLst>
                                      </p:cBhvr>
                                      <p:to>
                                        <p:strVal val="visible"/>
                                      </p:to>
                                    </p:set>
                                    <p:animEffect transition="in" filter="fade">
                                      <p:cBhvr>
                                        <p:cTn id="52" dur="500"/>
                                        <p:tgtEl>
                                          <p:spTgt spid="8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4"/>
                                        </p:tgtEl>
                                        <p:attrNameLst>
                                          <p:attrName>style.visibility</p:attrName>
                                        </p:attrNameLst>
                                      </p:cBhvr>
                                      <p:to>
                                        <p:strVal val="visible"/>
                                      </p:to>
                                    </p:set>
                                    <p:animEffect transition="in" filter="fade">
                                      <p:cBhvr>
                                        <p:cTn id="55" dur="500"/>
                                        <p:tgtEl>
                                          <p:spTgt spid="94"/>
                                        </p:tgtEl>
                                      </p:cBhvr>
                                    </p:animEffect>
                                  </p:childTnLst>
                                </p:cTn>
                              </p:par>
                            </p:childTnLst>
                          </p:cTn>
                        </p:par>
                        <p:par>
                          <p:cTn id="56" fill="hold">
                            <p:stCondLst>
                              <p:cond delay="2000"/>
                            </p:stCondLst>
                            <p:childTnLst>
                              <p:par>
                                <p:cTn id="57" presetID="10" presetClass="entr" presetSubtype="0" fill="hold" nodeType="afterEffect">
                                  <p:stCondLst>
                                    <p:cond delay="0"/>
                                  </p:stCondLst>
                                  <p:childTnLst>
                                    <p:set>
                                      <p:cBhvr>
                                        <p:cTn id="58" dur="1" fill="hold">
                                          <p:stCondLst>
                                            <p:cond delay="0"/>
                                          </p:stCondLst>
                                        </p:cTn>
                                        <p:tgtEl>
                                          <p:spTgt spid="67"/>
                                        </p:tgtEl>
                                        <p:attrNameLst>
                                          <p:attrName>style.visibility</p:attrName>
                                        </p:attrNameLst>
                                      </p:cBhvr>
                                      <p:to>
                                        <p:strVal val="visible"/>
                                      </p:to>
                                    </p:set>
                                    <p:animEffect transition="in" filter="fade">
                                      <p:cBhvr>
                                        <p:cTn id="59" dur="500"/>
                                        <p:tgtEl>
                                          <p:spTgt spid="67"/>
                                        </p:tgtEl>
                                      </p:cBhvr>
                                    </p:animEffect>
                                  </p:childTnLst>
                                </p:cTn>
                              </p:par>
                            </p:childTnLst>
                          </p:cTn>
                        </p:par>
                        <p:par>
                          <p:cTn id="60" fill="hold">
                            <p:stCondLst>
                              <p:cond delay="2500"/>
                            </p:stCondLst>
                            <p:childTnLst>
                              <p:par>
                                <p:cTn id="61" presetID="10" presetClass="entr" presetSubtype="0" fill="hold" grpId="0" nodeType="afterEffect">
                                  <p:stCondLst>
                                    <p:cond delay="0"/>
                                  </p:stCondLst>
                                  <p:childTnLst>
                                    <p:set>
                                      <p:cBhvr>
                                        <p:cTn id="62" dur="1" fill="hold">
                                          <p:stCondLst>
                                            <p:cond delay="0"/>
                                          </p:stCondLst>
                                        </p:cTn>
                                        <p:tgtEl>
                                          <p:spTgt spid="80"/>
                                        </p:tgtEl>
                                        <p:attrNameLst>
                                          <p:attrName>style.visibility</p:attrName>
                                        </p:attrNameLst>
                                      </p:cBhvr>
                                      <p:to>
                                        <p:strVal val="visible"/>
                                      </p:to>
                                    </p:set>
                                    <p:animEffect transition="in" filter="fade">
                                      <p:cBhvr>
                                        <p:cTn id="63" dur="500"/>
                                        <p:tgtEl>
                                          <p:spTgt spid="8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00"/>
                                        </p:tgtEl>
                                        <p:attrNameLst>
                                          <p:attrName>style.visibility</p:attrName>
                                        </p:attrNameLst>
                                      </p:cBhvr>
                                      <p:to>
                                        <p:strVal val="visible"/>
                                      </p:to>
                                    </p:set>
                                    <p:animEffect transition="in" filter="fade">
                                      <p:cBhvr>
                                        <p:cTn id="66" dur="500"/>
                                        <p:tgtEl>
                                          <p:spTgt spid="10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54"/>
                                        </p:tgtEl>
                                        <p:attrNameLst>
                                          <p:attrName>style.visibility</p:attrName>
                                        </p:attrNameLst>
                                      </p:cBhvr>
                                      <p:to>
                                        <p:strVal val="visible"/>
                                      </p:to>
                                    </p:set>
                                    <p:animEffect transition="in" filter="fade">
                                      <p:cBhvr>
                                        <p:cTn id="69" dur="500"/>
                                        <p:tgtEl>
                                          <p:spTgt spid="5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87"/>
                                        </p:tgtEl>
                                        <p:attrNameLst>
                                          <p:attrName>style.visibility</p:attrName>
                                        </p:attrNameLst>
                                      </p:cBhvr>
                                      <p:to>
                                        <p:strVal val="visible"/>
                                      </p:to>
                                    </p:set>
                                    <p:animEffect transition="in" filter="fade">
                                      <p:cBhvr>
                                        <p:cTn id="72" dur="500"/>
                                        <p:tgtEl>
                                          <p:spTgt spid="87"/>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65"/>
                                        </p:tgtEl>
                                        <p:attrNameLst>
                                          <p:attrName>style.visibility</p:attrName>
                                        </p:attrNameLst>
                                      </p:cBhvr>
                                      <p:to>
                                        <p:strVal val="visible"/>
                                      </p:to>
                                    </p:set>
                                    <p:animEffect transition="in" filter="fade">
                                      <p:cBhvr>
                                        <p:cTn id="75"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p:bldP spid="59" grpId="0"/>
      <p:bldP spid="69" grpId="0"/>
      <p:bldP spid="100" grpId="0"/>
      <p:bldP spid="81" grpId="0"/>
      <p:bldP spid="76" grpId="0"/>
      <p:bldP spid="54" grpId="0"/>
      <p:bldP spid="91" grpId="0"/>
      <p:bldP spid="82" grpId="0"/>
      <p:bldP spid="87" grpId="0"/>
      <p:bldP spid="103" grpId="0"/>
      <p:bldP spid="88" grpId="0"/>
      <p:bldP spid="65" grpId="0"/>
      <p:bldP spid="104" grpId="0"/>
      <p:bldP spid="94" grpId="0"/>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531952"/>
            <a:ext cx="11653523" cy="1985641"/>
          </a:xfrm>
        </p:spPr>
        <p:txBody>
          <a:bodyPr/>
          <a:lstStyle/>
          <a:p>
            <a:endParaRPr lang="fr-FR"/>
          </a:p>
        </p:txBody>
      </p:sp>
      <p:sp>
        <p:nvSpPr>
          <p:cNvPr id="15" name="Rectangle 14"/>
          <p:cNvSpPr>
            <a:spLocks/>
          </p:cNvSpPr>
          <p:nvPr/>
        </p:nvSpPr>
        <p:spPr bwMode="auto">
          <a:xfrm>
            <a:off x="7896753" y="580055"/>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marL="0" marR="0" lvl="0" indent="0" algn="r" defTabSz="891460" eaLnBrk="1" fontAlgn="auto" latinLnBrk="0" hangingPunct="1">
              <a:lnSpc>
                <a:spcPct val="100000"/>
              </a:lnSpc>
              <a:spcBef>
                <a:spcPts val="0"/>
              </a:spcBef>
              <a:spcAft>
                <a:spcPts val="0"/>
              </a:spcAft>
              <a:buClrTx/>
              <a:buSzTx/>
              <a:buFontTx/>
              <a:buNone/>
              <a:tabLst/>
              <a:defRPr/>
            </a:pPr>
            <a:endParaRPr kumimoji="0" lang="en-US" sz="1730" b="1" i="0" u="none" strike="noStrike" kern="0" cap="none" spc="0" normalizeH="0" baseline="0" noProof="0">
              <a:ln>
                <a:noFill/>
              </a:ln>
              <a:solidFill>
                <a:srgbClr val="FFB900"/>
              </a:solidFill>
              <a:effectLst/>
              <a:uLnTx/>
              <a:uFillTx/>
              <a:latin typeface="Segoe UI"/>
            </a:endParaRPr>
          </a:p>
        </p:txBody>
      </p:sp>
      <p:sp>
        <p:nvSpPr>
          <p:cNvPr id="16" name="Rectangle 15"/>
          <p:cNvSpPr>
            <a:spLocks/>
          </p:cNvSpPr>
          <p:nvPr/>
        </p:nvSpPr>
        <p:spPr bwMode="auto">
          <a:xfrm>
            <a:off x="7896753" y="580055"/>
            <a:ext cx="3909563" cy="780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470" tIns="43734" rIns="87470" bIns="43734" numCol="1" spcCol="0" rtlCol="0" fromWordArt="0" anchor="ctr" anchorCtr="0" forceAA="0" compatLnSpc="1">
            <a:prstTxWarp prst="textNoShape">
              <a:avLst/>
            </a:prstTxWarp>
            <a:noAutofit/>
          </a:bodyPr>
          <a:lstStyle/>
          <a:p>
            <a:pPr marL="0" marR="0" lvl="0" indent="0" algn="r" defTabSz="891460" eaLnBrk="1" fontAlgn="auto" latinLnBrk="0" hangingPunct="1">
              <a:lnSpc>
                <a:spcPct val="100000"/>
              </a:lnSpc>
              <a:spcBef>
                <a:spcPts val="0"/>
              </a:spcBef>
              <a:spcAft>
                <a:spcPts val="0"/>
              </a:spcAft>
              <a:buClrTx/>
              <a:buSzTx/>
              <a:buFontTx/>
              <a:buNone/>
              <a:tabLst/>
              <a:defRPr/>
            </a:pPr>
            <a:endParaRPr kumimoji="0" lang="en-US" sz="1730" b="1" i="0" u="none" strike="noStrike" kern="0" cap="none" spc="0" normalizeH="0" baseline="0" noProof="0">
              <a:ln>
                <a:noFill/>
              </a:ln>
              <a:solidFill>
                <a:srgbClr val="FFB900"/>
              </a:solidFill>
              <a:effectLst/>
              <a:uLnTx/>
              <a:uFillTx/>
              <a:latin typeface="Segoe UI"/>
            </a:endParaRPr>
          </a:p>
        </p:txBody>
      </p:sp>
      <p:grpSp>
        <p:nvGrpSpPr>
          <p:cNvPr id="7" name="Group 6"/>
          <p:cNvGrpSpPr/>
          <p:nvPr/>
        </p:nvGrpSpPr>
        <p:grpSpPr>
          <a:xfrm>
            <a:off x="453952" y="2929288"/>
            <a:ext cx="2098974" cy="627407"/>
            <a:chOff x="6827777" y="4411662"/>
            <a:chExt cx="2459932" cy="533400"/>
          </a:xfrm>
          <a:solidFill>
            <a:schemeClr val="tx1"/>
          </a:solidFill>
        </p:grpSpPr>
        <p:sp>
          <p:nvSpPr>
            <p:cNvPr id="10" name="Flowchart: Process 8"/>
            <p:cNvSpPr/>
            <p:nvPr/>
          </p:nvSpPr>
          <p:spPr bwMode="auto">
            <a:xfrm>
              <a:off x="6827777" y="44116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9" name="Rectangle 8"/>
            <p:cNvSpPr/>
            <p:nvPr/>
          </p:nvSpPr>
          <p:spPr>
            <a:xfrm>
              <a:off x="6996044" y="4520801"/>
              <a:ext cx="2121554" cy="329012"/>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Emotion</a:t>
              </a:r>
            </a:p>
          </p:txBody>
        </p:sp>
      </p:grpSp>
      <p:grpSp>
        <p:nvGrpSpPr>
          <p:cNvPr id="12" name="Group 11"/>
          <p:cNvGrpSpPr/>
          <p:nvPr/>
        </p:nvGrpSpPr>
        <p:grpSpPr>
          <a:xfrm>
            <a:off x="2682513" y="2929288"/>
            <a:ext cx="2195928" cy="627407"/>
            <a:chOff x="9701909" y="5021262"/>
            <a:chExt cx="2459932" cy="533400"/>
          </a:xfrm>
          <a:solidFill>
            <a:schemeClr val="tx1"/>
          </a:solidFill>
        </p:grpSpPr>
        <p:sp>
          <p:nvSpPr>
            <p:cNvPr id="17"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4" name="Rectangle 13"/>
            <p:cNvSpPr/>
            <p:nvPr/>
          </p:nvSpPr>
          <p:spPr>
            <a:xfrm>
              <a:off x="9817021" y="5125889"/>
              <a:ext cx="2344820" cy="324146"/>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Speaker Recognition</a:t>
              </a:r>
            </a:p>
          </p:txBody>
        </p:sp>
      </p:grpSp>
      <p:grpSp>
        <p:nvGrpSpPr>
          <p:cNvPr id="19" name="Group 18"/>
          <p:cNvGrpSpPr/>
          <p:nvPr/>
        </p:nvGrpSpPr>
        <p:grpSpPr>
          <a:xfrm>
            <a:off x="2682512" y="3642649"/>
            <a:ext cx="2195928" cy="627407"/>
            <a:chOff x="9701909" y="5630862"/>
            <a:chExt cx="2459932" cy="533400"/>
          </a:xfrm>
          <a:solidFill>
            <a:schemeClr val="tx1"/>
          </a:solidFill>
        </p:grpSpPr>
        <p:sp>
          <p:nvSpPr>
            <p:cNvPr id="22"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1" name="Rectangle 20"/>
            <p:cNvSpPr/>
            <p:nvPr/>
          </p:nvSpPr>
          <p:spPr>
            <a:xfrm>
              <a:off x="9838466" y="5631889"/>
              <a:ext cx="2162814" cy="530950"/>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Speech</a:t>
              </a:r>
            </a:p>
          </p:txBody>
        </p:sp>
      </p:grpSp>
      <p:grpSp>
        <p:nvGrpSpPr>
          <p:cNvPr id="24" name="Group 23"/>
          <p:cNvGrpSpPr/>
          <p:nvPr/>
        </p:nvGrpSpPr>
        <p:grpSpPr>
          <a:xfrm>
            <a:off x="2677806" y="2215927"/>
            <a:ext cx="2199076" cy="627404"/>
            <a:chOff x="9701907" y="3192460"/>
            <a:chExt cx="2459932" cy="533400"/>
          </a:xfrm>
          <a:solidFill>
            <a:schemeClr val="tx1"/>
          </a:solidFill>
        </p:grpSpPr>
        <p:sp>
          <p:nvSpPr>
            <p:cNvPr id="27"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26" name="Rectangle 25"/>
            <p:cNvSpPr/>
            <p:nvPr/>
          </p:nvSpPr>
          <p:spPr>
            <a:xfrm>
              <a:off x="9836450" y="3268662"/>
              <a:ext cx="2321868"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Custom Recognition</a:t>
              </a:r>
            </a:p>
          </p:txBody>
        </p:sp>
      </p:grpSp>
      <p:grpSp>
        <p:nvGrpSpPr>
          <p:cNvPr id="29" name="Group 28"/>
          <p:cNvGrpSpPr/>
          <p:nvPr/>
        </p:nvGrpSpPr>
        <p:grpSpPr>
          <a:xfrm>
            <a:off x="453952" y="2215926"/>
            <a:ext cx="2099966" cy="627407"/>
            <a:chOff x="6827776" y="3192468"/>
            <a:chExt cx="2459933" cy="533401"/>
          </a:xfrm>
          <a:solidFill>
            <a:schemeClr val="tx1"/>
          </a:solidFill>
        </p:grpSpPr>
        <p:sp>
          <p:nvSpPr>
            <p:cNvPr id="32" name="Flowchart: Process 8"/>
            <p:cNvSpPr/>
            <p:nvPr/>
          </p:nvSpPr>
          <p:spPr bwMode="auto">
            <a:xfrm>
              <a:off x="6827776" y="3192468"/>
              <a:ext cx="2459933" cy="53340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31" name="Rectangle 30"/>
            <p:cNvSpPr/>
            <p:nvPr/>
          </p:nvSpPr>
          <p:spPr>
            <a:xfrm>
              <a:off x="6986793" y="3268665"/>
              <a:ext cx="2130806"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Computer Vision</a:t>
              </a:r>
            </a:p>
          </p:txBody>
        </p:sp>
      </p:grpSp>
      <p:grpSp>
        <p:nvGrpSpPr>
          <p:cNvPr id="34" name="Group 33"/>
          <p:cNvGrpSpPr/>
          <p:nvPr/>
        </p:nvGrpSpPr>
        <p:grpSpPr>
          <a:xfrm>
            <a:off x="453952" y="3642649"/>
            <a:ext cx="2101318" cy="627407"/>
            <a:chOff x="6827777" y="3802062"/>
            <a:chExt cx="2459932" cy="533400"/>
          </a:xfrm>
          <a:solidFill>
            <a:schemeClr val="tx1"/>
          </a:solidFill>
        </p:grpSpPr>
        <p:sp>
          <p:nvSpPr>
            <p:cNvPr id="37"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36" name="Rectangle 35"/>
            <p:cNvSpPr/>
            <p:nvPr/>
          </p:nvSpPr>
          <p:spPr>
            <a:xfrm>
              <a:off x="7014491" y="3892910"/>
              <a:ext cx="2103108"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Face</a:t>
              </a:r>
            </a:p>
          </p:txBody>
        </p:sp>
      </p:grpSp>
      <p:grpSp>
        <p:nvGrpSpPr>
          <p:cNvPr id="39" name="Group 38"/>
          <p:cNvGrpSpPr/>
          <p:nvPr/>
        </p:nvGrpSpPr>
        <p:grpSpPr>
          <a:xfrm>
            <a:off x="453952" y="4356011"/>
            <a:ext cx="2098975" cy="627407"/>
            <a:chOff x="6827777" y="3802062"/>
            <a:chExt cx="2459932" cy="533400"/>
          </a:xfrm>
          <a:solidFill>
            <a:schemeClr val="tx1"/>
          </a:solidFill>
        </p:grpSpPr>
        <p:sp>
          <p:nvSpPr>
            <p:cNvPr id="42"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41" name="Rectangle 40"/>
            <p:cNvSpPr/>
            <p:nvPr/>
          </p:nvSpPr>
          <p:spPr>
            <a:xfrm>
              <a:off x="6994719" y="3892910"/>
              <a:ext cx="2122880"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Video</a:t>
              </a:r>
            </a:p>
          </p:txBody>
        </p:sp>
      </p:grpSp>
      <p:pic>
        <p:nvPicPr>
          <p:cNvPr id="44" name="Pictur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84653" y="1632039"/>
            <a:ext cx="296411" cy="359581"/>
          </a:xfrm>
          <a:prstGeom prst="rect">
            <a:avLst/>
          </a:prstGeom>
        </p:spPr>
      </p:pic>
      <p:sp>
        <p:nvSpPr>
          <p:cNvPr id="45" name="Right Bracket 44"/>
          <p:cNvSpPr/>
          <p:nvPr/>
        </p:nvSpPr>
        <p:spPr>
          <a:xfrm rot="16200000">
            <a:off x="5936439" y="-4392024"/>
            <a:ext cx="209908" cy="11578822"/>
          </a:xfrm>
          <a:prstGeom prst="rightBracket">
            <a:avLst>
              <a:gd name="adj" fmla="val 78933"/>
            </a:avLst>
          </a:prstGeom>
          <a:ln w="28575"/>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049"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a:endParaRPr>
          </a:p>
        </p:txBody>
      </p:sp>
      <p:sp>
        <p:nvSpPr>
          <p:cNvPr id="46" name="Rectangle 45"/>
          <p:cNvSpPr/>
          <p:nvPr/>
        </p:nvSpPr>
        <p:spPr>
          <a:xfrm>
            <a:off x="269241" y="645421"/>
            <a:ext cx="11655840" cy="557611"/>
          </a:xfrm>
          <a:prstGeom prst="rect">
            <a:avLst/>
          </a:prstGeom>
          <a:solidFill>
            <a:schemeClr val="tx1"/>
          </a:solidFill>
          <a:ln w="25400" cap="flat" cmpd="sng" algn="ctr">
            <a:noFill/>
            <a:prstDash val="solid"/>
          </a:ln>
          <a:effectLst/>
        </p:spPr>
        <p:txBody>
          <a:bodyPr lIns="116970" tIns="58484" rIns="116970" bIns="5848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78559" rtl="0" eaLnBrk="1" fontAlgn="auto" latinLnBrk="0" hangingPunct="1">
              <a:lnSpc>
                <a:spcPct val="100000"/>
              </a:lnSpc>
              <a:spcBef>
                <a:spcPts val="0"/>
              </a:spcBef>
              <a:spcAft>
                <a:spcPts val="0"/>
              </a:spcAft>
              <a:buClrTx/>
              <a:buSzTx/>
              <a:buFontTx/>
              <a:buNone/>
              <a:tabLst/>
              <a:defRPr/>
            </a:pPr>
            <a:r>
              <a:rPr kumimoji="0" lang="en-US" sz="3333" b="1" i="0" u="none" strike="noStrike" kern="0" cap="none" spc="0" normalizeH="0" baseline="0" noProof="0" dirty="0">
                <a:ln>
                  <a:noFill/>
                </a:ln>
                <a:solidFill>
                  <a:schemeClr val="bg1"/>
                </a:solidFill>
                <a:effectLst/>
                <a:uLnTx/>
                <a:uFillTx/>
                <a:latin typeface="Segoe UI Light"/>
                <a:ea typeface="+mn-ea"/>
                <a:cs typeface="+mn-cs"/>
              </a:rPr>
              <a:t>microsoft.com/cognitive</a:t>
            </a:r>
          </a:p>
        </p:txBody>
      </p:sp>
      <p:grpSp>
        <p:nvGrpSpPr>
          <p:cNvPr id="48" name="Group 47"/>
          <p:cNvGrpSpPr/>
          <p:nvPr/>
        </p:nvGrpSpPr>
        <p:grpSpPr>
          <a:xfrm>
            <a:off x="9616294" y="1511859"/>
            <a:ext cx="2178717" cy="627408"/>
            <a:chOff x="803519" y="1881281"/>
            <a:chExt cx="2222721" cy="640080"/>
          </a:xfrm>
        </p:grpSpPr>
        <p:sp>
          <p:nvSpPr>
            <p:cNvPr id="50" name="Rectangle 49"/>
            <p:cNvSpPr/>
            <p:nvPr/>
          </p:nvSpPr>
          <p:spPr>
            <a:xfrm>
              <a:off x="803519"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51" name="TextBox 50"/>
            <p:cNvSpPr txBox="1"/>
            <p:nvPr/>
          </p:nvSpPr>
          <p:spPr>
            <a:xfrm>
              <a:off x="1202293" y="1886159"/>
              <a:ext cx="1402359" cy="627912"/>
            </a:xfrm>
            <a:prstGeom prst="rect">
              <a:avLst/>
            </a:prstGeom>
            <a:solidFill>
              <a:srgbClr val="009580"/>
            </a:solidFill>
            <a:ln>
              <a:noFill/>
            </a:ln>
          </p:spPr>
          <p:txBody>
            <a:bodyPr wrap="square" lIns="179259" tIns="143407" rIns="179259" bIns="143407" rtlCol="0" anchor="ctr">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Search</a:t>
              </a:r>
            </a:p>
          </p:txBody>
        </p:sp>
      </p:grpSp>
      <p:grpSp>
        <p:nvGrpSpPr>
          <p:cNvPr id="54" name="Group 53"/>
          <p:cNvGrpSpPr/>
          <p:nvPr/>
        </p:nvGrpSpPr>
        <p:grpSpPr>
          <a:xfrm>
            <a:off x="2682462" y="1504826"/>
            <a:ext cx="2215536" cy="627408"/>
            <a:chOff x="803519" y="1881281"/>
            <a:chExt cx="2227717" cy="640080"/>
          </a:xfrm>
        </p:grpSpPr>
        <p:sp>
          <p:nvSpPr>
            <p:cNvPr id="57" name="Rectangle 56"/>
            <p:cNvSpPr/>
            <p:nvPr/>
          </p:nvSpPr>
          <p:spPr>
            <a:xfrm>
              <a:off x="803519" y="1881281"/>
              <a:ext cx="2227717"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58" name="TextBox 57"/>
            <p:cNvSpPr txBox="1"/>
            <p:nvPr/>
          </p:nvSpPr>
          <p:spPr>
            <a:xfrm>
              <a:off x="1213136" y="1886159"/>
              <a:ext cx="1533417" cy="627912"/>
            </a:xfrm>
            <a:prstGeom prst="rect">
              <a:avLst/>
            </a:prstGeom>
            <a:solidFill>
              <a:srgbClr val="009580"/>
            </a:solidFill>
            <a:ln>
              <a:noFill/>
            </a:ln>
          </p:spPr>
          <p:txBody>
            <a:bodyPr wrap="square" lIns="179259" tIns="143407" rIns="179259" bIns="143407" rtlCol="0" anchor="ctr">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Speech</a:t>
              </a:r>
            </a:p>
          </p:txBody>
        </p:sp>
      </p:grpSp>
      <p:grpSp>
        <p:nvGrpSpPr>
          <p:cNvPr id="61" name="Group 60"/>
          <p:cNvGrpSpPr/>
          <p:nvPr/>
        </p:nvGrpSpPr>
        <p:grpSpPr>
          <a:xfrm>
            <a:off x="4994619" y="1513042"/>
            <a:ext cx="2185876" cy="627408"/>
            <a:chOff x="803520" y="1881281"/>
            <a:chExt cx="2230024" cy="640080"/>
          </a:xfrm>
        </p:grpSpPr>
        <p:sp>
          <p:nvSpPr>
            <p:cNvPr id="63" name="Rectangle 62"/>
            <p:cNvSpPr/>
            <p:nvPr/>
          </p:nvSpPr>
          <p:spPr>
            <a:xfrm>
              <a:off x="803520" y="1881281"/>
              <a:ext cx="2230024"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64" name="TextBox 63"/>
            <p:cNvSpPr txBox="1"/>
            <p:nvPr/>
          </p:nvSpPr>
          <p:spPr>
            <a:xfrm>
              <a:off x="1121106" y="1886159"/>
              <a:ext cx="1702127" cy="627912"/>
            </a:xfrm>
            <a:prstGeom prst="rect">
              <a:avLst/>
            </a:prstGeom>
            <a:solidFill>
              <a:srgbClr val="009580"/>
            </a:solidFill>
            <a:ln>
              <a:noFill/>
            </a:ln>
          </p:spPr>
          <p:txBody>
            <a:bodyPr wrap="square" lIns="179259" tIns="143407" rIns="179259" bIns="143407" rtlCol="0" anchor="ctr">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Language</a:t>
              </a:r>
            </a:p>
          </p:txBody>
        </p:sp>
      </p:grpSp>
      <p:grpSp>
        <p:nvGrpSpPr>
          <p:cNvPr id="66" name="Group 65"/>
          <p:cNvGrpSpPr/>
          <p:nvPr/>
        </p:nvGrpSpPr>
        <p:grpSpPr>
          <a:xfrm>
            <a:off x="7309035" y="1511859"/>
            <a:ext cx="2178718" cy="627408"/>
            <a:chOff x="803520" y="1881281"/>
            <a:chExt cx="2222721" cy="640080"/>
          </a:xfrm>
        </p:grpSpPr>
        <p:sp>
          <p:nvSpPr>
            <p:cNvPr id="68" name="Rectangle 67"/>
            <p:cNvSpPr/>
            <p:nvPr/>
          </p:nvSpPr>
          <p:spPr>
            <a:xfrm>
              <a:off x="803520" y="1881281"/>
              <a:ext cx="2222721"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69" name="TextBox 68"/>
            <p:cNvSpPr txBox="1"/>
            <p:nvPr/>
          </p:nvSpPr>
          <p:spPr>
            <a:xfrm>
              <a:off x="1147970" y="1886159"/>
              <a:ext cx="1824157" cy="627912"/>
            </a:xfrm>
            <a:prstGeom prst="rect">
              <a:avLst/>
            </a:prstGeom>
            <a:solidFill>
              <a:srgbClr val="009580"/>
            </a:solidFill>
            <a:ln>
              <a:noFill/>
            </a:ln>
          </p:spPr>
          <p:txBody>
            <a:bodyPr wrap="square" lIns="179259" tIns="143407" rIns="179259" bIns="143407" rtlCol="0" anchor="ctr">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Knowledge</a:t>
              </a:r>
            </a:p>
          </p:txBody>
        </p:sp>
      </p:grpSp>
      <p:grpSp>
        <p:nvGrpSpPr>
          <p:cNvPr id="71" name="Group 70"/>
          <p:cNvGrpSpPr/>
          <p:nvPr/>
        </p:nvGrpSpPr>
        <p:grpSpPr>
          <a:xfrm>
            <a:off x="453952" y="1502564"/>
            <a:ext cx="2099968" cy="627408"/>
            <a:chOff x="803520" y="1881281"/>
            <a:chExt cx="2219313" cy="640080"/>
          </a:xfrm>
        </p:grpSpPr>
        <p:sp>
          <p:nvSpPr>
            <p:cNvPr id="73" name="Rectangle 72"/>
            <p:cNvSpPr/>
            <p:nvPr/>
          </p:nvSpPr>
          <p:spPr>
            <a:xfrm>
              <a:off x="803520" y="1881281"/>
              <a:ext cx="2219313" cy="640080"/>
            </a:xfrm>
            <a:prstGeom prst="rect">
              <a:avLst/>
            </a:prstGeom>
            <a:solidFill>
              <a:srgbClr val="009580"/>
            </a:solidFill>
            <a:ln w="9525" cap="flat" cmpd="sng" algn="ctr">
              <a:noFill/>
              <a:prstDash val="solid"/>
            </a:ln>
            <a:effectLst/>
          </p:spPr>
          <p:txBody>
            <a:bodyPr lIns="116954" tIns="58475" rIns="116954" bIns="584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78390"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gradFill>
                  <a:gsLst>
                    <a:gs pos="0">
                      <a:srgbClr val="FFFFFF"/>
                    </a:gs>
                    <a:gs pos="100000">
                      <a:srgbClr val="FFFFFF"/>
                    </a:gs>
                  </a:gsLst>
                  <a:lin ang="5400000" scaled="0"/>
                </a:gradFill>
                <a:effectLst/>
                <a:uLnTx/>
                <a:uFillTx/>
                <a:latin typeface="Segoe UI Light"/>
                <a:ea typeface="+mn-ea"/>
                <a:cs typeface="+mn-cs"/>
              </a:endParaRPr>
            </a:p>
          </p:txBody>
        </p:sp>
        <p:sp>
          <p:nvSpPr>
            <p:cNvPr id="74" name="TextBox 73"/>
            <p:cNvSpPr txBox="1"/>
            <p:nvPr/>
          </p:nvSpPr>
          <p:spPr>
            <a:xfrm>
              <a:off x="1227725" y="1886159"/>
              <a:ext cx="1177272" cy="627911"/>
            </a:xfrm>
            <a:prstGeom prst="rect">
              <a:avLst/>
            </a:prstGeom>
            <a:noFill/>
            <a:ln>
              <a:noFill/>
            </a:ln>
          </p:spPr>
          <p:txBody>
            <a:bodyPr wrap="square" lIns="179259" tIns="143407" rIns="179259" bIns="143407" rtlCol="0" anchor="ctr">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rPr>
                <a:t>Vision</a:t>
              </a:r>
            </a:p>
          </p:txBody>
        </p:sp>
      </p:grpSp>
      <p:grpSp>
        <p:nvGrpSpPr>
          <p:cNvPr id="75" name="Group 74"/>
          <p:cNvGrpSpPr/>
          <p:nvPr/>
        </p:nvGrpSpPr>
        <p:grpSpPr>
          <a:xfrm>
            <a:off x="4993839" y="2929288"/>
            <a:ext cx="2171620" cy="627407"/>
            <a:chOff x="9701909" y="5021262"/>
            <a:chExt cx="2459932" cy="533400"/>
          </a:xfrm>
          <a:solidFill>
            <a:schemeClr val="tx1"/>
          </a:solidFill>
        </p:grpSpPr>
        <p:sp>
          <p:nvSpPr>
            <p:cNvPr id="7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77" name="Rectangle 76"/>
            <p:cNvSpPr/>
            <p:nvPr/>
          </p:nvSpPr>
          <p:spPr>
            <a:xfrm>
              <a:off x="9793736" y="5125889"/>
              <a:ext cx="2211413" cy="324146"/>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Linguistic Analysis</a:t>
              </a:r>
            </a:p>
          </p:txBody>
        </p:sp>
      </p:grpSp>
      <p:grpSp>
        <p:nvGrpSpPr>
          <p:cNvPr id="80" name="Group 79"/>
          <p:cNvGrpSpPr/>
          <p:nvPr/>
        </p:nvGrpSpPr>
        <p:grpSpPr>
          <a:xfrm>
            <a:off x="4979992" y="3642649"/>
            <a:ext cx="2171625" cy="627407"/>
            <a:chOff x="9701909" y="5630862"/>
            <a:chExt cx="2459932" cy="533400"/>
          </a:xfrm>
          <a:solidFill>
            <a:schemeClr val="tx1"/>
          </a:solidFill>
        </p:grpSpPr>
        <p:sp>
          <p:nvSpPr>
            <p:cNvPr id="8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82" name="Rectangle 81"/>
            <p:cNvSpPr/>
            <p:nvPr/>
          </p:nvSpPr>
          <p:spPr>
            <a:xfrm>
              <a:off x="9795160" y="5631889"/>
              <a:ext cx="2354349" cy="530950"/>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Language Understanding</a:t>
              </a:r>
            </a:p>
          </p:txBody>
        </p:sp>
      </p:grpSp>
      <p:grpSp>
        <p:nvGrpSpPr>
          <p:cNvPr id="85" name="Group 84"/>
          <p:cNvGrpSpPr/>
          <p:nvPr/>
        </p:nvGrpSpPr>
        <p:grpSpPr>
          <a:xfrm>
            <a:off x="5000770" y="2215927"/>
            <a:ext cx="2172490" cy="627404"/>
            <a:chOff x="9701907" y="3192460"/>
            <a:chExt cx="2459932" cy="533400"/>
          </a:xfrm>
          <a:solidFill>
            <a:schemeClr val="tx1"/>
          </a:solidFill>
        </p:grpSpPr>
        <p:sp>
          <p:nvSpPr>
            <p:cNvPr id="8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87" name="Rectangle 86"/>
            <p:cNvSpPr/>
            <p:nvPr/>
          </p:nvSpPr>
          <p:spPr>
            <a:xfrm>
              <a:off x="9836196" y="3268662"/>
              <a:ext cx="2325642"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Bing Spell Check</a:t>
              </a:r>
            </a:p>
          </p:txBody>
        </p:sp>
      </p:grpSp>
      <p:grpSp>
        <p:nvGrpSpPr>
          <p:cNvPr id="90" name="Group 89"/>
          <p:cNvGrpSpPr/>
          <p:nvPr/>
        </p:nvGrpSpPr>
        <p:grpSpPr>
          <a:xfrm>
            <a:off x="7320592" y="2929288"/>
            <a:ext cx="2171546" cy="627407"/>
            <a:chOff x="9701909" y="5021262"/>
            <a:chExt cx="2459932" cy="533400"/>
          </a:xfrm>
          <a:solidFill>
            <a:schemeClr val="tx1"/>
          </a:solidFill>
        </p:grpSpPr>
        <p:sp>
          <p:nvSpPr>
            <p:cNvPr id="9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92" name="Rectangle 91"/>
            <p:cNvSpPr/>
            <p:nvPr/>
          </p:nvSpPr>
          <p:spPr>
            <a:xfrm>
              <a:off x="9869331" y="5125889"/>
              <a:ext cx="2143840" cy="324146"/>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Entity Linking</a:t>
              </a:r>
            </a:p>
          </p:txBody>
        </p:sp>
      </p:grpSp>
      <p:grpSp>
        <p:nvGrpSpPr>
          <p:cNvPr id="95" name="Group 94"/>
          <p:cNvGrpSpPr/>
          <p:nvPr/>
        </p:nvGrpSpPr>
        <p:grpSpPr>
          <a:xfrm>
            <a:off x="7312722" y="3642649"/>
            <a:ext cx="2179416" cy="627407"/>
            <a:chOff x="9701909" y="5630862"/>
            <a:chExt cx="2459932" cy="533400"/>
          </a:xfrm>
          <a:solidFill>
            <a:schemeClr val="tx1"/>
          </a:solidFill>
        </p:grpSpPr>
        <p:sp>
          <p:nvSpPr>
            <p:cNvPr id="98"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97" name="Rectangle 96"/>
            <p:cNvSpPr/>
            <p:nvPr/>
          </p:nvSpPr>
          <p:spPr>
            <a:xfrm>
              <a:off x="9870712" y="5631889"/>
              <a:ext cx="2130568" cy="530950"/>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Knowledge Exploration</a:t>
              </a:r>
            </a:p>
          </p:txBody>
        </p:sp>
      </p:grpSp>
      <p:grpSp>
        <p:nvGrpSpPr>
          <p:cNvPr id="100" name="Group 99"/>
          <p:cNvGrpSpPr/>
          <p:nvPr/>
        </p:nvGrpSpPr>
        <p:grpSpPr>
          <a:xfrm>
            <a:off x="7297147" y="2215927"/>
            <a:ext cx="2182436" cy="627404"/>
            <a:chOff x="9701907" y="3192460"/>
            <a:chExt cx="2459932" cy="533400"/>
          </a:xfrm>
          <a:solidFill>
            <a:schemeClr val="tx1"/>
          </a:solidFill>
        </p:grpSpPr>
        <p:sp>
          <p:nvSpPr>
            <p:cNvPr id="10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02" name="Rectangle 101"/>
            <p:cNvSpPr/>
            <p:nvPr/>
          </p:nvSpPr>
          <p:spPr>
            <a:xfrm>
              <a:off x="9857784" y="3268662"/>
              <a:ext cx="2143840"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Academic Knowledge </a:t>
              </a:r>
            </a:p>
          </p:txBody>
        </p:sp>
      </p:grpSp>
      <p:grpSp>
        <p:nvGrpSpPr>
          <p:cNvPr id="105" name="Group 104"/>
          <p:cNvGrpSpPr/>
          <p:nvPr/>
        </p:nvGrpSpPr>
        <p:grpSpPr>
          <a:xfrm>
            <a:off x="9603470" y="2929288"/>
            <a:ext cx="2175914" cy="627407"/>
            <a:chOff x="9701909" y="5021262"/>
            <a:chExt cx="2459932" cy="533400"/>
          </a:xfrm>
          <a:solidFill>
            <a:schemeClr val="tx1"/>
          </a:solidFill>
        </p:grpSpPr>
        <p:sp>
          <p:nvSpPr>
            <p:cNvPr id="10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07" name="Rectangle 106"/>
            <p:cNvSpPr/>
            <p:nvPr/>
          </p:nvSpPr>
          <p:spPr>
            <a:xfrm>
              <a:off x="9815712" y="5125889"/>
              <a:ext cx="2289449" cy="324146"/>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Bing </a:t>
              </a:r>
            </a:p>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Image Search</a:t>
              </a:r>
            </a:p>
          </p:txBody>
        </p:sp>
      </p:grpSp>
      <p:grpSp>
        <p:nvGrpSpPr>
          <p:cNvPr id="110" name="Group 109"/>
          <p:cNvGrpSpPr/>
          <p:nvPr/>
        </p:nvGrpSpPr>
        <p:grpSpPr>
          <a:xfrm>
            <a:off x="9614303" y="3642649"/>
            <a:ext cx="2170535" cy="627407"/>
            <a:chOff x="9701909" y="5630862"/>
            <a:chExt cx="2459932" cy="533400"/>
          </a:xfrm>
          <a:solidFill>
            <a:schemeClr val="tx1"/>
          </a:solidFill>
        </p:grpSpPr>
        <p:sp>
          <p:nvSpPr>
            <p:cNvPr id="113" name="Flowchart: Process 8"/>
            <p:cNvSpPr/>
            <p:nvPr/>
          </p:nvSpPr>
          <p:spPr bwMode="auto">
            <a:xfrm>
              <a:off x="9701909" y="56308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2" name="Rectangle 111"/>
            <p:cNvSpPr/>
            <p:nvPr/>
          </p:nvSpPr>
          <p:spPr>
            <a:xfrm>
              <a:off x="9871713" y="5631889"/>
              <a:ext cx="2233474" cy="530950"/>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Bing </a:t>
              </a:r>
            </a:p>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Video Search</a:t>
              </a:r>
            </a:p>
          </p:txBody>
        </p:sp>
      </p:grpSp>
      <p:grpSp>
        <p:nvGrpSpPr>
          <p:cNvPr id="115" name="Group 114"/>
          <p:cNvGrpSpPr/>
          <p:nvPr/>
        </p:nvGrpSpPr>
        <p:grpSpPr>
          <a:xfrm>
            <a:off x="9603470" y="2215927"/>
            <a:ext cx="2178939" cy="627404"/>
            <a:chOff x="9701907" y="3192460"/>
            <a:chExt cx="2459932" cy="533400"/>
          </a:xfrm>
          <a:solidFill>
            <a:schemeClr val="tx1"/>
          </a:solidFill>
        </p:grpSpPr>
        <p:sp>
          <p:nvSpPr>
            <p:cNvPr id="11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17" name="Rectangle 116"/>
            <p:cNvSpPr/>
            <p:nvPr/>
          </p:nvSpPr>
          <p:spPr>
            <a:xfrm>
              <a:off x="9812188" y="3268663"/>
              <a:ext cx="2289447"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Bing </a:t>
              </a:r>
            </a:p>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Web Search</a:t>
              </a:r>
            </a:p>
          </p:txBody>
        </p:sp>
      </p:grpSp>
      <p:grpSp>
        <p:nvGrpSpPr>
          <p:cNvPr id="120" name="Group 119"/>
          <p:cNvGrpSpPr/>
          <p:nvPr/>
        </p:nvGrpSpPr>
        <p:grpSpPr>
          <a:xfrm>
            <a:off x="4979992" y="5067698"/>
            <a:ext cx="2171624" cy="627407"/>
            <a:chOff x="9701909" y="5021262"/>
            <a:chExt cx="2459932" cy="533400"/>
          </a:xfrm>
          <a:solidFill>
            <a:schemeClr val="tx1"/>
          </a:solidFill>
        </p:grpSpPr>
        <p:sp>
          <p:nvSpPr>
            <p:cNvPr id="123"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22" name="Rectangle 121"/>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WebLM</a:t>
              </a:r>
            </a:p>
          </p:txBody>
        </p:sp>
      </p:grpSp>
      <p:grpSp>
        <p:nvGrpSpPr>
          <p:cNvPr id="125" name="Group 124"/>
          <p:cNvGrpSpPr/>
          <p:nvPr/>
        </p:nvGrpSpPr>
        <p:grpSpPr>
          <a:xfrm>
            <a:off x="4978482" y="4356011"/>
            <a:ext cx="2174643" cy="627404"/>
            <a:chOff x="9701907" y="3192460"/>
            <a:chExt cx="2459932" cy="533400"/>
          </a:xfrm>
          <a:solidFill>
            <a:schemeClr val="tx1"/>
          </a:solidFill>
        </p:grpSpPr>
        <p:sp>
          <p:nvSpPr>
            <p:cNvPr id="128"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27" name="Rectangle 126"/>
            <p:cNvSpPr/>
            <p:nvPr/>
          </p:nvSpPr>
          <p:spPr>
            <a:xfrm>
              <a:off x="9794370" y="3268662"/>
              <a:ext cx="2315046"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Text Analytics</a:t>
              </a:r>
            </a:p>
          </p:txBody>
        </p:sp>
      </p:grpSp>
      <p:sp>
        <p:nvSpPr>
          <p:cNvPr id="132" name="Rectangle 131"/>
          <p:cNvSpPr/>
          <p:nvPr/>
        </p:nvSpPr>
        <p:spPr>
          <a:xfrm>
            <a:off x="7318356" y="4356011"/>
            <a:ext cx="2161228" cy="624525"/>
          </a:xfrm>
          <a:prstGeom prst="rect">
            <a:avLst/>
          </a:prstGeom>
          <a:solidFill>
            <a:schemeClr val="tx1"/>
          </a:solid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  Recommendations</a:t>
            </a:r>
          </a:p>
        </p:txBody>
      </p:sp>
      <p:grpSp>
        <p:nvGrpSpPr>
          <p:cNvPr id="135" name="Group 134"/>
          <p:cNvGrpSpPr/>
          <p:nvPr/>
        </p:nvGrpSpPr>
        <p:grpSpPr>
          <a:xfrm>
            <a:off x="9639428" y="5067698"/>
            <a:ext cx="2167511" cy="627407"/>
            <a:chOff x="9701909" y="5021262"/>
            <a:chExt cx="2459932" cy="533400"/>
          </a:xfrm>
          <a:solidFill>
            <a:schemeClr val="tx1"/>
          </a:solidFill>
        </p:grpSpPr>
        <p:sp>
          <p:nvSpPr>
            <p:cNvPr id="138"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37" name="Rectangle 136"/>
            <p:cNvSpPr/>
            <p:nvPr/>
          </p:nvSpPr>
          <p:spPr>
            <a:xfrm>
              <a:off x="9863993" y="5125889"/>
              <a:ext cx="2149178" cy="324146"/>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Bing </a:t>
              </a:r>
            </a:p>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Autosuggest</a:t>
              </a:r>
            </a:p>
          </p:txBody>
        </p:sp>
      </p:grpSp>
      <p:grpSp>
        <p:nvGrpSpPr>
          <p:cNvPr id="140" name="Group 139"/>
          <p:cNvGrpSpPr/>
          <p:nvPr/>
        </p:nvGrpSpPr>
        <p:grpSpPr>
          <a:xfrm>
            <a:off x="9630142" y="4356011"/>
            <a:ext cx="2170535" cy="627404"/>
            <a:chOff x="9701907" y="3192460"/>
            <a:chExt cx="2459932" cy="533400"/>
          </a:xfrm>
          <a:solidFill>
            <a:schemeClr val="tx1"/>
          </a:solidFill>
        </p:grpSpPr>
        <p:sp>
          <p:nvSpPr>
            <p:cNvPr id="143" name="Flowchart: Process 8"/>
            <p:cNvSpPr/>
            <p:nvPr/>
          </p:nvSpPr>
          <p:spPr bwMode="auto">
            <a:xfrm>
              <a:off x="9701907" y="3192460"/>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42" name="Rectangle 141"/>
            <p:cNvSpPr/>
            <p:nvPr/>
          </p:nvSpPr>
          <p:spPr>
            <a:xfrm>
              <a:off x="9860469" y="3268662"/>
              <a:ext cx="2234825"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Bing </a:t>
              </a:r>
            </a:p>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News Search</a:t>
              </a:r>
            </a:p>
          </p:txBody>
        </p:sp>
      </p:grpSp>
      <p:grpSp>
        <p:nvGrpSpPr>
          <p:cNvPr id="104" name="Group 103"/>
          <p:cNvGrpSpPr/>
          <p:nvPr/>
        </p:nvGrpSpPr>
        <p:grpSpPr>
          <a:xfrm>
            <a:off x="4993839" y="5792118"/>
            <a:ext cx="2185419" cy="617168"/>
            <a:chOff x="9701909" y="5021262"/>
            <a:chExt cx="2459932" cy="533400"/>
          </a:xfrm>
          <a:solidFill>
            <a:schemeClr val="tx1"/>
          </a:solidFill>
        </p:grpSpPr>
        <p:sp>
          <p:nvSpPr>
            <p:cNvPr id="106" name="Flowchart: Process 8"/>
            <p:cNvSpPr/>
            <p:nvPr/>
          </p:nvSpPr>
          <p:spPr bwMode="auto">
            <a:xfrm>
              <a:off x="9701909" y="50212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09" name="Rectangle 108"/>
            <p:cNvSpPr/>
            <p:nvPr/>
          </p:nvSpPr>
          <p:spPr>
            <a:xfrm>
              <a:off x="9797893" y="5125889"/>
              <a:ext cx="2315047" cy="324146"/>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Translator</a:t>
              </a:r>
            </a:p>
          </p:txBody>
        </p:sp>
      </p:grpSp>
      <p:sp>
        <p:nvSpPr>
          <p:cNvPr id="101" name="Freeform 22"/>
          <p:cNvSpPr>
            <a:spLocks noChangeAspect="1"/>
          </p:cNvSpPr>
          <p:nvPr/>
        </p:nvSpPr>
        <p:spPr bwMode="auto">
          <a:xfrm>
            <a:off x="540068" y="1704142"/>
            <a:ext cx="358570" cy="237274"/>
          </a:xfrm>
          <a:custGeom>
            <a:avLst/>
            <a:gdLst>
              <a:gd name="T0" fmla="*/ 4942 w 7181"/>
              <a:gd name="T1" fmla="*/ 414 h 4752"/>
              <a:gd name="T2" fmla="*/ 3024 w 7181"/>
              <a:gd name="T3" fmla="*/ 152 h 4752"/>
              <a:gd name="T4" fmla="*/ 0 w 7181"/>
              <a:gd name="T5" fmla="*/ 2353 h 4752"/>
              <a:gd name="T6" fmla="*/ 2201 w 7181"/>
              <a:gd name="T7" fmla="*/ 4282 h 4752"/>
              <a:gd name="T8" fmla="*/ 4848 w 7181"/>
              <a:gd name="T9" fmla="*/ 4351 h 4752"/>
              <a:gd name="T10" fmla="*/ 7102 w 7181"/>
              <a:gd name="T11" fmla="*/ 2474 h 4752"/>
              <a:gd name="T12" fmla="*/ 7181 w 7181"/>
              <a:gd name="T13" fmla="*/ 2350 h 4752"/>
              <a:gd name="T14" fmla="*/ 4942 w 7181"/>
              <a:gd name="T15" fmla="*/ 414 h 47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81" h="4752">
                <a:moveTo>
                  <a:pt x="4942" y="414"/>
                </a:moveTo>
                <a:cubicBezTo>
                  <a:pt x="4333" y="124"/>
                  <a:pt x="3691" y="0"/>
                  <a:pt x="3024" y="152"/>
                </a:cubicBezTo>
                <a:cubicBezTo>
                  <a:pt x="1710" y="456"/>
                  <a:pt x="812" y="1327"/>
                  <a:pt x="0" y="2353"/>
                </a:cubicBezTo>
                <a:cubicBezTo>
                  <a:pt x="608" y="3169"/>
                  <a:pt x="1306" y="3839"/>
                  <a:pt x="2201" y="4282"/>
                </a:cubicBezTo>
                <a:cubicBezTo>
                  <a:pt x="3069" y="4710"/>
                  <a:pt x="3957" y="4752"/>
                  <a:pt x="4848" y="4351"/>
                </a:cubicBezTo>
                <a:cubicBezTo>
                  <a:pt x="5771" y="3932"/>
                  <a:pt x="6490" y="3269"/>
                  <a:pt x="7102" y="2474"/>
                </a:cubicBezTo>
                <a:cubicBezTo>
                  <a:pt x="7129" y="2436"/>
                  <a:pt x="7154" y="2395"/>
                  <a:pt x="7181" y="2350"/>
                </a:cubicBezTo>
                <a:cubicBezTo>
                  <a:pt x="6570" y="1534"/>
                  <a:pt x="5861" y="853"/>
                  <a:pt x="4942" y="4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111" name="Freeform 18"/>
          <p:cNvSpPr>
            <a:spLocks noChangeAspect="1"/>
          </p:cNvSpPr>
          <p:nvPr/>
        </p:nvSpPr>
        <p:spPr bwMode="auto">
          <a:xfrm>
            <a:off x="2785270" y="1666507"/>
            <a:ext cx="356790" cy="312545"/>
          </a:xfrm>
          <a:custGeom>
            <a:avLst/>
            <a:gdLst>
              <a:gd name="T0" fmla="*/ 115 w 6349"/>
              <a:gd name="T1" fmla="*/ 1548 h 5575"/>
              <a:gd name="T2" fmla="*/ 1324 w 6349"/>
              <a:gd name="T3" fmla="*/ 225 h 5575"/>
              <a:gd name="T4" fmla="*/ 5039 w 6349"/>
              <a:gd name="T5" fmla="*/ 228 h 5575"/>
              <a:gd name="T6" fmla="*/ 6221 w 6349"/>
              <a:gd name="T7" fmla="*/ 1445 h 5575"/>
              <a:gd name="T8" fmla="*/ 6235 w 6349"/>
              <a:gd name="T9" fmla="*/ 3263 h 5575"/>
              <a:gd name="T10" fmla="*/ 4974 w 6349"/>
              <a:gd name="T11" fmla="*/ 4531 h 5575"/>
              <a:gd name="T12" fmla="*/ 3498 w 6349"/>
              <a:gd name="T13" fmla="*/ 4683 h 5575"/>
              <a:gd name="T14" fmla="*/ 3298 w 6349"/>
              <a:gd name="T15" fmla="*/ 4745 h 5575"/>
              <a:gd name="T16" fmla="*/ 2475 w 6349"/>
              <a:gd name="T17" fmla="*/ 5284 h 5575"/>
              <a:gd name="T18" fmla="*/ 1414 w 6349"/>
              <a:gd name="T19" fmla="*/ 5561 h 5575"/>
              <a:gd name="T20" fmla="*/ 1936 w 6349"/>
              <a:gd name="T21" fmla="*/ 4628 h 5575"/>
              <a:gd name="T22" fmla="*/ 1490 w 6349"/>
              <a:gd name="T23" fmla="*/ 4559 h 5575"/>
              <a:gd name="T24" fmla="*/ 118 w 6349"/>
              <a:gd name="T25" fmla="*/ 3270 h 5575"/>
              <a:gd name="T26" fmla="*/ 115 w 6349"/>
              <a:gd name="T27" fmla="*/ 1548 h 5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49" h="5575">
                <a:moveTo>
                  <a:pt x="115" y="1548"/>
                </a:moveTo>
                <a:cubicBezTo>
                  <a:pt x="211" y="957"/>
                  <a:pt x="595" y="353"/>
                  <a:pt x="1324" y="225"/>
                </a:cubicBezTo>
                <a:cubicBezTo>
                  <a:pt x="2565" y="10"/>
                  <a:pt x="3802" y="0"/>
                  <a:pt x="5039" y="228"/>
                </a:cubicBezTo>
                <a:cubicBezTo>
                  <a:pt x="5713" y="353"/>
                  <a:pt x="6086" y="792"/>
                  <a:pt x="6221" y="1445"/>
                </a:cubicBezTo>
                <a:cubicBezTo>
                  <a:pt x="6349" y="2050"/>
                  <a:pt x="6339" y="2658"/>
                  <a:pt x="6235" y="3263"/>
                </a:cubicBezTo>
                <a:cubicBezTo>
                  <a:pt x="6135" y="3847"/>
                  <a:pt x="5724" y="4438"/>
                  <a:pt x="4974" y="4531"/>
                </a:cubicBezTo>
                <a:cubicBezTo>
                  <a:pt x="4483" y="4590"/>
                  <a:pt x="3989" y="4631"/>
                  <a:pt x="3498" y="4683"/>
                </a:cubicBezTo>
                <a:cubicBezTo>
                  <a:pt x="3429" y="4690"/>
                  <a:pt x="3356" y="4707"/>
                  <a:pt x="3298" y="4745"/>
                </a:cubicBezTo>
                <a:cubicBezTo>
                  <a:pt x="3021" y="4921"/>
                  <a:pt x="2869" y="5125"/>
                  <a:pt x="2475" y="5284"/>
                </a:cubicBezTo>
                <a:cubicBezTo>
                  <a:pt x="2154" y="5423"/>
                  <a:pt x="1466" y="5575"/>
                  <a:pt x="1414" y="5561"/>
                </a:cubicBezTo>
                <a:cubicBezTo>
                  <a:pt x="1390" y="5523"/>
                  <a:pt x="1894" y="4963"/>
                  <a:pt x="1936" y="4628"/>
                </a:cubicBezTo>
                <a:cubicBezTo>
                  <a:pt x="1760" y="4600"/>
                  <a:pt x="1625" y="4579"/>
                  <a:pt x="1490" y="4559"/>
                </a:cubicBezTo>
                <a:cubicBezTo>
                  <a:pt x="719" y="4441"/>
                  <a:pt x="277" y="4013"/>
                  <a:pt x="118" y="3270"/>
                </a:cubicBezTo>
                <a:cubicBezTo>
                  <a:pt x="0" y="2665"/>
                  <a:pt x="35" y="2056"/>
                  <a:pt x="115" y="15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114" name="Freeform 9"/>
          <p:cNvSpPr>
            <a:spLocks noChangeAspect="1"/>
          </p:cNvSpPr>
          <p:nvPr/>
        </p:nvSpPr>
        <p:spPr bwMode="auto">
          <a:xfrm>
            <a:off x="5125675" y="1676982"/>
            <a:ext cx="231889" cy="291595"/>
          </a:xfrm>
          <a:custGeom>
            <a:avLst/>
            <a:gdLst>
              <a:gd name="T0" fmla="*/ 5153 w 5153"/>
              <a:gd name="T1" fmla="*/ 2353 h 6483"/>
              <a:gd name="T2" fmla="*/ 2799 w 5153"/>
              <a:gd name="T3" fmla="*/ 0 h 6483"/>
              <a:gd name="T4" fmla="*/ 445 w 5153"/>
              <a:gd name="T5" fmla="*/ 2353 h 6483"/>
              <a:gd name="T6" fmla="*/ 1852 w 5153"/>
              <a:gd name="T7" fmla="*/ 4507 h 6483"/>
              <a:gd name="T8" fmla="*/ 1399 w 5153"/>
              <a:gd name="T9" fmla="*/ 4932 h 6483"/>
              <a:gd name="T10" fmla="*/ 214 w 5153"/>
              <a:gd name="T11" fmla="*/ 5457 h 6483"/>
              <a:gd name="T12" fmla="*/ 41 w 5153"/>
              <a:gd name="T13" fmla="*/ 5578 h 6483"/>
              <a:gd name="T14" fmla="*/ 0 w 5153"/>
              <a:gd name="T15" fmla="*/ 6245 h 6483"/>
              <a:gd name="T16" fmla="*/ 96 w 5153"/>
              <a:gd name="T17" fmla="*/ 6276 h 6483"/>
              <a:gd name="T18" fmla="*/ 3145 w 5153"/>
              <a:gd name="T19" fmla="*/ 5637 h 6483"/>
              <a:gd name="T20" fmla="*/ 5153 w 5153"/>
              <a:gd name="T21" fmla="*/ 2353 h 6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53" h="6483">
                <a:moveTo>
                  <a:pt x="5153" y="2353"/>
                </a:moveTo>
                <a:cubicBezTo>
                  <a:pt x="5153" y="1054"/>
                  <a:pt x="4098" y="0"/>
                  <a:pt x="2799" y="0"/>
                </a:cubicBezTo>
                <a:cubicBezTo>
                  <a:pt x="1500" y="0"/>
                  <a:pt x="445" y="1054"/>
                  <a:pt x="445" y="2353"/>
                </a:cubicBezTo>
                <a:cubicBezTo>
                  <a:pt x="445" y="3314"/>
                  <a:pt x="1023" y="4144"/>
                  <a:pt x="1852" y="4507"/>
                </a:cubicBezTo>
                <a:cubicBezTo>
                  <a:pt x="1776" y="4634"/>
                  <a:pt x="1586" y="4814"/>
                  <a:pt x="1399" y="4932"/>
                </a:cubicBezTo>
                <a:cubicBezTo>
                  <a:pt x="1036" y="5167"/>
                  <a:pt x="611" y="5284"/>
                  <a:pt x="214" y="5457"/>
                </a:cubicBezTo>
                <a:cubicBezTo>
                  <a:pt x="148" y="5485"/>
                  <a:pt x="45" y="5530"/>
                  <a:pt x="41" y="5578"/>
                </a:cubicBezTo>
                <a:cubicBezTo>
                  <a:pt x="13" y="5799"/>
                  <a:pt x="10" y="6027"/>
                  <a:pt x="0" y="6245"/>
                </a:cubicBezTo>
                <a:cubicBezTo>
                  <a:pt x="48" y="6262"/>
                  <a:pt x="72" y="6273"/>
                  <a:pt x="96" y="6276"/>
                </a:cubicBezTo>
                <a:cubicBezTo>
                  <a:pt x="1213" y="6483"/>
                  <a:pt x="2229" y="6221"/>
                  <a:pt x="3145" y="5637"/>
                </a:cubicBezTo>
                <a:cubicBezTo>
                  <a:pt x="4095" y="5032"/>
                  <a:pt x="5153" y="4043"/>
                  <a:pt x="5153" y="23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116" name="Freeform 5"/>
          <p:cNvSpPr>
            <a:spLocks/>
          </p:cNvSpPr>
          <p:nvPr/>
        </p:nvSpPr>
        <p:spPr bwMode="auto">
          <a:xfrm>
            <a:off x="7376912" y="1661030"/>
            <a:ext cx="381223" cy="323499"/>
          </a:xfrm>
          <a:custGeom>
            <a:avLst/>
            <a:gdLst>
              <a:gd name="T0" fmla="*/ 5986 w 5986"/>
              <a:gd name="T1" fmla="*/ 3594 h 5985"/>
              <a:gd name="T2" fmla="*/ 5986 w 5986"/>
              <a:gd name="T3" fmla="*/ 2395 h 5985"/>
              <a:gd name="T4" fmla="*/ 5402 w 5986"/>
              <a:gd name="T5" fmla="*/ 2395 h 5985"/>
              <a:gd name="T6" fmla="*/ 5122 w 5986"/>
              <a:gd name="T7" fmla="*/ 1717 h 5985"/>
              <a:gd name="T8" fmla="*/ 5533 w 5986"/>
              <a:gd name="T9" fmla="*/ 1330 h 5985"/>
              <a:gd name="T10" fmla="*/ 4666 w 5986"/>
              <a:gd name="T11" fmla="*/ 463 h 5985"/>
              <a:gd name="T12" fmla="*/ 4282 w 5986"/>
              <a:gd name="T13" fmla="*/ 870 h 5985"/>
              <a:gd name="T14" fmla="*/ 3591 w 5986"/>
              <a:gd name="T15" fmla="*/ 584 h 5985"/>
              <a:gd name="T16" fmla="*/ 3591 w 5986"/>
              <a:gd name="T17" fmla="*/ 0 h 5985"/>
              <a:gd name="T18" fmla="*/ 2392 w 5986"/>
              <a:gd name="T19" fmla="*/ 0 h 5985"/>
              <a:gd name="T20" fmla="*/ 2392 w 5986"/>
              <a:gd name="T21" fmla="*/ 587 h 5985"/>
              <a:gd name="T22" fmla="*/ 1711 w 5986"/>
              <a:gd name="T23" fmla="*/ 870 h 5985"/>
              <a:gd name="T24" fmla="*/ 1327 w 5986"/>
              <a:gd name="T25" fmla="*/ 456 h 5985"/>
              <a:gd name="T26" fmla="*/ 453 w 5986"/>
              <a:gd name="T27" fmla="*/ 1323 h 5985"/>
              <a:gd name="T28" fmla="*/ 868 w 5986"/>
              <a:gd name="T29" fmla="*/ 1710 h 5985"/>
              <a:gd name="T30" fmla="*/ 584 w 5986"/>
              <a:gd name="T31" fmla="*/ 2395 h 5985"/>
              <a:gd name="T32" fmla="*/ 0 w 5986"/>
              <a:gd name="T33" fmla="*/ 2395 h 5985"/>
              <a:gd name="T34" fmla="*/ 0 w 5986"/>
              <a:gd name="T35" fmla="*/ 3587 h 5985"/>
              <a:gd name="T36" fmla="*/ 584 w 5986"/>
              <a:gd name="T37" fmla="*/ 3587 h 5985"/>
              <a:gd name="T38" fmla="*/ 871 w 5986"/>
              <a:gd name="T39" fmla="*/ 4275 h 5985"/>
              <a:gd name="T40" fmla="*/ 442 w 5986"/>
              <a:gd name="T41" fmla="*/ 4651 h 5985"/>
              <a:gd name="T42" fmla="*/ 1320 w 5986"/>
              <a:gd name="T43" fmla="*/ 5529 h 5985"/>
              <a:gd name="T44" fmla="*/ 1711 w 5986"/>
              <a:gd name="T45" fmla="*/ 5114 h 5985"/>
              <a:gd name="T46" fmla="*/ 2392 w 5986"/>
              <a:gd name="T47" fmla="*/ 5398 h 5985"/>
              <a:gd name="T48" fmla="*/ 2392 w 5986"/>
              <a:gd name="T49" fmla="*/ 5985 h 5985"/>
              <a:gd name="T50" fmla="*/ 3584 w 5986"/>
              <a:gd name="T51" fmla="*/ 5985 h 5985"/>
              <a:gd name="T52" fmla="*/ 3584 w 5986"/>
              <a:gd name="T53" fmla="*/ 5401 h 5985"/>
              <a:gd name="T54" fmla="*/ 4279 w 5986"/>
              <a:gd name="T55" fmla="*/ 5114 h 5985"/>
              <a:gd name="T56" fmla="*/ 4662 w 5986"/>
              <a:gd name="T57" fmla="*/ 5533 h 5985"/>
              <a:gd name="T58" fmla="*/ 5523 w 5986"/>
              <a:gd name="T59" fmla="*/ 4669 h 5985"/>
              <a:gd name="T60" fmla="*/ 5112 w 5986"/>
              <a:gd name="T61" fmla="*/ 4285 h 5985"/>
              <a:gd name="T62" fmla="*/ 5402 w 5986"/>
              <a:gd name="T63" fmla="*/ 3594 h 5985"/>
              <a:gd name="T64" fmla="*/ 5986 w 5986"/>
              <a:gd name="T65" fmla="*/ 3594 h 5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6" h="5985">
                <a:moveTo>
                  <a:pt x="5986" y="3594"/>
                </a:moveTo>
                <a:cubicBezTo>
                  <a:pt x="5986" y="3193"/>
                  <a:pt x="5986" y="2795"/>
                  <a:pt x="5986" y="2395"/>
                </a:cubicBezTo>
                <a:cubicBezTo>
                  <a:pt x="5789" y="2395"/>
                  <a:pt x="5595" y="2395"/>
                  <a:pt x="5402" y="2395"/>
                </a:cubicBezTo>
                <a:cubicBezTo>
                  <a:pt x="5343" y="2153"/>
                  <a:pt x="5246" y="1925"/>
                  <a:pt x="5122" y="1717"/>
                </a:cubicBezTo>
                <a:cubicBezTo>
                  <a:pt x="5257" y="1589"/>
                  <a:pt x="5395" y="1458"/>
                  <a:pt x="5533" y="1330"/>
                </a:cubicBezTo>
                <a:cubicBezTo>
                  <a:pt x="5232" y="1029"/>
                  <a:pt x="4956" y="753"/>
                  <a:pt x="4666" y="463"/>
                </a:cubicBezTo>
                <a:cubicBezTo>
                  <a:pt x="4541" y="597"/>
                  <a:pt x="4410" y="736"/>
                  <a:pt x="4282" y="870"/>
                </a:cubicBezTo>
                <a:cubicBezTo>
                  <a:pt x="4071" y="743"/>
                  <a:pt x="3836" y="642"/>
                  <a:pt x="3591" y="584"/>
                </a:cubicBezTo>
                <a:cubicBezTo>
                  <a:pt x="3591" y="397"/>
                  <a:pt x="3591" y="197"/>
                  <a:pt x="3591" y="0"/>
                </a:cubicBezTo>
                <a:cubicBezTo>
                  <a:pt x="3190" y="0"/>
                  <a:pt x="2793" y="0"/>
                  <a:pt x="2392" y="0"/>
                </a:cubicBezTo>
                <a:cubicBezTo>
                  <a:pt x="2392" y="197"/>
                  <a:pt x="2392" y="390"/>
                  <a:pt x="2392" y="587"/>
                </a:cubicBezTo>
                <a:cubicBezTo>
                  <a:pt x="2150" y="649"/>
                  <a:pt x="1918" y="746"/>
                  <a:pt x="1711" y="870"/>
                </a:cubicBezTo>
                <a:cubicBezTo>
                  <a:pt x="1586" y="736"/>
                  <a:pt x="1452" y="594"/>
                  <a:pt x="1327" y="456"/>
                </a:cubicBezTo>
                <a:cubicBezTo>
                  <a:pt x="1023" y="753"/>
                  <a:pt x="747" y="1029"/>
                  <a:pt x="453" y="1323"/>
                </a:cubicBezTo>
                <a:cubicBezTo>
                  <a:pt x="588" y="1451"/>
                  <a:pt x="729" y="1582"/>
                  <a:pt x="868" y="1710"/>
                </a:cubicBezTo>
                <a:cubicBezTo>
                  <a:pt x="740" y="1921"/>
                  <a:pt x="646" y="2149"/>
                  <a:pt x="584" y="2395"/>
                </a:cubicBezTo>
                <a:cubicBezTo>
                  <a:pt x="398" y="2395"/>
                  <a:pt x="201" y="2395"/>
                  <a:pt x="0" y="2395"/>
                </a:cubicBezTo>
                <a:cubicBezTo>
                  <a:pt x="0" y="2795"/>
                  <a:pt x="0" y="3183"/>
                  <a:pt x="0" y="3587"/>
                </a:cubicBezTo>
                <a:cubicBezTo>
                  <a:pt x="197" y="3587"/>
                  <a:pt x="391" y="3587"/>
                  <a:pt x="584" y="3587"/>
                </a:cubicBezTo>
                <a:cubicBezTo>
                  <a:pt x="646" y="3832"/>
                  <a:pt x="743" y="4064"/>
                  <a:pt x="871" y="4275"/>
                </a:cubicBezTo>
                <a:cubicBezTo>
                  <a:pt x="733" y="4396"/>
                  <a:pt x="584" y="4527"/>
                  <a:pt x="442" y="4651"/>
                </a:cubicBezTo>
                <a:cubicBezTo>
                  <a:pt x="750" y="4959"/>
                  <a:pt x="1027" y="5235"/>
                  <a:pt x="1320" y="5529"/>
                </a:cubicBezTo>
                <a:cubicBezTo>
                  <a:pt x="1448" y="5391"/>
                  <a:pt x="1583" y="5249"/>
                  <a:pt x="1711" y="5114"/>
                </a:cubicBezTo>
                <a:cubicBezTo>
                  <a:pt x="1918" y="5242"/>
                  <a:pt x="2150" y="5336"/>
                  <a:pt x="2392" y="5398"/>
                </a:cubicBezTo>
                <a:cubicBezTo>
                  <a:pt x="2392" y="5584"/>
                  <a:pt x="2392" y="5781"/>
                  <a:pt x="2392" y="5985"/>
                </a:cubicBezTo>
                <a:cubicBezTo>
                  <a:pt x="2793" y="5985"/>
                  <a:pt x="3180" y="5985"/>
                  <a:pt x="3584" y="5985"/>
                </a:cubicBezTo>
                <a:cubicBezTo>
                  <a:pt x="3584" y="5788"/>
                  <a:pt x="3584" y="5591"/>
                  <a:pt x="3584" y="5401"/>
                </a:cubicBezTo>
                <a:cubicBezTo>
                  <a:pt x="3833" y="5343"/>
                  <a:pt x="4064" y="5242"/>
                  <a:pt x="4279" y="5114"/>
                </a:cubicBezTo>
                <a:cubicBezTo>
                  <a:pt x="4403" y="5253"/>
                  <a:pt x="4534" y="5394"/>
                  <a:pt x="4662" y="5533"/>
                </a:cubicBezTo>
                <a:cubicBezTo>
                  <a:pt x="4956" y="5239"/>
                  <a:pt x="5232" y="4959"/>
                  <a:pt x="5523" y="4669"/>
                </a:cubicBezTo>
                <a:cubicBezTo>
                  <a:pt x="5388" y="4541"/>
                  <a:pt x="5246" y="4409"/>
                  <a:pt x="5112" y="4285"/>
                </a:cubicBezTo>
                <a:cubicBezTo>
                  <a:pt x="5239" y="4074"/>
                  <a:pt x="5340" y="3843"/>
                  <a:pt x="5402" y="3594"/>
                </a:cubicBezTo>
                <a:cubicBezTo>
                  <a:pt x="5588" y="3594"/>
                  <a:pt x="5785" y="3594"/>
                  <a:pt x="5986" y="35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nvGrpSpPr>
          <p:cNvPr id="119" name="Group 118"/>
          <p:cNvGrpSpPr/>
          <p:nvPr/>
        </p:nvGrpSpPr>
        <p:grpSpPr>
          <a:xfrm>
            <a:off x="9757507" y="1650995"/>
            <a:ext cx="300826" cy="343570"/>
            <a:chOff x="10832823" y="3353836"/>
            <a:chExt cx="537576" cy="528488"/>
          </a:xfrm>
        </p:grpSpPr>
        <p:sp>
          <p:nvSpPr>
            <p:cNvPr id="121" name="Oval 13"/>
            <p:cNvSpPr>
              <a:spLocks noChangeArrowheads="1"/>
            </p:cNvSpPr>
            <p:nvPr/>
          </p:nvSpPr>
          <p:spPr bwMode="auto">
            <a:xfrm>
              <a:off x="10943701" y="3353836"/>
              <a:ext cx="426698" cy="42669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sp>
          <p:nvSpPr>
            <p:cNvPr id="124" name="Freeform 14"/>
            <p:cNvSpPr>
              <a:spLocks/>
            </p:cNvSpPr>
            <p:nvPr/>
          </p:nvSpPr>
          <p:spPr bwMode="auto">
            <a:xfrm>
              <a:off x="10832823" y="3702829"/>
              <a:ext cx="179495" cy="179495"/>
            </a:xfrm>
            <a:custGeom>
              <a:avLst/>
              <a:gdLst>
                <a:gd name="T0" fmla="*/ 1224 w 1980"/>
                <a:gd name="T1" fmla="*/ 0 h 1977"/>
                <a:gd name="T2" fmla="*/ 218 w 1980"/>
                <a:gd name="T3" fmla="*/ 985 h 1977"/>
                <a:gd name="T4" fmla="*/ 211 w 1980"/>
                <a:gd name="T5" fmla="*/ 1752 h 1977"/>
                <a:gd name="T6" fmla="*/ 218 w 1980"/>
                <a:gd name="T7" fmla="*/ 1759 h 1977"/>
                <a:gd name="T8" fmla="*/ 985 w 1980"/>
                <a:gd name="T9" fmla="*/ 1766 h 1977"/>
                <a:gd name="T10" fmla="*/ 1980 w 1980"/>
                <a:gd name="T11" fmla="*/ 788 h 1977"/>
                <a:gd name="T12" fmla="*/ 1224 w 1980"/>
                <a:gd name="T13" fmla="*/ 0 h 1977"/>
              </a:gdLst>
              <a:ahLst/>
              <a:cxnLst>
                <a:cxn ang="0">
                  <a:pos x="T0" y="T1"/>
                </a:cxn>
                <a:cxn ang="0">
                  <a:pos x="T2" y="T3"/>
                </a:cxn>
                <a:cxn ang="0">
                  <a:pos x="T4" y="T5"/>
                </a:cxn>
                <a:cxn ang="0">
                  <a:pos x="T6" y="T7"/>
                </a:cxn>
                <a:cxn ang="0">
                  <a:pos x="T8" y="T9"/>
                </a:cxn>
                <a:cxn ang="0">
                  <a:pos x="T10" y="T11"/>
                </a:cxn>
                <a:cxn ang="0">
                  <a:pos x="T12" y="T13"/>
                </a:cxn>
              </a:cxnLst>
              <a:rect l="0" t="0" r="r" b="b"/>
              <a:pathLst>
                <a:path w="1980" h="1977">
                  <a:moveTo>
                    <a:pt x="1224" y="0"/>
                  </a:moveTo>
                  <a:cubicBezTo>
                    <a:pt x="218" y="985"/>
                    <a:pt x="218" y="985"/>
                    <a:pt x="218" y="985"/>
                  </a:cubicBezTo>
                  <a:cubicBezTo>
                    <a:pt x="4" y="1196"/>
                    <a:pt x="0" y="1538"/>
                    <a:pt x="211" y="1752"/>
                  </a:cubicBezTo>
                  <a:cubicBezTo>
                    <a:pt x="218" y="1759"/>
                    <a:pt x="218" y="1759"/>
                    <a:pt x="218" y="1759"/>
                  </a:cubicBezTo>
                  <a:cubicBezTo>
                    <a:pt x="429" y="1974"/>
                    <a:pt x="771" y="1977"/>
                    <a:pt x="985" y="1766"/>
                  </a:cubicBezTo>
                  <a:cubicBezTo>
                    <a:pt x="1980" y="788"/>
                    <a:pt x="1980" y="788"/>
                    <a:pt x="1980" y="788"/>
                  </a:cubicBezTo>
                  <a:cubicBezTo>
                    <a:pt x="1683" y="581"/>
                    <a:pt x="1424" y="315"/>
                    <a:pt x="12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ndParaRPr>
            </a:p>
          </p:txBody>
        </p:sp>
      </p:grpSp>
      <p:grpSp>
        <p:nvGrpSpPr>
          <p:cNvPr id="96" name="Group 95"/>
          <p:cNvGrpSpPr/>
          <p:nvPr/>
        </p:nvGrpSpPr>
        <p:grpSpPr>
          <a:xfrm>
            <a:off x="462214" y="5090277"/>
            <a:ext cx="2098975" cy="627407"/>
            <a:chOff x="6827777" y="3802062"/>
            <a:chExt cx="2459932" cy="533400"/>
          </a:xfrm>
          <a:solidFill>
            <a:schemeClr val="tx1"/>
          </a:solidFill>
        </p:grpSpPr>
        <p:sp>
          <p:nvSpPr>
            <p:cNvPr id="99" name="Flowchart: Process 8"/>
            <p:cNvSpPr/>
            <p:nvPr/>
          </p:nvSpPr>
          <p:spPr bwMode="auto">
            <a:xfrm>
              <a:off x="6827777" y="3802062"/>
              <a:ext cx="2459932" cy="5334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54" tIns="87854" rIns="32949" bIns="32949" rtlCol="0" anchor="b" anchorCtr="0"/>
            <a:lstStyle/>
            <a:p>
              <a:pPr marL="0" marR="0" lvl="0" indent="0" algn="ctr" defTabSz="89568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126" name="Rectangle 125"/>
            <p:cNvSpPr/>
            <p:nvPr/>
          </p:nvSpPr>
          <p:spPr>
            <a:xfrm>
              <a:off x="6977187" y="3866895"/>
              <a:ext cx="2122880" cy="388654"/>
            </a:xfrm>
            <a:prstGeom prst="rect">
              <a:avLst/>
            </a:prstGeom>
            <a:grp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Content Moderator</a:t>
              </a:r>
            </a:p>
          </p:txBody>
        </p:sp>
      </p:grpSp>
      <p:sp>
        <p:nvSpPr>
          <p:cNvPr id="129" name="Rectangle 128"/>
          <p:cNvSpPr/>
          <p:nvPr/>
        </p:nvSpPr>
        <p:spPr>
          <a:xfrm>
            <a:off x="7326525" y="5063739"/>
            <a:ext cx="2161228" cy="624525"/>
          </a:xfrm>
          <a:prstGeom prst="rect">
            <a:avLst/>
          </a:prstGeom>
          <a:solidFill>
            <a:schemeClr val="tx1"/>
          </a:solidFill>
          <a:ln w="9525" cap="flat" cmpd="sng" algn="ctr">
            <a:noFill/>
            <a:prstDash val="solid"/>
          </a:ln>
          <a:effectLst/>
        </p:spPr>
        <p:txBody>
          <a:bodyPr lIns="116954" tIns="58475" rIns="116954" bIns="58475" rtlCol="0" anchor="ctr"/>
          <a:lstStyle/>
          <a:p>
            <a:pPr marL="0" marR="0" lvl="0" indent="0" defTabSz="878390"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chemeClr val="bg1"/>
                </a:solidFill>
                <a:effectLst/>
                <a:uLnTx/>
                <a:uFillTx/>
                <a:latin typeface="Segoe UI Light"/>
              </a:rPr>
              <a:t>  </a:t>
            </a:r>
            <a:r>
              <a:rPr kumimoji="0" lang="en-US" sz="1765" b="0" i="0" u="none" strike="noStrike" kern="0" cap="none" spc="0" normalizeH="0" baseline="0" noProof="0" dirty="0" err="1">
                <a:ln>
                  <a:noFill/>
                </a:ln>
                <a:solidFill>
                  <a:schemeClr val="bg1"/>
                </a:solidFill>
                <a:effectLst/>
                <a:uLnTx/>
                <a:uFillTx/>
                <a:latin typeface="Segoe UI Light"/>
              </a:rPr>
              <a:t>QnA</a:t>
            </a:r>
            <a:r>
              <a:rPr kumimoji="0" lang="en-US" sz="1765" b="0" i="0" u="none" strike="noStrike" kern="0" cap="none" spc="0" normalizeH="0" baseline="0" noProof="0" dirty="0">
                <a:ln>
                  <a:noFill/>
                </a:ln>
                <a:solidFill>
                  <a:schemeClr val="bg1"/>
                </a:solidFill>
                <a:effectLst/>
                <a:uLnTx/>
                <a:uFillTx/>
                <a:latin typeface="Segoe UI Light"/>
              </a:rPr>
              <a:t> Maker</a:t>
            </a:r>
          </a:p>
        </p:txBody>
      </p:sp>
    </p:spTree>
    <p:extLst>
      <p:ext uri="{BB962C8B-B14F-4D97-AF65-F5344CB8AC3E}">
        <p14:creationId xmlns:p14="http://schemas.microsoft.com/office/powerpoint/2010/main" val="1708532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a:srcRect t="32394" b="25873"/>
          <a:stretch/>
        </p:blipFill>
        <p:spPr>
          <a:xfrm>
            <a:off x="-12924" y="487"/>
            <a:ext cx="12204175" cy="3420936"/>
          </a:xfrm>
          <a:prstGeom prst="rect">
            <a:avLst/>
          </a:prstGeom>
        </p:spPr>
      </p:pic>
      <p:sp>
        <p:nvSpPr>
          <p:cNvPr id="39" name="Rectangle 38"/>
          <p:cNvSpPr/>
          <p:nvPr/>
        </p:nvSpPr>
        <p:spPr bwMode="auto">
          <a:xfrm>
            <a:off x="-18975" y="-8557"/>
            <a:ext cx="8356037" cy="3432076"/>
          </a:xfrm>
          <a:prstGeom prst="rect">
            <a:avLst/>
          </a:prstGeom>
          <a:gradFill>
            <a:gsLst>
              <a:gs pos="0">
                <a:schemeClr val="tx2">
                  <a:alpha val="0"/>
                </a:schemeClr>
              </a:gs>
              <a:gs pos="100000">
                <a:schemeClr val="tx2"/>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1" name="Text Placeholder 14"/>
          <p:cNvSpPr txBox="1">
            <a:spLocks/>
          </p:cNvSpPr>
          <p:nvPr/>
        </p:nvSpPr>
        <p:spPr>
          <a:xfrm>
            <a:off x="288111" y="3750756"/>
            <a:ext cx="3671886" cy="1024335"/>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588"/>
              </a:spcBef>
              <a:spcAft>
                <a:spcPts val="588"/>
              </a:spcAft>
              <a:buClrTx/>
              <a:buSzPct val="90000"/>
              <a:buFont typeface="Arial" pitchFamily="34" charset="0"/>
              <a:buNone/>
              <a:tabLst/>
              <a:defRPr/>
            </a:pPr>
            <a:r>
              <a:rPr kumimoji="0" lang="en-US" sz="1667" b="0" i="0" u="none" strike="noStrike" kern="1200" cap="none" spc="0" normalizeH="0" baseline="0" noProof="0" dirty="0">
                <a:ln>
                  <a:noFill/>
                </a:ln>
                <a:solidFill>
                  <a:schemeClr val="tx1">
                    <a:lumMod val="75000"/>
                    <a:lumOff val="25000"/>
                  </a:schemeClr>
                </a:solidFill>
                <a:effectLst/>
                <a:uLnTx/>
                <a:uFillTx/>
                <a:latin typeface="+mn-lt"/>
                <a:ea typeface="+mn-ea"/>
                <a:cs typeface="Segoe UI Semilight" panose="020B0402040204020203" pitchFamily="34" charset="0"/>
              </a:rPr>
              <a:t>Roll your own with REST APIs</a:t>
            </a:r>
          </a:p>
          <a:p>
            <a:pPr marL="0" marR="0" lvl="0" indent="0" algn="l" defTabSz="914367" rtl="0" eaLnBrk="1" fontAlgn="auto" latinLnBrk="0" hangingPunct="1">
              <a:lnSpc>
                <a:spcPct val="90000"/>
              </a:lnSpc>
              <a:spcBef>
                <a:spcPts val="588"/>
              </a:spcBef>
              <a:spcAft>
                <a:spcPts val="588"/>
              </a:spcAft>
              <a:buClrTx/>
              <a:buSzPct val="90000"/>
              <a:buFont typeface="Arial" pitchFamily="34" charset="0"/>
              <a:buNone/>
              <a:tabLst/>
              <a:defRPr/>
            </a:pPr>
            <a:r>
              <a:rPr kumimoji="0" lang="en-US" sz="1667" b="0" i="0" u="none" strike="noStrike" kern="1200" cap="none" spc="0" normalizeH="0" baseline="0" noProof="0" dirty="0">
                <a:ln>
                  <a:noFill/>
                </a:ln>
                <a:solidFill>
                  <a:schemeClr val="tx1">
                    <a:lumMod val="75000"/>
                    <a:lumOff val="25000"/>
                  </a:schemeClr>
                </a:solidFill>
                <a:effectLst/>
                <a:uLnTx/>
                <a:uFillTx/>
                <a:latin typeface="+mn-lt"/>
                <a:ea typeface="+mn-ea"/>
                <a:cs typeface="Segoe UI Semilight" panose="020B0402040204020203" pitchFamily="34" charset="0"/>
              </a:rPr>
              <a:t>Simple to add: just a few lines of code required</a:t>
            </a:r>
          </a:p>
        </p:txBody>
      </p:sp>
      <p:sp>
        <p:nvSpPr>
          <p:cNvPr id="32" name="Text Placeholder 14"/>
          <p:cNvSpPr txBox="1">
            <a:spLocks/>
          </p:cNvSpPr>
          <p:nvPr/>
        </p:nvSpPr>
        <p:spPr>
          <a:xfrm>
            <a:off x="4104837" y="3750755"/>
            <a:ext cx="3971162" cy="1255156"/>
          </a:xfrm>
          <a:prstGeom prst="rect">
            <a:avLst/>
          </a:prstGeom>
        </p:spPr>
        <p:txBody>
          <a:bodyPr vert="horz" wrap="square" lIns="143407" tIns="89630" rIns="143407" bIns="8963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588"/>
              </a:spcBef>
              <a:spcAft>
                <a:spcPts val="588"/>
              </a:spcAft>
              <a:buClrTx/>
              <a:buSzPct val="90000"/>
              <a:buFont typeface="Arial" pitchFamily="34" charset="0"/>
              <a:buNone/>
              <a:tabLst/>
              <a:defRPr/>
            </a:pPr>
            <a:r>
              <a:rPr kumimoji="0" lang="en-US" sz="1667" b="0" i="0" u="none" strike="noStrike" kern="1200" cap="none" spc="0" normalizeH="0" baseline="0" noProof="0" dirty="0">
                <a:ln>
                  <a:noFill/>
                </a:ln>
                <a:solidFill>
                  <a:schemeClr val="tx1">
                    <a:lumMod val="75000"/>
                    <a:lumOff val="25000"/>
                  </a:schemeClr>
                </a:solidFill>
                <a:effectLst/>
                <a:uLnTx/>
                <a:uFillTx/>
                <a:latin typeface="+mn-lt"/>
                <a:ea typeface="+mn-ea"/>
                <a:cs typeface="Segoe UI Semilight" panose="020B0402040204020203" pitchFamily="34" charset="0"/>
              </a:rPr>
              <a:t>Integrate into the language and platform of your choice</a:t>
            </a:r>
          </a:p>
          <a:p>
            <a:pPr marL="0" marR="0" lvl="0" indent="0" algn="l" defTabSz="914367" rtl="0" eaLnBrk="1" fontAlgn="auto" latinLnBrk="0" hangingPunct="1">
              <a:lnSpc>
                <a:spcPct val="90000"/>
              </a:lnSpc>
              <a:spcBef>
                <a:spcPts val="588"/>
              </a:spcBef>
              <a:spcAft>
                <a:spcPts val="588"/>
              </a:spcAft>
              <a:buClrTx/>
              <a:buSzPct val="90000"/>
              <a:buFont typeface="Arial" pitchFamily="34" charset="0"/>
              <a:buNone/>
              <a:tabLst/>
              <a:defRPr/>
            </a:pPr>
            <a:r>
              <a:rPr kumimoji="0" lang="en-US" sz="1667" b="0" i="0" u="none" strike="noStrike" kern="1200" cap="none" spc="0" normalizeH="0" baseline="0" noProof="0" dirty="0">
                <a:ln>
                  <a:noFill/>
                </a:ln>
                <a:solidFill>
                  <a:schemeClr val="tx1">
                    <a:lumMod val="75000"/>
                    <a:lumOff val="25000"/>
                  </a:schemeClr>
                </a:solidFill>
                <a:effectLst/>
                <a:uLnTx/>
                <a:uFillTx/>
                <a:latin typeface="+mn-lt"/>
                <a:ea typeface="+mn-ea"/>
                <a:cs typeface="Segoe UI Semilight" panose="020B0402040204020203" pitchFamily="34" charset="0"/>
              </a:rPr>
              <a:t>Breadth of offerings helps you find the right API for your app</a:t>
            </a:r>
          </a:p>
        </p:txBody>
      </p:sp>
      <p:sp>
        <p:nvSpPr>
          <p:cNvPr id="33" name="Text Placeholder 14"/>
          <p:cNvSpPr txBox="1">
            <a:spLocks/>
          </p:cNvSpPr>
          <p:nvPr/>
        </p:nvSpPr>
        <p:spPr>
          <a:xfrm>
            <a:off x="8588701" y="3750756"/>
            <a:ext cx="3711360" cy="1485976"/>
          </a:xfrm>
          <a:prstGeom prst="rect">
            <a:avLst/>
          </a:prstGeom>
        </p:spPr>
        <p:txBody>
          <a:bodyPr vert="horz" wrap="square" lIns="143407" tIns="89630" rIns="143407" bIns="89630" rtlCol="0" anchor="t">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ts val="588"/>
              </a:spcBef>
              <a:spcAft>
                <a:spcPts val="588"/>
              </a:spcAft>
              <a:buClrTx/>
              <a:buSzPct val="90000"/>
              <a:buFont typeface="Arial" pitchFamily="34" charset="0"/>
              <a:buNone/>
              <a:tabLst/>
              <a:defRPr/>
            </a:pPr>
            <a:r>
              <a:rPr kumimoji="0" lang="en-US" sz="1667" b="0" i="0" u="none" strike="noStrike" kern="1200" cap="none" spc="0" normalizeH="0" baseline="0" noProof="0" dirty="0">
                <a:ln>
                  <a:noFill/>
                </a:ln>
                <a:solidFill>
                  <a:schemeClr val="tx1">
                    <a:lumMod val="75000"/>
                    <a:lumOff val="25000"/>
                  </a:schemeClr>
                </a:solidFill>
                <a:effectLst/>
                <a:uLnTx/>
                <a:uFillTx/>
                <a:latin typeface="+mn-lt"/>
                <a:ea typeface="+mn-ea"/>
                <a:cs typeface="Segoe UI Semilight" panose="020B0402040204020203" pitchFamily="34" charset="0"/>
              </a:rPr>
              <a:t>Built by experts in their field from Microsoft Research, Bing, and Azure Machine Learning</a:t>
            </a:r>
          </a:p>
          <a:p>
            <a:pPr marL="0" marR="0" lvl="0" indent="0" algn="l" defTabSz="914367" rtl="0" eaLnBrk="1" fontAlgn="auto" latinLnBrk="0" hangingPunct="1">
              <a:lnSpc>
                <a:spcPct val="90000"/>
              </a:lnSpc>
              <a:spcBef>
                <a:spcPts val="588"/>
              </a:spcBef>
              <a:spcAft>
                <a:spcPts val="588"/>
              </a:spcAft>
              <a:buClrTx/>
              <a:buSzPct val="90000"/>
              <a:buFont typeface="Arial" pitchFamily="34" charset="0"/>
              <a:buNone/>
              <a:tabLst/>
              <a:defRPr/>
            </a:pPr>
            <a:r>
              <a:rPr kumimoji="0" lang="en-US" sz="1667" b="0" i="0" u="none" strike="noStrike" kern="1200" cap="none" spc="0" normalizeH="0" baseline="0" noProof="0" dirty="0">
                <a:ln>
                  <a:noFill/>
                </a:ln>
                <a:solidFill>
                  <a:schemeClr val="tx1">
                    <a:lumMod val="75000"/>
                    <a:lumOff val="25000"/>
                  </a:schemeClr>
                </a:solidFill>
                <a:effectLst/>
                <a:uLnTx/>
                <a:uFillTx/>
                <a:latin typeface="+mn-lt"/>
                <a:ea typeface="+mn-ea"/>
                <a:cs typeface="Segoe UI Semilight" panose="020B0402040204020203" pitchFamily="34" charset="0"/>
              </a:rPr>
              <a:t>Quality documentation, sample code, and community support</a:t>
            </a:r>
          </a:p>
        </p:txBody>
      </p:sp>
      <p:sp>
        <p:nvSpPr>
          <p:cNvPr id="8" name="TextBox 7"/>
          <p:cNvSpPr txBox="1"/>
          <p:nvPr/>
        </p:nvSpPr>
        <p:spPr>
          <a:xfrm>
            <a:off x="1614662" y="3176679"/>
            <a:ext cx="737702" cy="454420"/>
          </a:xfrm>
          <a:prstGeom prst="rect">
            <a:avLst/>
          </a:prstGeom>
          <a:solidFill>
            <a:schemeClr val="accent3"/>
          </a:solidFill>
        </p:spPr>
        <p:txBody>
          <a:bodyPr wrap="none"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bg2"/>
                </a:solidFill>
                <a:effectLst/>
                <a:uLnTx/>
                <a:uFillTx/>
                <a:latin typeface="Segoe UI Light"/>
                <a:cs typeface="Segoe UI Semilight" panose="020B0402040204020203" pitchFamily="34" charset="0"/>
              </a:rPr>
              <a:t>Easy</a:t>
            </a:r>
          </a:p>
        </p:txBody>
      </p:sp>
      <p:sp>
        <p:nvSpPr>
          <p:cNvPr id="26" name="TextBox 25"/>
          <p:cNvSpPr txBox="1"/>
          <p:nvPr/>
        </p:nvSpPr>
        <p:spPr>
          <a:xfrm>
            <a:off x="5538565" y="3176679"/>
            <a:ext cx="1112805" cy="454420"/>
          </a:xfrm>
          <a:prstGeom prst="rect">
            <a:avLst/>
          </a:prstGeom>
          <a:solidFill>
            <a:schemeClr val="accent1"/>
          </a:solidFill>
        </p:spPr>
        <p:txBody>
          <a:bodyPr wrap="none"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bg2"/>
                </a:solidFill>
                <a:effectLst/>
                <a:uLnTx/>
                <a:uFillTx/>
                <a:latin typeface="Segoe UI Light"/>
                <a:cs typeface="Segoe UI Semilight" panose="020B0402040204020203" pitchFamily="34" charset="0"/>
              </a:rPr>
              <a:t>Flexible</a:t>
            </a:r>
          </a:p>
        </p:txBody>
      </p:sp>
      <p:sp>
        <p:nvSpPr>
          <p:cNvPr id="27" name="TextBox 26"/>
          <p:cNvSpPr txBox="1"/>
          <p:nvPr/>
        </p:nvSpPr>
        <p:spPr>
          <a:xfrm>
            <a:off x="9697307" y="3176679"/>
            <a:ext cx="1018228" cy="454420"/>
          </a:xfrm>
          <a:prstGeom prst="rect">
            <a:avLst/>
          </a:prstGeom>
          <a:solidFill>
            <a:schemeClr val="accent5"/>
          </a:solidFill>
        </p:spPr>
        <p:txBody>
          <a:bodyPr wrap="none" rtlCol="0" anchor="ctr">
            <a:spAutoFit/>
          </a:bodyPr>
          <a:lstStyle/>
          <a:p>
            <a:pPr marL="0" marR="0" lvl="0" indent="0" algn="ctr" defTabSz="914225"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solidFill>
                  <a:schemeClr val="bg2"/>
                </a:solidFill>
                <a:effectLst/>
                <a:uLnTx/>
                <a:uFillTx/>
                <a:latin typeface="Segoe UI Light"/>
                <a:cs typeface="Segoe UI Semilight" panose="020B0402040204020203" pitchFamily="34" charset="0"/>
              </a:rPr>
              <a:t>Tested</a:t>
            </a:r>
          </a:p>
        </p:txBody>
      </p:sp>
      <p:sp>
        <p:nvSpPr>
          <p:cNvPr id="2" name="Title 1"/>
          <p:cNvSpPr>
            <a:spLocks noGrp="1"/>
          </p:cNvSpPr>
          <p:nvPr>
            <p:ph type="title" idx="4294967295"/>
          </p:nvPr>
        </p:nvSpPr>
        <p:spPr>
          <a:xfrm>
            <a:off x="288111" y="1388359"/>
            <a:ext cx="11634652" cy="899537"/>
          </a:xfrm>
        </p:spPr>
        <p:txBody>
          <a:bodyPr>
            <a:noAutofit/>
          </a:bodyPr>
          <a:lstStyle/>
          <a:p>
            <a:r>
              <a:rPr lang="en-US" sz="5294" dirty="0">
                <a:gradFill>
                  <a:gsLst>
                    <a:gs pos="1250">
                      <a:schemeClr val="bg1"/>
                    </a:gs>
                    <a:gs pos="100000">
                      <a:schemeClr val="bg1"/>
                    </a:gs>
                  </a:gsLst>
                  <a:lin ang="5400000" scaled="0"/>
                </a:gradFill>
              </a:rPr>
              <a:t>Why Microsoft </a:t>
            </a:r>
            <a:br>
              <a:rPr lang="en-US" sz="5294" dirty="0">
                <a:gradFill>
                  <a:gsLst>
                    <a:gs pos="1250">
                      <a:schemeClr val="bg1"/>
                    </a:gs>
                    <a:gs pos="100000">
                      <a:schemeClr val="bg1"/>
                    </a:gs>
                  </a:gsLst>
                  <a:lin ang="5400000" scaled="0"/>
                </a:gradFill>
              </a:rPr>
            </a:br>
            <a:r>
              <a:rPr lang="en-US" sz="5294" dirty="0">
                <a:gradFill>
                  <a:gsLst>
                    <a:gs pos="1250">
                      <a:schemeClr val="bg1"/>
                    </a:gs>
                    <a:gs pos="100000">
                      <a:schemeClr val="bg1"/>
                    </a:gs>
                  </a:gsLst>
                  <a:lin ang="5400000" scaled="0"/>
                </a:gradFill>
              </a:rPr>
              <a:t>Cognitive Services?</a:t>
            </a:r>
          </a:p>
        </p:txBody>
      </p:sp>
      <p:grpSp>
        <p:nvGrpSpPr>
          <p:cNvPr id="9" name="Group 8"/>
          <p:cNvGrpSpPr/>
          <p:nvPr/>
        </p:nvGrpSpPr>
        <p:grpSpPr>
          <a:xfrm>
            <a:off x="934114" y="5212397"/>
            <a:ext cx="1962417" cy="1323803"/>
            <a:chOff x="952844" y="5316420"/>
            <a:chExt cx="2001768" cy="1350348"/>
          </a:xfrm>
        </p:grpSpPr>
        <p:grpSp>
          <p:nvGrpSpPr>
            <p:cNvPr id="7" name="Group 6"/>
            <p:cNvGrpSpPr/>
            <p:nvPr/>
          </p:nvGrpSpPr>
          <p:grpSpPr>
            <a:xfrm>
              <a:off x="952844" y="5316420"/>
              <a:ext cx="1091279" cy="1091279"/>
              <a:chOff x="952844" y="5316420"/>
              <a:chExt cx="1091279" cy="1091279"/>
            </a:xfrm>
          </p:grpSpPr>
          <p:pic>
            <p:nvPicPr>
              <p:cNvPr id="3" name="Picture 2"/>
              <p:cNvPicPr>
                <a:picLocks noChangeAspect="1"/>
              </p:cNvPicPr>
              <p:nvPr/>
            </p:nvPicPr>
            <p:blipFill>
              <a:blip r:embed="rId4"/>
              <a:stretch>
                <a:fillRect/>
              </a:stretch>
            </p:blipFill>
            <p:spPr>
              <a:xfrm>
                <a:off x="952844" y="5316420"/>
                <a:ext cx="1091279" cy="1091279"/>
              </a:xfrm>
              <a:prstGeom prst="rect">
                <a:avLst/>
              </a:prstGeom>
            </p:spPr>
          </p:pic>
          <p:sp>
            <p:nvSpPr>
              <p:cNvPr id="23" name="TextBox 22"/>
              <p:cNvSpPr txBox="1"/>
              <p:nvPr/>
            </p:nvSpPr>
            <p:spPr>
              <a:xfrm>
                <a:off x="985751" y="5492045"/>
                <a:ext cx="999265" cy="744408"/>
              </a:xfrm>
              <a:prstGeom prst="rect">
                <a:avLst/>
              </a:prstGeom>
              <a:noFill/>
            </p:spPr>
            <p:txBody>
              <a:bodyPr wrap="square" lIns="182854" tIns="146284" rIns="182854" bIns="146284" rtlCol="0" anchor="ctr">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1568"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GET A</a:t>
                </a:r>
                <a:br>
                  <a:rPr kumimoji="0" lang="en-US" sz="1568"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br>
                <a:r>
                  <a:rPr kumimoji="0" lang="en-US" sz="1568" b="1" i="0" u="none" strike="noStrike" kern="0" cap="none" spc="0" normalizeH="0" baseline="0" noProof="0" dirty="0">
                    <a:ln>
                      <a:noFill/>
                    </a:ln>
                    <a:solidFill>
                      <a:schemeClr val="bg1"/>
                    </a:solidFill>
                    <a:effectLst/>
                    <a:uLnTx/>
                    <a:uFillTx/>
                    <a:latin typeface="Segoe UI Semibold" panose="020B0702040204020203" pitchFamily="34" charset="0"/>
                    <a:cs typeface="Segoe UI Semibold" panose="020B0702040204020203" pitchFamily="34" charset="0"/>
                  </a:rPr>
                  <a:t> KEY</a:t>
                </a:r>
              </a:p>
            </p:txBody>
          </p:sp>
        </p:grpSp>
        <p:grpSp>
          <p:nvGrpSpPr>
            <p:cNvPr id="6" name="Group 5"/>
            <p:cNvGrpSpPr/>
            <p:nvPr/>
          </p:nvGrpSpPr>
          <p:grpSpPr>
            <a:xfrm>
              <a:off x="1954781" y="5666937"/>
              <a:ext cx="999831" cy="999831"/>
              <a:chOff x="1954781" y="5666937"/>
              <a:chExt cx="999831" cy="999831"/>
            </a:xfrm>
          </p:grpSpPr>
          <p:pic>
            <p:nvPicPr>
              <p:cNvPr id="5" name="Picture 4"/>
              <p:cNvPicPr>
                <a:picLocks noChangeAspect="1"/>
              </p:cNvPicPr>
              <p:nvPr/>
            </p:nvPicPr>
            <p:blipFill>
              <a:blip r:embed="rId5"/>
              <a:stretch>
                <a:fillRect/>
              </a:stretch>
            </p:blipFill>
            <p:spPr>
              <a:xfrm>
                <a:off x="1954781" y="5666937"/>
                <a:ext cx="999831" cy="999831"/>
              </a:xfrm>
              <a:prstGeom prst="rect">
                <a:avLst/>
              </a:prstGeom>
            </p:spPr>
          </p:pic>
          <p:sp>
            <p:nvSpPr>
              <p:cNvPr id="53" name="TextBox 52"/>
              <p:cNvSpPr txBox="1"/>
              <p:nvPr/>
            </p:nvSpPr>
            <p:spPr>
              <a:xfrm>
                <a:off x="1965665" y="5909216"/>
                <a:ext cx="961798" cy="518524"/>
              </a:xfrm>
              <a:prstGeom prst="rect">
                <a:avLst/>
              </a:prstGeom>
              <a:noFill/>
            </p:spPr>
            <p:txBody>
              <a:bodyPr wrap="square" lIns="182854" tIns="146284" rIns="182854" bIns="146284" rtlCol="0" anchor="ctr">
                <a:spAutoFit/>
              </a:bodyPr>
              <a:lstStyle/>
              <a:p>
                <a:pPr marL="0" marR="0" lvl="0" indent="0" algn="ctr" defTabSz="914225" eaLnBrk="1" fontAlgn="auto" latinLnBrk="0" hangingPunct="1">
                  <a:lnSpc>
                    <a:spcPct val="90000"/>
                  </a:lnSpc>
                  <a:spcBef>
                    <a:spcPts val="0"/>
                  </a:spcBef>
                  <a:spcAft>
                    <a:spcPts val="600"/>
                  </a:spcAft>
                  <a:buClrTx/>
                  <a:buSzTx/>
                  <a:buFontTx/>
                  <a:buNone/>
                  <a:tabLst/>
                  <a:defRPr/>
                </a:pPr>
                <a:r>
                  <a:rPr kumimoji="0" lang="en-US" sz="1568"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Semibold" panose="020B0702040204020203" pitchFamily="34" charset="0"/>
                    <a:cs typeface="Segoe UI Semibold" panose="020B0702040204020203" pitchFamily="34" charset="0"/>
                  </a:rPr>
                  <a:t>BUILD</a:t>
                </a:r>
              </a:p>
            </p:txBody>
          </p:sp>
        </p:grpSp>
      </p:grpSp>
      <p:grpSp>
        <p:nvGrpSpPr>
          <p:cNvPr id="34" name="Group 33"/>
          <p:cNvGrpSpPr/>
          <p:nvPr/>
        </p:nvGrpSpPr>
        <p:grpSpPr>
          <a:xfrm>
            <a:off x="4614706" y="5511571"/>
            <a:ext cx="2962588" cy="1107242"/>
            <a:chOff x="4707240" y="5484107"/>
            <a:chExt cx="3021994" cy="1129445"/>
          </a:xfrm>
        </p:grpSpPr>
        <p:sp>
          <p:nvSpPr>
            <p:cNvPr id="44" name="Freeform 11"/>
            <p:cNvSpPr>
              <a:spLocks noEditPoints="1"/>
            </p:cNvSpPr>
            <p:nvPr/>
          </p:nvSpPr>
          <p:spPr bwMode="black">
            <a:xfrm>
              <a:off x="5992058" y="5484107"/>
              <a:ext cx="409932" cy="504698"/>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8" name="Freeform 47"/>
            <p:cNvSpPr>
              <a:spLocks noChangeAspect="1" noEditPoints="1"/>
            </p:cNvSpPr>
            <p:nvPr/>
          </p:nvSpPr>
          <p:spPr bwMode="black">
            <a:xfrm>
              <a:off x="4933693" y="5545084"/>
              <a:ext cx="384308" cy="3827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grpSp>
          <p:nvGrpSpPr>
            <p:cNvPr id="49" name="Group 48"/>
            <p:cNvGrpSpPr>
              <a:grpSpLocks noChangeAspect="1"/>
            </p:cNvGrpSpPr>
            <p:nvPr/>
          </p:nvGrpSpPr>
          <p:grpSpPr bwMode="black">
            <a:xfrm>
              <a:off x="7076047" y="5487529"/>
              <a:ext cx="426734" cy="497854"/>
              <a:chOff x="396875" y="1300163"/>
              <a:chExt cx="1162051" cy="1355725"/>
            </a:xfrm>
          </p:grpSpPr>
          <p:sp>
            <p:nvSpPr>
              <p:cNvPr id="50" name="Freeform 49"/>
              <p:cNvSpPr>
                <a:spLocks/>
              </p:cNvSpPr>
              <p:nvPr/>
            </p:nvSpPr>
            <p:spPr bwMode="black">
              <a:xfrm>
                <a:off x="396875" y="1616075"/>
                <a:ext cx="1162051" cy="1039813"/>
              </a:xfrm>
              <a:custGeom>
                <a:avLst/>
                <a:gdLst>
                  <a:gd name="T0" fmla="*/ 455 w 539"/>
                  <a:gd name="T1" fmla="*/ 186 h 482"/>
                  <a:gd name="T2" fmla="*/ 522 w 539"/>
                  <a:gd name="T3" fmla="*/ 67 h 482"/>
                  <a:gd name="T4" fmla="*/ 408 w 539"/>
                  <a:gd name="T5" fmla="*/ 5 h 482"/>
                  <a:gd name="T6" fmla="*/ 288 w 539"/>
                  <a:gd name="T7" fmla="*/ 34 h 482"/>
                  <a:gd name="T8" fmla="*/ 184 w 539"/>
                  <a:gd name="T9" fmla="*/ 7 h 482"/>
                  <a:gd name="T10" fmla="*/ 55 w 539"/>
                  <a:gd name="T11" fmla="*/ 86 h 482"/>
                  <a:gd name="T12" fmla="*/ 95 w 539"/>
                  <a:gd name="T13" fmla="*/ 401 h 482"/>
                  <a:gd name="T14" fmla="*/ 194 w 539"/>
                  <a:gd name="T15" fmla="*/ 480 h 482"/>
                  <a:gd name="T16" fmla="*/ 296 w 539"/>
                  <a:gd name="T17" fmla="*/ 455 h 482"/>
                  <a:gd name="T18" fmla="*/ 400 w 539"/>
                  <a:gd name="T19" fmla="*/ 479 h 482"/>
                  <a:gd name="T20" fmla="*/ 496 w 539"/>
                  <a:gd name="T21" fmla="*/ 402 h 482"/>
                  <a:gd name="T22" fmla="*/ 539 w 539"/>
                  <a:gd name="T23" fmla="*/ 313 h 482"/>
                  <a:gd name="T24" fmla="*/ 455 w 539"/>
                  <a:gd name="T25" fmla="*/ 186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9" h="482">
                    <a:moveTo>
                      <a:pt x="455" y="186"/>
                    </a:moveTo>
                    <a:cubicBezTo>
                      <a:pt x="454" y="107"/>
                      <a:pt x="519" y="69"/>
                      <a:pt x="522" y="67"/>
                    </a:cubicBezTo>
                    <a:cubicBezTo>
                      <a:pt x="485" y="13"/>
                      <a:pt x="428" y="6"/>
                      <a:pt x="408" y="5"/>
                    </a:cubicBezTo>
                    <a:cubicBezTo>
                      <a:pt x="359" y="0"/>
                      <a:pt x="312" y="34"/>
                      <a:pt x="288" y="34"/>
                    </a:cubicBezTo>
                    <a:cubicBezTo>
                      <a:pt x="263" y="34"/>
                      <a:pt x="225" y="6"/>
                      <a:pt x="184" y="7"/>
                    </a:cubicBezTo>
                    <a:cubicBezTo>
                      <a:pt x="131" y="8"/>
                      <a:pt x="82" y="38"/>
                      <a:pt x="55" y="86"/>
                    </a:cubicBezTo>
                    <a:cubicBezTo>
                      <a:pt x="0" y="182"/>
                      <a:pt x="41" y="323"/>
                      <a:pt x="95" y="401"/>
                    </a:cubicBezTo>
                    <a:cubicBezTo>
                      <a:pt x="121" y="439"/>
                      <a:pt x="153" y="482"/>
                      <a:pt x="194" y="480"/>
                    </a:cubicBezTo>
                    <a:cubicBezTo>
                      <a:pt x="234" y="479"/>
                      <a:pt x="248" y="455"/>
                      <a:pt x="296" y="455"/>
                    </a:cubicBezTo>
                    <a:cubicBezTo>
                      <a:pt x="344" y="454"/>
                      <a:pt x="358" y="480"/>
                      <a:pt x="400" y="479"/>
                    </a:cubicBezTo>
                    <a:cubicBezTo>
                      <a:pt x="443" y="478"/>
                      <a:pt x="470" y="440"/>
                      <a:pt x="496" y="402"/>
                    </a:cubicBezTo>
                    <a:cubicBezTo>
                      <a:pt x="526" y="358"/>
                      <a:pt x="538" y="315"/>
                      <a:pt x="539" y="313"/>
                    </a:cubicBezTo>
                    <a:cubicBezTo>
                      <a:pt x="538" y="313"/>
                      <a:pt x="456" y="281"/>
                      <a:pt x="455" y="186"/>
                    </a:cubicBezTo>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51" name="Freeform 50"/>
              <p:cNvSpPr>
                <a:spLocks/>
              </p:cNvSpPr>
              <p:nvPr/>
            </p:nvSpPr>
            <p:spPr bwMode="black">
              <a:xfrm>
                <a:off x="996950" y="1300163"/>
                <a:ext cx="288925" cy="317500"/>
              </a:xfrm>
              <a:custGeom>
                <a:avLst/>
                <a:gdLst>
                  <a:gd name="T0" fmla="*/ 98 w 134"/>
                  <a:gd name="T1" fmla="*/ 100 h 147"/>
                  <a:gd name="T2" fmla="*/ 130 w 134"/>
                  <a:gd name="T3" fmla="*/ 0 h 147"/>
                  <a:gd name="T4" fmla="*/ 38 w 134"/>
                  <a:gd name="T5" fmla="*/ 47 h 147"/>
                  <a:gd name="T6" fmla="*/ 5 w 134"/>
                  <a:gd name="T7" fmla="*/ 144 h 147"/>
                  <a:gd name="T8" fmla="*/ 98 w 134"/>
                  <a:gd name="T9" fmla="*/ 100 h 147"/>
                </a:gdLst>
                <a:ahLst/>
                <a:cxnLst>
                  <a:cxn ang="0">
                    <a:pos x="T0" y="T1"/>
                  </a:cxn>
                  <a:cxn ang="0">
                    <a:pos x="T2" y="T3"/>
                  </a:cxn>
                  <a:cxn ang="0">
                    <a:pos x="T4" y="T5"/>
                  </a:cxn>
                  <a:cxn ang="0">
                    <a:pos x="T6" y="T7"/>
                  </a:cxn>
                  <a:cxn ang="0">
                    <a:pos x="T8" y="T9"/>
                  </a:cxn>
                </a:cxnLst>
                <a:rect l="0" t="0" r="r" b="b"/>
                <a:pathLst>
                  <a:path w="134" h="147">
                    <a:moveTo>
                      <a:pt x="98" y="100"/>
                    </a:moveTo>
                    <a:cubicBezTo>
                      <a:pt x="120" y="73"/>
                      <a:pt x="134" y="36"/>
                      <a:pt x="130" y="0"/>
                    </a:cubicBezTo>
                    <a:cubicBezTo>
                      <a:pt x="99" y="1"/>
                      <a:pt x="61" y="21"/>
                      <a:pt x="38" y="47"/>
                    </a:cubicBezTo>
                    <a:cubicBezTo>
                      <a:pt x="18" y="71"/>
                      <a:pt x="0" y="108"/>
                      <a:pt x="5" y="144"/>
                    </a:cubicBezTo>
                    <a:cubicBezTo>
                      <a:pt x="40" y="147"/>
                      <a:pt x="76" y="126"/>
                      <a:pt x="98" y="100"/>
                    </a:cubicBezTo>
                  </a:path>
                </a:pathLst>
              </a:custGeom>
              <a:solidFill>
                <a:schemeClr val="accent6"/>
              </a:solidFill>
              <a:ln>
                <a:noFill/>
              </a:ln>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707240" y="6217447"/>
              <a:ext cx="1364974" cy="39610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500073" y="6153593"/>
              <a:ext cx="1229161" cy="3303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8337063" y="5542277"/>
            <a:ext cx="3534746" cy="1045830"/>
            <a:chOff x="8565839" y="5478462"/>
            <a:chExt cx="3605625" cy="1066801"/>
          </a:xfrm>
        </p:grpSpPr>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9335914" y="5606307"/>
              <a:ext cx="941121" cy="385860"/>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565839" y="6012235"/>
              <a:ext cx="1470798" cy="449262"/>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175778" y="6063102"/>
              <a:ext cx="1946070" cy="48216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10469757" y="5478462"/>
              <a:ext cx="1701707" cy="42708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47637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par>
                                <p:cTn id="12" presetID="2" presetClass="entr" presetSubtype="4" fill="hold" nodeType="withEffect">
                                  <p:stCondLst>
                                    <p:cond delay="50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300" fill="hold"/>
                                        <p:tgtEl>
                                          <p:spTgt spid="9"/>
                                        </p:tgtEl>
                                        <p:attrNameLst>
                                          <p:attrName>ppt_x</p:attrName>
                                        </p:attrNameLst>
                                      </p:cBhvr>
                                      <p:tavLst>
                                        <p:tav tm="0">
                                          <p:val>
                                            <p:strVal val="#ppt_x"/>
                                          </p:val>
                                        </p:tav>
                                        <p:tav tm="100000">
                                          <p:val>
                                            <p:strVal val="#ppt_x"/>
                                          </p:val>
                                        </p:tav>
                                      </p:tavLst>
                                    </p:anim>
                                    <p:anim calcmode="lin" valueType="num">
                                      <p:cBhvr additive="base">
                                        <p:cTn id="15" dur="300" fill="hold"/>
                                        <p:tgtEl>
                                          <p:spTgt spid="9"/>
                                        </p:tgtEl>
                                        <p:attrNameLst>
                                          <p:attrName>ppt_y</p:attrName>
                                        </p:attrNameLst>
                                      </p:cBhvr>
                                      <p:tavLst>
                                        <p:tav tm="0">
                                          <p:val>
                                            <p:strVal val="1+#ppt_h/2"/>
                                          </p:val>
                                        </p:tav>
                                        <p:tav tm="100000">
                                          <p:val>
                                            <p:strVal val="#ppt_y"/>
                                          </p:val>
                                        </p:tav>
                                      </p:tavLst>
                                    </p:anim>
                                  </p:childTnLst>
                                </p:cTn>
                              </p:par>
                            </p:childTnLst>
                          </p:cTn>
                        </p:par>
                        <p:par>
                          <p:cTn id="16" fill="hold">
                            <p:stCondLst>
                              <p:cond delay="800"/>
                            </p:stCondLst>
                            <p:childTnLst>
                              <p:par>
                                <p:cTn id="17" presetID="2" presetClass="entr" presetSubtype="2"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fill="hold"/>
                                        <p:tgtEl>
                                          <p:spTgt spid="26"/>
                                        </p:tgtEl>
                                        <p:attrNameLst>
                                          <p:attrName>ppt_x</p:attrName>
                                        </p:attrNameLst>
                                      </p:cBhvr>
                                      <p:tavLst>
                                        <p:tav tm="0">
                                          <p:val>
                                            <p:strVal val="1+#ppt_w/2"/>
                                          </p:val>
                                        </p:tav>
                                        <p:tav tm="100000">
                                          <p:val>
                                            <p:strVal val="#ppt_x"/>
                                          </p:val>
                                        </p:tav>
                                      </p:tavLst>
                                    </p:anim>
                                    <p:anim calcmode="lin" valueType="num">
                                      <p:cBhvr additive="base">
                                        <p:cTn id="20" dur="500" fill="hold"/>
                                        <p:tgtEl>
                                          <p:spTgt spid="26"/>
                                        </p:tgtEl>
                                        <p:attrNameLst>
                                          <p:attrName>ppt_y</p:attrName>
                                        </p:attrNameLst>
                                      </p:cBhvr>
                                      <p:tavLst>
                                        <p:tav tm="0">
                                          <p:val>
                                            <p:strVal val="#ppt_y"/>
                                          </p:val>
                                        </p:tav>
                                        <p:tav tm="100000">
                                          <p:val>
                                            <p:strVal val="#ppt_y"/>
                                          </p:val>
                                        </p:tav>
                                      </p:tavLst>
                                    </p:anim>
                                  </p:childTnLst>
                                </p:cTn>
                              </p:par>
                              <p:par>
                                <p:cTn id="21" presetID="10" presetClass="entr" presetSubtype="0" fill="hold" grpId="0" nodeType="withEffect">
                                  <p:stCondLst>
                                    <p:cond delay="250"/>
                                  </p:stCondLst>
                                  <p:childTnLst>
                                    <p:set>
                                      <p:cBhvr>
                                        <p:cTn id="22" dur="1" fill="hold">
                                          <p:stCondLst>
                                            <p:cond delay="0"/>
                                          </p:stCondLst>
                                        </p:cTn>
                                        <p:tgtEl>
                                          <p:spTgt spid="32"/>
                                        </p:tgtEl>
                                        <p:attrNameLst>
                                          <p:attrName>style.visibility</p:attrName>
                                        </p:attrNameLst>
                                      </p:cBhvr>
                                      <p:to>
                                        <p:strVal val="visible"/>
                                      </p:to>
                                    </p:set>
                                    <p:animEffect transition="in" filter="fade">
                                      <p:cBhvr>
                                        <p:cTn id="23" dur="500"/>
                                        <p:tgtEl>
                                          <p:spTgt spid="32"/>
                                        </p:tgtEl>
                                      </p:cBhvr>
                                    </p:animEffect>
                                  </p:childTnLst>
                                </p:cTn>
                              </p:par>
                              <p:par>
                                <p:cTn id="24" presetID="2" presetClass="entr" presetSubtype="4" fill="hold" nodeType="withEffect">
                                  <p:stCondLst>
                                    <p:cond delay="500"/>
                                  </p:stCondLst>
                                  <p:childTnLst>
                                    <p:set>
                                      <p:cBhvr>
                                        <p:cTn id="25" dur="1" fill="hold">
                                          <p:stCondLst>
                                            <p:cond delay="0"/>
                                          </p:stCondLst>
                                        </p:cTn>
                                        <p:tgtEl>
                                          <p:spTgt spid="34"/>
                                        </p:tgtEl>
                                        <p:attrNameLst>
                                          <p:attrName>style.visibility</p:attrName>
                                        </p:attrNameLst>
                                      </p:cBhvr>
                                      <p:to>
                                        <p:strVal val="visible"/>
                                      </p:to>
                                    </p:set>
                                    <p:anim calcmode="lin" valueType="num">
                                      <p:cBhvr additive="base">
                                        <p:cTn id="26" dur="300" fill="hold"/>
                                        <p:tgtEl>
                                          <p:spTgt spid="34"/>
                                        </p:tgtEl>
                                        <p:attrNameLst>
                                          <p:attrName>ppt_x</p:attrName>
                                        </p:attrNameLst>
                                      </p:cBhvr>
                                      <p:tavLst>
                                        <p:tav tm="0">
                                          <p:val>
                                            <p:strVal val="#ppt_x"/>
                                          </p:val>
                                        </p:tav>
                                        <p:tav tm="100000">
                                          <p:val>
                                            <p:strVal val="#ppt_x"/>
                                          </p:val>
                                        </p:tav>
                                      </p:tavLst>
                                    </p:anim>
                                    <p:anim calcmode="lin" valueType="num">
                                      <p:cBhvr additive="base">
                                        <p:cTn id="27" dur="300" fill="hold"/>
                                        <p:tgtEl>
                                          <p:spTgt spid="34"/>
                                        </p:tgtEl>
                                        <p:attrNameLst>
                                          <p:attrName>ppt_y</p:attrName>
                                        </p:attrNameLst>
                                      </p:cBhvr>
                                      <p:tavLst>
                                        <p:tav tm="0">
                                          <p:val>
                                            <p:strVal val="1+#ppt_h/2"/>
                                          </p:val>
                                        </p:tav>
                                        <p:tav tm="100000">
                                          <p:val>
                                            <p:strVal val="#ppt_y"/>
                                          </p:val>
                                        </p:tav>
                                      </p:tavLst>
                                    </p:anim>
                                  </p:childTnLst>
                                </p:cTn>
                              </p:par>
                            </p:childTnLst>
                          </p:cTn>
                        </p:par>
                        <p:par>
                          <p:cTn id="28" fill="hold">
                            <p:stCondLst>
                              <p:cond delay="1600"/>
                            </p:stCondLst>
                            <p:childTnLst>
                              <p:par>
                                <p:cTn id="29" presetID="2" presetClass="entr" presetSubtype="2"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500" fill="hold"/>
                                        <p:tgtEl>
                                          <p:spTgt spid="27"/>
                                        </p:tgtEl>
                                        <p:attrNameLst>
                                          <p:attrName>ppt_x</p:attrName>
                                        </p:attrNameLst>
                                      </p:cBhvr>
                                      <p:tavLst>
                                        <p:tav tm="0">
                                          <p:val>
                                            <p:strVal val="1+#ppt_w/2"/>
                                          </p:val>
                                        </p:tav>
                                        <p:tav tm="100000">
                                          <p:val>
                                            <p:strVal val="#ppt_x"/>
                                          </p:val>
                                        </p:tav>
                                      </p:tavLst>
                                    </p:anim>
                                    <p:anim calcmode="lin" valueType="num">
                                      <p:cBhvr additive="base">
                                        <p:cTn id="32" dur="500" fill="hold"/>
                                        <p:tgtEl>
                                          <p:spTgt spid="27"/>
                                        </p:tgtEl>
                                        <p:attrNameLst>
                                          <p:attrName>ppt_y</p:attrName>
                                        </p:attrNameLst>
                                      </p:cBhvr>
                                      <p:tavLst>
                                        <p:tav tm="0">
                                          <p:val>
                                            <p:strVal val="#ppt_y"/>
                                          </p:val>
                                        </p:tav>
                                        <p:tav tm="100000">
                                          <p:val>
                                            <p:strVal val="#ppt_y"/>
                                          </p:val>
                                        </p:tav>
                                      </p:tavLst>
                                    </p:anim>
                                  </p:childTnLst>
                                </p:cTn>
                              </p:par>
                              <p:par>
                                <p:cTn id="33" presetID="10" presetClass="entr" presetSubtype="0" fill="hold" nodeType="withEffect">
                                  <p:stCondLst>
                                    <p:cond delay="250"/>
                                  </p:stCondLst>
                                  <p:childTnLst>
                                    <p:set>
                                      <p:cBhvr>
                                        <p:cTn id="34" dur="1" fill="hold">
                                          <p:stCondLst>
                                            <p:cond delay="0"/>
                                          </p:stCondLst>
                                        </p:cTn>
                                        <p:tgtEl>
                                          <p:spTgt spid="33">
                                            <p:txEl>
                                              <p:pRg st="0" end="0"/>
                                            </p:txEl>
                                          </p:spTgt>
                                        </p:tgtEl>
                                        <p:attrNameLst>
                                          <p:attrName>style.visibility</p:attrName>
                                        </p:attrNameLst>
                                      </p:cBhvr>
                                      <p:to>
                                        <p:strVal val="visible"/>
                                      </p:to>
                                    </p:set>
                                    <p:animEffect transition="in" filter="fade">
                                      <p:cBhvr>
                                        <p:cTn id="35" dur="500"/>
                                        <p:tgtEl>
                                          <p:spTgt spid="33">
                                            <p:txEl>
                                              <p:pRg st="0" end="0"/>
                                            </p:txEl>
                                          </p:spTgt>
                                        </p:tgtEl>
                                      </p:cBhvr>
                                    </p:animEffect>
                                  </p:childTnLst>
                                </p:cTn>
                              </p:par>
                              <p:par>
                                <p:cTn id="36" presetID="10" presetClass="entr" presetSubtype="0" fill="hold" nodeType="withEffect">
                                  <p:stCondLst>
                                    <p:cond delay="250"/>
                                  </p:stCondLst>
                                  <p:childTnLst>
                                    <p:set>
                                      <p:cBhvr>
                                        <p:cTn id="37" dur="1" fill="hold">
                                          <p:stCondLst>
                                            <p:cond delay="0"/>
                                          </p:stCondLst>
                                        </p:cTn>
                                        <p:tgtEl>
                                          <p:spTgt spid="33">
                                            <p:txEl>
                                              <p:pRg st="1" end="1"/>
                                            </p:txEl>
                                          </p:spTgt>
                                        </p:tgtEl>
                                        <p:attrNameLst>
                                          <p:attrName>style.visibility</p:attrName>
                                        </p:attrNameLst>
                                      </p:cBhvr>
                                      <p:to>
                                        <p:strVal val="visible"/>
                                      </p:to>
                                    </p:set>
                                    <p:animEffect transition="in" filter="fade">
                                      <p:cBhvr>
                                        <p:cTn id="38" dur="500"/>
                                        <p:tgtEl>
                                          <p:spTgt spid="33">
                                            <p:txEl>
                                              <p:pRg st="1" end="1"/>
                                            </p:txEl>
                                          </p:spTgt>
                                        </p:tgtEl>
                                      </p:cBhvr>
                                    </p:animEffect>
                                  </p:childTnLst>
                                </p:cTn>
                              </p:par>
                              <p:par>
                                <p:cTn id="39" presetID="2" presetClass="entr" presetSubtype="4" fill="hold" nodeType="withEffect">
                                  <p:stCondLst>
                                    <p:cond delay="500"/>
                                  </p:stCondLst>
                                  <p:childTnLst>
                                    <p:set>
                                      <p:cBhvr>
                                        <p:cTn id="40" dur="1" fill="hold">
                                          <p:stCondLst>
                                            <p:cond delay="0"/>
                                          </p:stCondLst>
                                        </p:cTn>
                                        <p:tgtEl>
                                          <p:spTgt spid="35"/>
                                        </p:tgtEl>
                                        <p:attrNameLst>
                                          <p:attrName>style.visibility</p:attrName>
                                        </p:attrNameLst>
                                      </p:cBhvr>
                                      <p:to>
                                        <p:strVal val="visible"/>
                                      </p:to>
                                    </p:set>
                                    <p:anim calcmode="lin" valueType="num">
                                      <p:cBhvr additive="base">
                                        <p:cTn id="41" dur="300" fill="hold"/>
                                        <p:tgtEl>
                                          <p:spTgt spid="35"/>
                                        </p:tgtEl>
                                        <p:attrNameLst>
                                          <p:attrName>ppt_x</p:attrName>
                                        </p:attrNameLst>
                                      </p:cBhvr>
                                      <p:tavLst>
                                        <p:tav tm="0">
                                          <p:val>
                                            <p:strVal val="#ppt_x"/>
                                          </p:val>
                                        </p:tav>
                                        <p:tav tm="100000">
                                          <p:val>
                                            <p:strVal val="#ppt_x"/>
                                          </p:val>
                                        </p:tav>
                                      </p:tavLst>
                                    </p:anim>
                                    <p:anim calcmode="lin" valueType="num">
                                      <p:cBhvr additive="base">
                                        <p:cTn id="42" dur="3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p:bldP spid="8" grpId="0" animBg="1"/>
      <p:bldP spid="26" grpId="0" animBg="1"/>
      <p:bldP spid="2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4377851" y="486"/>
            <a:ext cx="7827293"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47" name="Rectangle 46"/>
          <p:cNvSpPr/>
          <p:nvPr/>
        </p:nvSpPr>
        <p:spPr bwMode="auto">
          <a:xfrm>
            <a:off x="1" y="487"/>
            <a:ext cx="4377852" cy="6857027"/>
          </a:xfrm>
          <a:prstGeom prst="rect">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7" name="Rectangle 6"/>
          <p:cNvSpPr/>
          <p:nvPr/>
        </p:nvSpPr>
        <p:spPr>
          <a:xfrm>
            <a:off x="313172" y="1482811"/>
            <a:ext cx="3751508" cy="4706930"/>
          </a:xfrm>
          <a:prstGeom prst="rect">
            <a:avLst/>
          </a:prstGeom>
        </p:spPr>
        <p:txBody>
          <a:bodyPr wrap="square">
            <a:spAutoFit/>
          </a:bodyPr>
          <a:lstStyle/>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Analyze an Image – Understand content and features within an image for a growing set of categorization</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Wide range of concepts from cat to firework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OCR – Detect and recognize words within photos or scanned document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Generate Thumbnail – Scale and crop an image, while retaining key conten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Powers Bing Image search and OneDrive.com Photos</a:t>
            </a:r>
          </a:p>
        </p:txBody>
      </p:sp>
      <p:sp>
        <p:nvSpPr>
          <p:cNvPr id="9" name="Title 2"/>
          <p:cNvSpPr txBox="1">
            <a:spLocks/>
          </p:cNvSpPr>
          <p:nvPr/>
        </p:nvSpPr>
        <p:spPr>
          <a:xfrm>
            <a:off x="1305059" y="386448"/>
            <a:ext cx="2923389"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IN" sz="4313" b="0" i="0" u="none" strike="noStrike" kern="1200" cap="none" spc="-100" normalizeH="0" baseline="0" noProof="0" dirty="0">
                <a:ln w="3175">
                  <a:noFill/>
                </a:ln>
                <a:solidFill>
                  <a:schemeClr val="tx1"/>
                </a:solidFill>
                <a:effectLst/>
                <a:uLnTx/>
                <a:uFillTx/>
                <a:latin typeface="+mj-lt"/>
                <a:ea typeface="+mn-ea"/>
                <a:cs typeface="Segoe UI" pitchFamily="34" charset="0"/>
              </a:rPr>
              <a:t>Vision APIs</a:t>
            </a:r>
            <a:endParaRPr kumimoji="0" lang="en-IN" sz="3137" b="0" i="0" u="none" strike="noStrike" kern="1200" cap="none" spc="0" normalizeH="0" baseline="0" noProof="0" dirty="0">
              <a:ln>
                <a:noFill/>
              </a:ln>
              <a:solidFill>
                <a:schemeClr val="tx1"/>
              </a:solidFill>
              <a:effectLst/>
              <a:uLnTx/>
              <a:uFillTx/>
              <a:latin typeface="+mj-lt"/>
              <a:ea typeface="+mj-ea"/>
              <a:cs typeface="+mj-cs"/>
            </a:endParaRPr>
          </a:p>
        </p:txBody>
      </p:sp>
      <p:pic>
        <p:nvPicPr>
          <p:cNvPr id="50180" name="Picture 4" descr="https://oxfordportal.blob.core.windows.net/vision/OpticalCharacterRecognition/3.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790" t="6708" r="5444" b="2561"/>
          <a:stretch/>
        </p:blipFill>
        <p:spPr bwMode="auto">
          <a:xfrm>
            <a:off x="4377852" y="2316049"/>
            <a:ext cx="3440789" cy="2341538"/>
          </a:xfrm>
          <a:prstGeom prst="rect">
            <a:avLst/>
          </a:prstGeom>
          <a:noFill/>
          <a:extLst>
            <a:ext uri="{909E8E84-426E-40DD-AFC4-6F175D3DCCD1}">
              <a14:hiddenFill xmlns:a14="http://schemas.microsoft.com/office/drawing/2010/main">
                <a:solidFill>
                  <a:srgbClr val="FFFFFF"/>
                </a:solidFill>
              </a14:hiddenFill>
            </a:ext>
          </a:extLst>
        </p:spPr>
      </p:pic>
      <p:pic>
        <p:nvPicPr>
          <p:cNvPr id="50178" name="Picture 2" descr="https://oxfordportal.blob.core.windows.net/vision/Thumbnail/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16" b="2755"/>
          <a:stretch/>
        </p:blipFill>
        <p:spPr bwMode="auto">
          <a:xfrm>
            <a:off x="4377852" y="4608716"/>
            <a:ext cx="3440791" cy="2248797"/>
          </a:xfrm>
          <a:prstGeom prst="rect">
            <a:avLst/>
          </a:prstGeom>
          <a:noFill/>
          <a:extLst>
            <a:ext uri="{909E8E84-426E-40DD-AFC4-6F175D3DCCD1}">
              <a14:hiddenFill xmlns:a14="http://schemas.microsoft.com/office/drawing/2010/main">
                <a:solidFill>
                  <a:srgbClr val="FFFFFF"/>
                </a:solidFill>
              </a14:hiddenFill>
            </a:ext>
          </a:extLst>
        </p:spPr>
      </p:pic>
      <p:pic>
        <p:nvPicPr>
          <p:cNvPr id="50182" name="Picture 6" descr="https://oxfordportal.blob.core.windows.net/vision/Analysis/6.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5632" b="6969"/>
          <a:stretch/>
        </p:blipFill>
        <p:spPr bwMode="auto">
          <a:xfrm>
            <a:off x="4377851" y="485"/>
            <a:ext cx="3440791" cy="2315563"/>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9"/>
          <p:cNvSpPr/>
          <p:nvPr/>
        </p:nvSpPr>
        <p:spPr>
          <a:xfrm>
            <a:off x="8262360" y="3020744"/>
            <a:ext cx="2913381" cy="1056042"/>
          </a:xfrm>
          <a:prstGeom prst="rect">
            <a:avLst/>
          </a:prstGeom>
        </p:spPr>
        <p:txBody>
          <a:bodyPr wrap="square">
            <a:spAutoFit/>
          </a:bodyPr>
          <a:lstStyle/>
          <a:p>
            <a:pPr marL="0" marR="0" lvl="1" indent="0" algn="ctr"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212121"/>
                </a:solidFill>
                <a:effectLst/>
                <a:uLnTx/>
                <a:uFillTx/>
              </a:rPr>
              <a:t>Recognized text:</a:t>
            </a:r>
          </a:p>
          <a:p>
            <a:pPr marL="0" marR="0" lvl="1" indent="0" algn="ctr"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212121"/>
                </a:solidFill>
                <a:effectLst/>
                <a:uLnTx/>
                <a:uFillTx/>
              </a:rPr>
              <a:t>A GOAL WITHOUT</a:t>
            </a:r>
          </a:p>
          <a:p>
            <a:pPr marL="0" marR="0" lvl="1" indent="0" algn="ctr"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212121"/>
                </a:solidFill>
                <a:effectLst/>
                <a:uLnTx/>
                <a:uFillTx/>
              </a:rPr>
              <a:t>A PLAN IS</a:t>
            </a:r>
          </a:p>
          <a:p>
            <a:pPr marL="0" marR="0" lvl="1" indent="0" algn="ctr" defTabSz="896386" eaLnBrk="1" fontAlgn="auto" latinLnBrk="0" hangingPunct="1">
              <a:lnSpc>
                <a:spcPct val="100000"/>
              </a:lnSpc>
              <a:spcBef>
                <a:spcPts val="0"/>
              </a:spcBef>
              <a:spcAft>
                <a:spcPts val="0"/>
              </a:spcAft>
              <a:buClrTx/>
              <a:buSzTx/>
              <a:buFontTx/>
              <a:buNone/>
              <a:tabLst/>
              <a:defRPr/>
            </a:pPr>
            <a:r>
              <a:rPr kumimoji="0" lang="en-US" sz="1568" b="0" i="0" u="none" strike="noStrike" kern="0" cap="none" spc="0" normalizeH="0" baseline="0" noProof="0" dirty="0">
                <a:ln>
                  <a:noFill/>
                </a:ln>
                <a:solidFill>
                  <a:srgbClr val="212121"/>
                </a:solidFill>
                <a:effectLst/>
                <a:uLnTx/>
                <a:uFillTx/>
              </a:rPr>
              <a:t>JUST A WISH</a:t>
            </a:r>
          </a:p>
        </p:txBody>
      </p:sp>
      <p:sp>
        <p:nvSpPr>
          <p:cNvPr id="28" name="Rectangle 10"/>
          <p:cNvSpPr/>
          <p:nvPr/>
        </p:nvSpPr>
        <p:spPr>
          <a:xfrm>
            <a:off x="7818642" y="-5280"/>
            <a:ext cx="4386501" cy="362072"/>
          </a:xfrm>
          <a:prstGeom prst="rect">
            <a:avLst/>
          </a:prstGeom>
          <a:solidFill>
            <a:srgbClr val="E81123"/>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FFFFFF"/>
                </a:solidFill>
                <a:effectLst/>
                <a:uLnTx/>
                <a:uFillTx/>
              </a:rPr>
              <a:t>Analyze image</a:t>
            </a:r>
          </a:p>
        </p:txBody>
      </p:sp>
      <p:sp>
        <p:nvSpPr>
          <p:cNvPr id="31" name="Rectangle 11"/>
          <p:cNvSpPr/>
          <p:nvPr/>
        </p:nvSpPr>
        <p:spPr>
          <a:xfrm>
            <a:off x="7818641" y="2253306"/>
            <a:ext cx="4373359" cy="362072"/>
          </a:xfrm>
          <a:prstGeom prst="rect">
            <a:avLst/>
          </a:prstGeom>
          <a:solidFill>
            <a:srgbClr val="E81123"/>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FFFFFF"/>
                </a:solidFill>
                <a:effectLst/>
                <a:uLnTx/>
                <a:uFillTx/>
              </a:rPr>
              <a:t>OCR</a:t>
            </a:r>
          </a:p>
        </p:txBody>
      </p:sp>
      <p:sp>
        <p:nvSpPr>
          <p:cNvPr id="32" name="Rectangle 12"/>
          <p:cNvSpPr/>
          <p:nvPr/>
        </p:nvSpPr>
        <p:spPr>
          <a:xfrm>
            <a:off x="7818643" y="4597528"/>
            <a:ext cx="4373358" cy="362072"/>
          </a:xfrm>
          <a:prstGeom prst="rect">
            <a:avLst/>
          </a:prstGeom>
          <a:solidFill>
            <a:srgbClr val="E81123"/>
          </a:solidFill>
        </p:spPr>
        <p:txBody>
          <a:bodyPr wrap="square">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solidFill>
                  <a:srgbClr val="FFFFFF"/>
                </a:solidFill>
                <a:effectLst/>
                <a:uLnTx/>
                <a:uFillTx/>
              </a:rPr>
              <a:t>Smart thumbnail</a:t>
            </a:r>
          </a:p>
        </p:txBody>
      </p:sp>
      <p:graphicFrame>
        <p:nvGraphicFramePr>
          <p:cNvPr id="34" name="Table 20"/>
          <p:cNvGraphicFramePr>
            <a:graphicFrameLocks noGrp="1"/>
          </p:cNvGraphicFramePr>
          <p:nvPr>
            <p:extLst/>
          </p:nvPr>
        </p:nvGraphicFramePr>
        <p:xfrm>
          <a:off x="8013178" y="464262"/>
          <a:ext cx="4178823" cy="1667410"/>
        </p:xfrm>
        <a:graphic>
          <a:graphicData uri="http://schemas.openxmlformats.org/drawingml/2006/table">
            <a:tbl>
              <a:tblPr firstRow="1" bandRow="1"/>
              <a:tblGrid>
                <a:gridCol w="1817926">
                  <a:extLst>
                    <a:ext uri="{9D8B030D-6E8A-4147-A177-3AD203B41FA5}">
                      <a16:colId xmlns:a16="http://schemas.microsoft.com/office/drawing/2014/main" val="20000"/>
                    </a:ext>
                  </a:extLst>
                </a:gridCol>
                <a:gridCol w="2360897">
                  <a:extLst>
                    <a:ext uri="{9D8B030D-6E8A-4147-A177-3AD203B41FA5}">
                      <a16:colId xmlns:a16="http://schemas.microsoft.com/office/drawing/2014/main" val="20001"/>
                    </a:ext>
                  </a:extLst>
                </a:gridCol>
              </a:tblGrid>
              <a:tr h="32868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solidFill>
                            <a:sysClr val="windowText" lastClr="000000"/>
                          </a:solidFill>
                        </a:rPr>
                        <a:t>Category</a:t>
                      </a: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solidFill>
                            <a:sysClr val="windowText" lastClr="000000"/>
                          </a:solidFill>
                        </a:rPr>
                        <a:t>People; 1 face found</a:t>
                      </a:r>
                    </a:p>
                  </a:txBody>
                  <a:tcPr marL="89642" marR="89642" marT="44821" marB="44821">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868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solidFill>
                            <a:sysClr val="windowText" lastClr="000000"/>
                          </a:solidFill>
                        </a:rPr>
                        <a:t>Adult /</a:t>
                      </a:r>
                      <a:r>
                        <a:rPr lang="en-US" sz="1600" baseline="0" dirty="0">
                          <a:solidFill>
                            <a:sysClr val="windowText" lastClr="000000"/>
                          </a:solidFill>
                        </a:rPr>
                        <a:t> R</a:t>
                      </a:r>
                      <a:r>
                        <a:rPr lang="en-US" sz="1600" dirty="0">
                          <a:solidFill>
                            <a:sysClr val="windowText" lastClr="000000"/>
                          </a:solidFill>
                        </a:rPr>
                        <a:t>acy?</a:t>
                      </a: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solidFill>
                            <a:sysClr val="windowText" lastClr="000000"/>
                          </a:solidFill>
                        </a:rPr>
                        <a:t>False</a:t>
                      </a:r>
                      <a:r>
                        <a:rPr lang="en-US" sz="1600" baseline="0" dirty="0">
                          <a:solidFill>
                            <a:sysClr val="windowText" lastClr="000000"/>
                          </a:solidFill>
                        </a:rPr>
                        <a:t> / True</a:t>
                      </a:r>
                      <a:endParaRPr lang="en-US" sz="1600" dirty="0">
                        <a:solidFill>
                          <a:sysClr val="windowText" lastClr="000000"/>
                        </a:solidFill>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868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solidFill>
                            <a:sysClr val="windowText" lastClr="000000"/>
                          </a:solidFill>
                        </a:rPr>
                        <a:t>Black</a:t>
                      </a:r>
                      <a:r>
                        <a:rPr lang="en-US" sz="1600" baseline="0" dirty="0">
                          <a:solidFill>
                            <a:sysClr val="windowText" lastClr="000000"/>
                          </a:solidFill>
                        </a:rPr>
                        <a:t> &amp; White?</a:t>
                      </a:r>
                      <a:endParaRPr lang="en-US" sz="1600" dirty="0">
                        <a:solidFill>
                          <a:sysClr val="windowText" lastClr="000000"/>
                        </a:solidFill>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solidFill>
                            <a:sysClr val="windowText" lastClr="000000"/>
                          </a:solidFill>
                        </a:rPr>
                        <a:t>No</a:t>
                      </a:r>
                    </a:p>
                  </a:txBody>
                  <a:tcPr marL="89642" marR="89642" marT="44821" marB="44821">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868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solidFill>
                            <a:sysClr val="windowText" lastClr="000000"/>
                          </a:solidFill>
                        </a:rPr>
                        <a:t>Dominant</a:t>
                      </a:r>
                      <a:r>
                        <a:rPr lang="en-US" sz="1600" baseline="0" dirty="0">
                          <a:solidFill>
                            <a:sysClr val="windowText" lastClr="000000"/>
                          </a:solidFill>
                        </a:rPr>
                        <a:t> c</a:t>
                      </a:r>
                      <a:r>
                        <a:rPr lang="en-US" sz="1600" dirty="0">
                          <a:solidFill>
                            <a:sysClr val="windowText" lastClr="000000"/>
                          </a:solidFill>
                        </a:rPr>
                        <a:t>olors</a:t>
                      </a: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sz="1600" dirty="0">
                        <a:solidFill>
                          <a:sysClr val="windowText" lastClr="000000"/>
                        </a:solidFill>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8689">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r>
                        <a:rPr lang="en-US" sz="1600" dirty="0">
                          <a:solidFill>
                            <a:sysClr val="windowText" lastClr="000000"/>
                          </a:solidFill>
                        </a:rPr>
                        <a:t>Accent color</a:t>
                      </a:r>
                    </a:p>
                  </a:txBody>
                  <a:tcPr marL="89642" marR="89642" marT="44821" marB="44821">
                    <a:lnL>
                      <a:noFill/>
                    </a:lnL>
                    <a:lnR>
                      <a:noFill/>
                    </a:lnR>
                    <a:lnT>
                      <a:noFill/>
                    </a:lnT>
                    <a:lnB>
                      <a:noFill/>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endParaRPr lang="en-US" sz="1600" dirty="0">
                        <a:solidFill>
                          <a:sysClr val="windowText" lastClr="000000"/>
                        </a:solidFill>
                      </a:endParaRPr>
                    </a:p>
                  </a:txBody>
                  <a:tcPr marL="89642" marR="89642" marT="44821" marB="44821">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pic>
        <p:nvPicPr>
          <p:cNvPr id="35" name="Picture 21"/>
          <p:cNvPicPr>
            <a:picLocks noChangeAspect="1"/>
          </p:cNvPicPr>
          <p:nvPr/>
        </p:nvPicPr>
        <p:blipFill>
          <a:blip r:embed="rId6"/>
          <a:stretch>
            <a:fillRect/>
          </a:stretch>
        </p:blipFill>
        <p:spPr>
          <a:xfrm>
            <a:off x="9889976" y="1503776"/>
            <a:ext cx="728345" cy="261457"/>
          </a:xfrm>
          <a:prstGeom prst="rect">
            <a:avLst/>
          </a:prstGeom>
        </p:spPr>
      </p:pic>
      <p:pic>
        <p:nvPicPr>
          <p:cNvPr id="37" name="Picture 23"/>
          <p:cNvPicPr>
            <a:picLocks noChangeAspect="1"/>
          </p:cNvPicPr>
          <p:nvPr/>
        </p:nvPicPr>
        <p:blipFill>
          <a:blip r:embed="rId7"/>
          <a:stretch>
            <a:fillRect/>
          </a:stretch>
        </p:blipFill>
        <p:spPr>
          <a:xfrm>
            <a:off x="9889976" y="1819001"/>
            <a:ext cx="261457" cy="280133"/>
          </a:xfrm>
          <a:prstGeom prst="rect">
            <a:avLst/>
          </a:prstGeom>
        </p:spPr>
      </p:pic>
      <p:grpSp>
        <p:nvGrpSpPr>
          <p:cNvPr id="38" name="Group 24"/>
          <p:cNvGrpSpPr/>
          <p:nvPr/>
        </p:nvGrpSpPr>
        <p:grpSpPr>
          <a:xfrm>
            <a:off x="8137400" y="5070515"/>
            <a:ext cx="3879000" cy="1711237"/>
            <a:chOff x="8163092" y="5254858"/>
            <a:chExt cx="3956782" cy="1745551"/>
          </a:xfrm>
        </p:grpSpPr>
        <p:pic>
          <p:nvPicPr>
            <p:cNvPr id="39" name="Picture 25"/>
            <p:cNvPicPr>
              <a:picLocks noChangeAspect="1"/>
            </p:cNvPicPr>
            <p:nvPr/>
          </p:nvPicPr>
          <p:blipFill>
            <a:blip r:embed="rId8"/>
            <a:stretch>
              <a:fillRect/>
            </a:stretch>
          </p:blipFill>
          <p:spPr>
            <a:xfrm>
              <a:off x="8163092" y="5261369"/>
              <a:ext cx="769260" cy="772906"/>
            </a:xfrm>
            <a:prstGeom prst="rect">
              <a:avLst/>
            </a:prstGeom>
          </p:spPr>
        </p:pic>
        <p:pic>
          <p:nvPicPr>
            <p:cNvPr id="40" name="Picture 39"/>
            <p:cNvPicPr>
              <a:picLocks noChangeAspect="1"/>
            </p:cNvPicPr>
            <p:nvPr/>
          </p:nvPicPr>
          <p:blipFill rotWithShape="1">
            <a:blip r:embed="rId9"/>
            <a:srcRect t="69343" r="31255"/>
            <a:stretch/>
          </p:blipFill>
          <p:spPr>
            <a:xfrm>
              <a:off x="8163092" y="6088255"/>
              <a:ext cx="2312913" cy="829244"/>
            </a:xfrm>
            <a:prstGeom prst="rect">
              <a:avLst/>
            </a:prstGeom>
          </p:spPr>
        </p:pic>
        <p:pic>
          <p:nvPicPr>
            <p:cNvPr id="41" name="Picture 27"/>
            <p:cNvPicPr>
              <a:picLocks noChangeAspect="1"/>
            </p:cNvPicPr>
            <p:nvPr/>
          </p:nvPicPr>
          <p:blipFill>
            <a:blip r:embed="rId10"/>
            <a:stretch>
              <a:fillRect/>
            </a:stretch>
          </p:blipFill>
          <p:spPr>
            <a:xfrm>
              <a:off x="8931274" y="5254858"/>
              <a:ext cx="1544731" cy="815275"/>
            </a:xfrm>
            <a:prstGeom prst="rect">
              <a:avLst/>
            </a:prstGeom>
          </p:spPr>
        </p:pic>
        <p:pic>
          <p:nvPicPr>
            <p:cNvPr id="42" name="Picture 41"/>
            <p:cNvPicPr>
              <a:picLocks noChangeAspect="1"/>
            </p:cNvPicPr>
            <p:nvPr/>
          </p:nvPicPr>
          <p:blipFill rotWithShape="1">
            <a:blip r:embed="rId11"/>
            <a:srcRect r="43446"/>
            <a:stretch/>
          </p:blipFill>
          <p:spPr>
            <a:xfrm>
              <a:off x="10467703" y="5282777"/>
              <a:ext cx="1030747" cy="1709693"/>
            </a:xfrm>
            <a:prstGeom prst="rect">
              <a:avLst/>
            </a:prstGeom>
          </p:spPr>
        </p:pic>
        <p:pic>
          <p:nvPicPr>
            <p:cNvPr id="43" name="Picture 42"/>
            <p:cNvPicPr>
              <a:picLocks noChangeAspect="1"/>
            </p:cNvPicPr>
            <p:nvPr/>
          </p:nvPicPr>
          <p:blipFill rotWithShape="1">
            <a:blip r:embed="rId11"/>
            <a:srcRect l="63692" r="-1"/>
            <a:stretch/>
          </p:blipFill>
          <p:spPr>
            <a:xfrm>
              <a:off x="11458108" y="5290716"/>
              <a:ext cx="661766" cy="1709693"/>
            </a:xfrm>
            <a:prstGeom prst="rect">
              <a:avLst/>
            </a:prstGeom>
          </p:spPr>
        </p:pic>
      </p:grpSp>
      <p:sp>
        <p:nvSpPr>
          <p:cNvPr id="25" name="Freeform 5"/>
          <p:cNvSpPr>
            <a:spLocks/>
          </p:cNvSpPr>
          <p:nvPr/>
        </p:nvSpPr>
        <p:spPr bwMode="auto">
          <a:xfrm>
            <a:off x="-13143" y="286616"/>
            <a:ext cx="1318202" cy="899410"/>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01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89621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pic>
        <p:nvPicPr>
          <p:cNvPr id="26" name="Picture 25" descr="Screen Clipping"/>
          <p:cNvPicPr>
            <a:picLocks noChangeAspect="1"/>
          </p:cNvPicPr>
          <p:nvPr/>
        </p:nvPicPr>
        <p:blipFill rotWithShape="1">
          <a:blip r:embed="rId12" cstate="print">
            <a:extLst>
              <a:ext uri="{28A0092B-C50C-407E-A947-70E740481C1C}">
                <a14:useLocalDpi xmlns:a14="http://schemas.microsoft.com/office/drawing/2010/main" val="0"/>
              </a:ext>
            </a:extLst>
          </a:blip>
          <a:srcRect r="8865" b="17125"/>
          <a:stretch/>
        </p:blipFill>
        <p:spPr>
          <a:xfrm>
            <a:off x="109998" y="452338"/>
            <a:ext cx="808277" cy="567966"/>
          </a:xfrm>
          <a:prstGeom prst="rect">
            <a:avLst/>
          </a:prstGeom>
        </p:spPr>
      </p:pic>
    </p:spTree>
    <p:extLst>
      <p:ext uri="{BB962C8B-B14F-4D97-AF65-F5344CB8AC3E}">
        <p14:creationId xmlns:p14="http://schemas.microsoft.com/office/powerpoint/2010/main" val="408918148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1" y="-7812"/>
            <a:ext cx="4377852" cy="6865327"/>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7" name="Rectangle 6"/>
          <p:cNvSpPr/>
          <p:nvPr/>
        </p:nvSpPr>
        <p:spPr>
          <a:xfrm>
            <a:off x="313172" y="1482679"/>
            <a:ext cx="3751508" cy="4709751"/>
          </a:xfrm>
          <a:prstGeom prst="rect">
            <a:avLst/>
          </a:prstGeom>
        </p:spPr>
        <p:txBody>
          <a:bodyPr wrap="square">
            <a:spAutoFit/>
          </a:bodyPr>
          <a:lstStyle/>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Face Detection – Detects faces and their attributes within an image</a:t>
            </a: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Face Verification – Check if two faces belong to the same person</a:t>
            </a: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Similar Face Searching – Find similar faces within a set of images</a:t>
            </a: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Face Grouping – Organize many faces into groups</a:t>
            </a: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Face Identification – Search which person a face belongs to</a:t>
            </a: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336145" marR="0" lvl="0" indent="-336145"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Models used to power Microsoft Skype &amp; Windows Hello</a:t>
            </a:r>
          </a:p>
        </p:txBody>
      </p:sp>
      <p:sp>
        <p:nvSpPr>
          <p:cNvPr id="98" name="Title 2"/>
          <p:cNvSpPr txBox="1">
            <a:spLocks/>
          </p:cNvSpPr>
          <p:nvPr/>
        </p:nvSpPr>
        <p:spPr>
          <a:xfrm>
            <a:off x="1314469" y="386448"/>
            <a:ext cx="2654090"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IN" sz="4313" b="0" i="0" u="none" strike="noStrike" kern="1200" cap="none" spc="-100" normalizeH="0" baseline="0" noProof="0" dirty="0">
                <a:ln w="3175">
                  <a:noFill/>
                </a:ln>
                <a:solidFill>
                  <a:schemeClr val="tx1"/>
                </a:solidFill>
                <a:effectLst/>
                <a:uLnTx/>
                <a:uFillTx/>
                <a:latin typeface="+mj-lt"/>
                <a:ea typeface="+mn-ea"/>
                <a:cs typeface="Segoe UI" pitchFamily="34" charset="0"/>
              </a:rPr>
              <a:t>Face APIs</a:t>
            </a:r>
          </a:p>
          <a:p>
            <a:pPr marL="0" marR="0" lvl="0" indent="0" algn="l" defTabSz="932597" rtl="0" eaLnBrk="1" fontAlgn="auto" latinLnBrk="0" hangingPunct="1">
              <a:lnSpc>
                <a:spcPct val="90000"/>
              </a:lnSpc>
              <a:spcBef>
                <a:spcPct val="0"/>
              </a:spcBef>
              <a:spcAft>
                <a:spcPts val="0"/>
              </a:spcAft>
              <a:buClrTx/>
              <a:buSzTx/>
              <a:buFontTx/>
              <a:buNone/>
              <a:tabLst/>
              <a:defRPr/>
            </a:pPr>
            <a:endParaRPr kumimoji="0" lang="en-IN" sz="3137" b="0" i="0" u="none" strike="noStrike" kern="1200" cap="none" spc="0" normalizeH="0" baseline="0" noProof="0" dirty="0">
              <a:ln>
                <a:noFill/>
              </a:ln>
              <a:solidFill>
                <a:schemeClr val="tx1"/>
              </a:solidFill>
              <a:effectLst/>
              <a:uLnTx/>
              <a:uFillTx/>
              <a:latin typeface="+mj-lt"/>
              <a:ea typeface="+mj-ea"/>
              <a:cs typeface="+mj-cs"/>
            </a:endParaRPr>
          </a:p>
        </p:txBody>
      </p:sp>
      <p:sp>
        <p:nvSpPr>
          <p:cNvPr id="30" name="Freeform 29"/>
          <p:cNvSpPr/>
          <p:nvPr/>
        </p:nvSpPr>
        <p:spPr bwMode="auto">
          <a:xfrm>
            <a:off x="4502244" y="71154"/>
            <a:ext cx="3043564" cy="2101381"/>
          </a:xfrm>
          <a:custGeom>
            <a:avLst/>
            <a:gdLst>
              <a:gd name="connsiteX0" fmla="*/ 0 w 7955757"/>
              <a:gd name="connsiteY0" fmla="*/ 0 h 5260297"/>
              <a:gd name="connsiteX1" fmla="*/ 2103438 w 7955757"/>
              <a:gd name="connsiteY1" fmla="*/ 0 h 5260297"/>
              <a:gd name="connsiteX2" fmla="*/ 2103438 w 7955757"/>
              <a:gd name="connsiteY2" fmla="*/ 1 h 5260297"/>
              <a:gd name="connsiteX3" fmla="*/ 6778641 w 7955757"/>
              <a:gd name="connsiteY3" fmla="*/ 1 h 5260297"/>
              <a:gd name="connsiteX4" fmla="*/ 7955757 w 7955757"/>
              <a:gd name="connsiteY4" fmla="*/ 2628902 h 5260297"/>
              <a:gd name="connsiteX5" fmla="*/ 6778641 w 7955757"/>
              <a:gd name="connsiteY5" fmla="*/ 5257802 h 5260297"/>
              <a:gd name="connsiteX6" fmla="*/ 2103438 w 7955757"/>
              <a:gd name="connsiteY6" fmla="*/ 5257802 h 5260297"/>
              <a:gd name="connsiteX7" fmla="*/ 2103438 w 7955757"/>
              <a:gd name="connsiteY7" fmla="*/ 5260297 h 5260297"/>
              <a:gd name="connsiteX8" fmla="*/ 0 w 7955757"/>
              <a:gd name="connsiteY8" fmla="*/ 5260297 h 526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55757" h="5260297">
                <a:moveTo>
                  <a:pt x="0" y="0"/>
                </a:moveTo>
                <a:lnTo>
                  <a:pt x="2103438" y="0"/>
                </a:lnTo>
                <a:lnTo>
                  <a:pt x="2103438" y="1"/>
                </a:lnTo>
                <a:lnTo>
                  <a:pt x="6778641" y="1"/>
                </a:lnTo>
                <a:lnTo>
                  <a:pt x="7955757" y="2628902"/>
                </a:lnTo>
                <a:lnTo>
                  <a:pt x="6778641" y="5257802"/>
                </a:lnTo>
                <a:lnTo>
                  <a:pt x="2103438" y="5257802"/>
                </a:lnTo>
                <a:lnTo>
                  <a:pt x="2103438" y="5260297"/>
                </a:lnTo>
                <a:lnTo>
                  <a:pt x="0" y="5260297"/>
                </a:lnTo>
                <a:close/>
              </a:path>
            </a:pathLst>
          </a:cu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31" name="Group 30"/>
          <p:cNvGrpSpPr/>
          <p:nvPr/>
        </p:nvGrpSpPr>
        <p:grpSpPr>
          <a:xfrm>
            <a:off x="4801309" y="769108"/>
            <a:ext cx="619852" cy="966199"/>
            <a:chOff x="523159" y="9672904"/>
            <a:chExt cx="1418868" cy="2418645"/>
          </a:xfrm>
        </p:grpSpPr>
        <p:sp>
          <p:nvSpPr>
            <p:cNvPr id="55" name="TextBox 54"/>
            <p:cNvSpPr txBox="1"/>
            <p:nvPr/>
          </p:nvSpPr>
          <p:spPr>
            <a:xfrm>
              <a:off x="597427" y="11086441"/>
              <a:ext cx="1270327" cy="1005108"/>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980" b="0" i="0" u="none" strike="noStrike" kern="0" cap="none" spc="0" normalizeH="0" baseline="0" noProof="0" dirty="0">
                  <a:ln>
                    <a:noFill/>
                  </a:ln>
                  <a:gradFill>
                    <a:gsLst>
                      <a:gs pos="97345">
                        <a:srgbClr val="FFFFFF"/>
                      </a:gs>
                      <a:gs pos="79646">
                        <a:srgbClr val="FFFFFF"/>
                      </a:gs>
                    </a:gsLst>
                    <a:lin ang="5400000" scaled="0"/>
                  </a:gradFill>
                  <a:effectLst/>
                  <a:uLnTx/>
                  <a:uFillTx/>
                </a:rPr>
                <a:t>INPUT</a:t>
              </a:r>
              <a:r>
                <a:rPr kumimoji="0" lang="en-US" altLang="zh-CN" sz="1078" b="0" i="0" u="none" strike="noStrike" kern="0" cap="none" spc="0" normalizeH="0" baseline="0" noProof="0" dirty="0">
                  <a:ln>
                    <a:noFill/>
                  </a:ln>
                  <a:gradFill>
                    <a:gsLst>
                      <a:gs pos="97345">
                        <a:srgbClr val="FFFFFF"/>
                      </a:gs>
                      <a:gs pos="79646">
                        <a:srgbClr val="FFFFFF"/>
                      </a:gs>
                    </a:gsLst>
                    <a:lin ang="5400000" scaled="0"/>
                  </a:gradFill>
                  <a:effectLst/>
                  <a:uLnTx/>
                  <a:uFillTx/>
                </a:rPr>
                <a:t/>
              </a:r>
              <a:br>
                <a:rPr kumimoji="0" lang="en-US" altLang="zh-CN" sz="1078" b="0" i="0" u="none" strike="noStrike" kern="0" cap="none" spc="0" normalizeH="0" baseline="0" noProof="0" dirty="0">
                  <a:ln>
                    <a:noFill/>
                  </a:ln>
                  <a:gradFill>
                    <a:gsLst>
                      <a:gs pos="97345">
                        <a:srgbClr val="FFFFFF"/>
                      </a:gs>
                      <a:gs pos="79646">
                        <a:srgbClr val="FFFFFF"/>
                      </a:gs>
                    </a:gsLst>
                    <a:lin ang="5400000" scaled="0"/>
                  </a:gradFill>
                  <a:effectLst/>
                  <a:uLnTx/>
                  <a:uFillTx/>
                </a:rPr>
              </a:br>
              <a:r>
                <a:rPr kumimoji="0" lang="en-US" altLang="zh-CN" sz="1029" b="0" i="0" u="none" strike="noStrike" kern="0" cap="none" spc="0" normalizeH="0" baseline="0" noProof="0" dirty="0">
                  <a:ln>
                    <a:noFill/>
                  </a:ln>
                  <a:gradFill>
                    <a:gsLst>
                      <a:gs pos="97345">
                        <a:srgbClr val="FFFFFF"/>
                      </a:gs>
                      <a:gs pos="79646">
                        <a:srgbClr val="FFFFFF"/>
                      </a:gs>
                    </a:gsLst>
                    <a:lin ang="5400000" scaled="0"/>
                  </a:gradFill>
                  <a:effectLst/>
                  <a:uLnTx/>
                  <a:uFillTx/>
                </a:rPr>
                <a:t>IMAGE</a:t>
              </a:r>
              <a:endParaRPr kumimoji="0" lang="zh-CN" altLang="en-US" sz="1078" b="0" i="0" u="none" strike="noStrike" kern="0" cap="none" spc="0" normalizeH="0" baseline="0" noProof="0" dirty="0">
                <a:ln>
                  <a:noFill/>
                </a:ln>
                <a:gradFill>
                  <a:gsLst>
                    <a:gs pos="97345">
                      <a:srgbClr val="FFFFFF"/>
                    </a:gs>
                    <a:gs pos="79646">
                      <a:srgbClr val="FFFFFF"/>
                    </a:gs>
                  </a:gsLst>
                  <a:lin ang="5400000" scaled="0"/>
                </a:gradFill>
                <a:effectLst/>
                <a:uLnTx/>
                <a:uFillTx/>
              </a:endParaRPr>
            </a:p>
          </p:txBody>
        </p:sp>
        <p:grpSp>
          <p:nvGrpSpPr>
            <p:cNvPr id="56" name="Group 55"/>
            <p:cNvGrpSpPr/>
            <p:nvPr/>
          </p:nvGrpSpPr>
          <p:grpSpPr>
            <a:xfrm>
              <a:off x="523159" y="9672904"/>
              <a:ext cx="1418868" cy="1418868"/>
              <a:chOff x="523159" y="2801257"/>
              <a:chExt cx="1418868" cy="1418868"/>
            </a:xfrm>
          </p:grpSpPr>
          <p:pic>
            <p:nvPicPr>
              <p:cNvPr id="57" name="Picture 56"/>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Lst>
              </a:blip>
              <a:srcRect l="3052" r="3052"/>
              <a:stretch/>
            </p:blipFill>
            <p:spPr>
              <a:xfrm>
                <a:off x="661093" y="2939191"/>
                <a:ext cx="1143000" cy="1143000"/>
              </a:xfrm>
              <a:prstGeom prst="rect">
                <a:avLst/>
              </a:prstGeom>
              <a:ln w="25400">
                <a:solidFill>
                  <a:srgbClr val="FFFFFF"/>
                </a:solidFill>
              </a:ln>
            </p:spPr>
          </p:pic>
          <p:grpSp>
            <p:nvGrpSpPr>
              <p:cNvPr id="58" name="Group 57"/>
              <p:cNvGrpSpPr/>
              <p:nvPr/>
            </p:nvGrpSpPr>
            <p:grpSpPr>
              <a:xfrm>
                <a:off x="523159" y="2801257"/>
                <a:ext cx="1418868" cy="1418868"/>
                <a:chOff x="-1249363" y="2430462"/>
                <a:chExt cx="1143000" cy="1143000"/>
              </a:xfrm>
              <a:solidFill>
                <a:srgbClr val="FFFFFF"/>
              </a:solidFill>
            </p:grpSpPr>
            <p:sp>
              <p:nvSpPr>
                <p:cNvPr id="59" name="Half Frame 58"/>
                <p:cNvSpPr/>
                <p:nvPr/>
              </p:nvSpPr>
              <p:spPr bwMode="auto">
                <a:xfrm>
                  <a:off x="-1249363" y="24304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0" name="Half Frame 59"/>
                <p:cNvSpPr/>
                <p:nvPr/>
              </p:nvSpPr>
              <p:spPr bwMode="auto">
                <a:xfrm flipH="1">
                  <a:off x="-334963" y="24304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1" name="Half Frame 60"/>
                <p:cNvSpPr/>
                <p:nvPr/>
              </p:nvSpPr>
              <p:spPr bwMode="auto">
                <a:xfrm flipV="1">
                  <a:off x="-1249363" y="33448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2" name="Half Frame 61"/>
                <p:cNvSpPr/>
                <p:nvPr/>
              </p:nvSpPr>
              <p:spPr bwMode="auto">
                <a:xfrm flipH="1" flipV="1">
                  <a:off x="-334963" y="33448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grpSp>
        <p:nvGrpSpPr>
          <p:cNvPr id="46" name="Group 45"/>
          <p:cNvGrpSpPr/>
          <p:nvPr/>
        </p:nvGrpSpPr>
        <p:grpSpPr>
          <a:xfrm>
            <a:off x="6293795" y="769108"/>
            <a:ext cx="619852" cy="566808"/>
            <a:chOff x="5260168" y="2801257"/>
            <a:chExt cx="1418868" cy="1418868"/>
          </a:xfrm>
        </p:grpSpPr>
        <p:pic>
          <p:nvPicPr>
            <p:cNvPr id="49" name="Picture 48"/>
            <p:cNvPicPr>
              <a:picLocks noChangeAspect="1"/>
            </p:cNvPicPr>
            <p:nvPr/>
          </p:nvPicPr>
          <p:blipFill rotWithShape="1">
            <a:blip r:embed="rId5">
              <a:extLst>
                <a:ext uri="{BEBA8EAE-BF5A-486C-A8C5-ECC9F3942E4B}">
                  <a14:imgProps xmlns:a14="http://schemas.microsoft.com/office/drawing/2010/main">
                    <a14:imgLayer r:embed="rId6">
                      <a14:imgEffect>
                        <a14:brightnessContrast bright="20000"/>
                      </a14:imgEffect>
                    </a14:imgLayer>
                  </a14:imgProps>
                </a:ext>
              </a:extLst>
            </a:blip>
            <a:srcRect l="2568" r="2568"/>
            <a:stretch/>
          </p:blipFill>
          <p:spPr>
            <a:xfrm>
              <a:off x="5398102" y="2939191"/>
              <a:ext cx="1143000" cy="1143000"/>
            </a:xfrm>
            <a:prstGeom prst="rect">
              <a:avLst/>
            </a:prstGeom>
            <a:ln w="25400">
              <a:solidFill>
                <a:srgbClr val="FFFFFF"/>
              </a:solidFill>
            </a:ln>
          </p:spPr>
        </p:pic>
        <p:grpSp>
          <p:nvGrpSpPr>
            <p:cNvPr id="50" name="Group 49"/>
            <p:cNvGrpSpPr/>
            <p:nvPr/>
          </p:nvGrpSpPr>
          <p:grpSpPr>
            <a:xfrm>
              <a:off x="5260168" y="2801257"/>
              <a:ext cx="1418868" cy="1418868"/>
              <a:chOff x="-1249363" y="2430462"/>
              <a:chExt cx="1143000" cy="1143000"/>
            </a:xfrm>
            <a:solidFill>
              <a:srgbClr val="FFFFFF"/>
            </a:solidFill>
          </p:grpSpPr>
          <p:sp>
            <p:nvSpPr>
              <p:cNvPr id="51" name="Half Frame 50"/>
              <p:cNvSpPr/>
              <p:nvPr/>
            </p:nvSpPr>
            <p:spPr bwMode="auto">
              <a:xfrm>
                <a:off x="-1249363" y="24304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2" name="Half Frame 51"/>
              <p:cNvSpPr/>
              <p:nvPr/>
            </p:nvSpPr>
            <p:spPr bwMode="auto">
              <a:xfrm flipH="1">
                <a:off x="-334963" y="24304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3" name="Half Frame 52"/>
              <p:cNvSpPr/>
              <p:nvPr/>
            </p:nvSpPr>
            <p:spPr bwMode="auto">
              <a:xfrm flipV="1">
                <a:off x="-1249363" y="33448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4" name="Half Frame 53"/>
              <p:cNvSpPr/>
              <p:nvPr/>
            </p:nvSpPr>
            <p:spPr bwMode="auto">
              <a:xfrm flipH="1" flipV="1">
                <a:off x="-334963" y="33448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4" name="Group 33"/>
          <p:cNvGrpSpPr/>
          <p:nvPr/>
        </p:nvGrpSpPr>
        <p:grpSpPr>
          <a:xfrm>
            <a:off x="5444916" y="938076"/>
            <a:ext cx="775180" cy="249002"/>
            <a:chOff x="2157817" y="3653531"/>
            <a:chExt cx="1774420" cy="623315"/>
          </a:xfrm>
        </p:grpSpPr>
        <p:sp>
          <p:nvSpPr>
            <p:cNvPr id="43" name="Right Arrow 42"/>
            <p:cNvSpPr/>
            <p:nvPr/>
          </p:nvSpPr>
          <p:spPr bwMode="auto">
            <a:xfrm>
              <a:off x="2255836" y="3653531"/>
              <a:ext cx="1676401" cy="623315"/>
            </a:xfrm>
            <a:prstGeom prst="rightArrow">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TextBox 43"/>
            <p:cNvSpPr txBox="1"/>
            <p:nvPr/>
          </p:nvSpPr>
          <p:spPr>
            <a:xfrm>
              <a:off x="2157817" y="3668996"/>
              <a:ext cx="1626253" cy="570932"/>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82" b="0" i="0" u="none" strike="noStrike" kern="0" cap="none" spc="0" normalizeH="0" baseline="0" noProof="0" dirty="0">
                  <a:ln>
                    <a:noFill/>
                  </a:ln>
                  <a:gradFill>
                    <a:gsLst>
                      <a:gs pos="79646">
                        <a:srgbClr val="FFFFFF"/>
                      </a:gs>
                      <a:gs pos="45000">
                        <a:srgbClr val="FFFFFF"/>
                      </a:gs>
                    </a:gsLst>
                    <a:lin ang="5400000" scaled="0"/>
                  </a:gradFill>
                  <a:effectLst/>
                  <a:uLnTx/>
                  <a:uFillTx/>
                </a:rPr>
                <a:t>DETECTION</a:t>
              </a:r>
              <a:endParaRPr kumimoji="0" lang="zh-CN" altLang="en-US" sz="1765" b="0" i="0" u="none" strike="noStrike" kern="0" cap="none" spc="0" normalizeH="0" baseline="0" noProof="0" dirty="0">
                <a:ln>
                  <a:noFill/>
                </a:ln>
                <a:gradFill>
                  <a:gsLst>
                    <a:gs pos="79646">
                      <a:srgbClr val="FFFFFF"/>
                    </a:gs>
                    <a:gs pos="45000">
                      <a:srgbClr val="FFFFFF"/>
                    </a:gs>
                  </a:gsLst>
                  <a:lin ang="5400000" scaled="0"/>
                </a:gradFill>
                <a:effectLst/>
                <a:uLnTx/>
                <a:uFillTx/>
              </a:endParaRPr>
            </a:p>
          </p:txBody>
        </p:sp>
      </p:grpSp>
      <p:grpSp>
        <p:nvGrpSpPr>
          <p:cNvPr id="35" name="Group 34"/>
          <p:cNvGrpSpPr/>
          <p:nvPr/>
        </p:nvGrpSpPr>
        <p:grpSpPr>
          <a:xfrm>
            <a:off x="6960183" y="938076"/>
            <a:ext cx="791208" cy="249002"/>
            <a:chOff x="2121127" y="3653531"/>
            <a:chExt cx="1811110" cy="623315"/>
          </a:xfrm>
        </p:grpSpPr>
        <p:sp>
          <p:nvSpPr>
            <p:cNvPr id="36" name="Right Arrow 35"/>
            <p:cNvSpPr/>
            <p:nvPr/>
          </p:nvSpPr>
          <p:spPr bwMode="auto">
            <a:xfrm>
              <a:off x="2255836" y="3653531"/>
              <a:ext cx="1676401" cy="623315"/>
            </a:xfrm>
            <a:prstGeom prst="rightArrow">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2" name="TextBox 41"/>
            <p:cNvSpPr txBox="1"/>
            <p:nvPr/>
          </p:nvSpPr>
          <p:spPr>
            <a:xfrm>
              <a:off x="2121127" y="3680719"/>
              <a:ext cx="1699641" cy="570932"/>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82" b="0" i="0" u="none" strike="noStrike" kern="0" cap="none" spc="0" normalizeH="0" baseline="0" noProof="0" dirty="0">
                  <a:ln>
                    <a:noFill/>
                  </a:ln>
                  <a:gradFill>
                    <a:gsLst>
                      <a:gs pos="79646">
                        <a:srgbClr val="FFFFFF"/>
                      </a:gs>
                      <a:gs pos="45000">
                        <a:srgbClr val="FFFFFF"/>
                      </a:gs>
                    </a:gsLst>
                    <a:lin ang="5400000" scaled="0"/>
                  </a:gradFill>
                  <a:effectLst/>
                  <a:uLnTx/>
                  <a:uFillTx/>
                </a:rPr>
                <a:t>ATTRIBUTES</a:t>
              </a:r>
              <a:endParaRPr kumimoji="0" lang="en-US" altLang="zh-CN" sz="1765" b="0" i="0" u="none" strike="noStrike" kern="0" cap="none" spc="0" normalizeH="0" baseline="0" noProof="0" dirty="0">
                <a:ln>
                  <a:noFill/>
                </a:ln>
                <a:gradFill>
                  <a:gsLst>
                    <a:gs pos="79646">
                      <a:srgbClr val="FFFFFF"/>
                    </a:gs>
                    <a:gs pos="45000">
                      <a:srgbClr val="FFFFFF"/>
                    </a:gs>
                  </a:gsLst>
                  <a:lin ang="5400000" scaled="0"/>
                </a:gradFill>
                <a:effectLst/>
                <a:uLnTx/>
                <a:uFillTx/>
              </a:endParaRPr>
            </a:p>
          </p:txBody>
        </p:sp>
      </p:grpSp>
      <p:grpSp>
        <p:nvGrpSpPr>
          <p:cNvPr id="79" name="Group 78"/>
          <p:cNvGrpSpPr/>
          <p:nvPr/>
        </p:nvGrpSpPr>
        <p:grpSpPr>
          <a:xfrm>
            <a:off x="4500619" y="2322907"/>
            <a:ext cx="3045190" cy="2102530"/>
            <a:chOff x="-2" y="1483403"/>
            <a:chExt cx="6218233" cy="5257797"/>
          </a:xfrm>
        </p:grpSpPr>
        <p:grpSp>
          <p:nvGrpSpPr>
            <p:cNvPr id="80" name="Group 79"/>
            <p:cNvGrpSpPr/>
            <p:nvPr/>
          </p:nvGrpSpPr>
          <p:grpSpPr>
            <a:xfrm>
              <a:off x="-2" y="1483403"/>
              <a:ext cx="6218233" cy="5257797"/>
              <a:chOff x="-1" y="1483404"/>
              <a:chExt cx="6218238" cy="5257801"/>
            </a:xfrm>
          </p:grpSpPr>
          <p:sp>
            <p:nvSpPr>
              <p:cNvPr id="97" name="Pentagon 96"/>
              <p:cNvSpPr/>
              <p:nvPr/>
            </p:nvSpPr>
            <p:spPr bwMode="auto">
              <a:xfrm>
                <a:off x="-1" y="1483404"/>
                <a:ext cx="6218238" cy="5257801"/>
              </a:xfrm>
              <a:prstGeom prst="homePlate">
                <a:avLst>
                  <a:gd name="adj" fmla="val 22388"/>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99" name="Picture 9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70237" y="3192462"/>
                <a:ext cx="587740" cy="888897"/>
              </a:xfrm>
              <a:prstGeom prst="rect">
                <a:avLst/>
              </a:prstGeom>
            </p:spPr>
          </p:pic>
          <p:pic>
            <p:nvPicPr>
              <p:cNvPr id="100" name="Picture 9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2886" y="3884663"/>
                <a:ext cx="554471" cy="731902"/>
              </a:xfrm>
              <a:prstGeom prst="rect">
                <a:avLst/>
              </a:prstGeom>
            </p:spPr>
          </p:pic>
          <p:pic>
            <p:nvPicPr>
              <p:cNvPr id="101" name="Picture 10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84547" y="5021262"/>
                <a:ext cx="833291" cy="1102605"/>
              </a:xfrm>
              <a:prstGeom prst="rect">
                <a:avLst/>
              </a:prstGeom>
            </p:spPr>
          </p:pic>
          <p:pic>
            <p:nvPicPr>
              <p:cNvPr id="102" name="Picture 10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72123" y="1714635"/>
                <a:ext cx="1290417" cy="1564631"/>
              </a:xfrm>
              <a:prstGeom prst="rect">
                <a:avLst/>
              </a:prstGeom>
              <a:ln w="25400">
                <a:solidFill>
                  <a:srgbClr val="FFFFFF"/>
                </a:solidFill>
              </a:ln>
            </p:spPr>
          </p:pic>
          <p:pic>
            <p:nvPicPr>
              <p:cNvPr id="103" name="Picture 10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41837" y="3954154"/>
                <a:ext cx="1029732" cy="914709"/>
              </a:xfrm>
              <a:prstGeom prst="rect">
                <a:avLst/>
              </a:prstGeom>
            </p:spPr>
          </p:pic>
          <p:pic>
            <p:nvPicPr>
              <p:cNvPr id="104" name="Picture 10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317421" y="1602547"/>
                <a:ext cx="738405" cy="1039236"/>
              </a:xfrm>
              <a:prstGeom prst="rect">
                <a:avLst/>
              </a:prstGeom>
            </p:spPr>
          </p:pic>
          <p:pic>
            <p:nvPicPr>
              <p:cNvPr id="105" name="Picture 10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133748" y="2347944"/>
                <a:ext cx="712890" cy="1109687"/>
              </a:xfrm>
              <a:prstGeom prst="rect">
                <a:avLst/>
              </a:prstGeom>
            </p:spPr>
          </p:pic>
          <p:pic>
            <p:nvPicPr>
              <p:cNvPr id="106" name="Picture 10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713037" y="4030662"/>
                <a:ext cx="871312" cy="1220721"/>
              </a:xfrm>
              <a:prstGeom prst="rect">
                <a:avLst/>
              </a:prstGeom>
            </p:spPr>
          </p:pic>
          <p:pic>
            <p:nvPicPr>
              <p:cNvPr id="107" name="Picture 10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7200" y="2125663"/>
                <a:ext cx="928343" cy="1150131"/>
              </a:xfrm>
              <a:prstGeom prst="rect">
                <a:avLst/>
              </a:prstGeom>
            </p:spPr>
          </p:pic>
          <p:pic>
            <p:nvPicPr>
              <p:cNvPr id="108" name="Picture 10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224189" y="2811462"/>
                <a:ext cx="1267362" cy="1706851"/>
              </a:xfrm>
              <a:prstGeom prst="rect">
                <a:avLst/>
              </a:prstGeom>
              <a:ln w="25400">
                <a:solidFill>
                  <a:srgbClr val="FFFFFF"/>
                </a:solidFill>
              </a:ln>
            </p:spPr>
          </p:pic>
          <p:pic>
            <p:nvPicPr>
              <p:cNvPr id="109" name="Picture 10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57200" y="4812044"/>
                <a:ext cx="1493837" cy="1652064"/>
              </a:xfrm>
              <a:prstGeom prst="rect">
                <a:avLst/>
              </a:prstGeom>
              <a:ln w="25400">
                <a:solidFill>
                  <a:srgbClr val="FFFFFF"/>
                </a:solidFill>
              </a:ln>
            </p:spPr>
          </p:pic>
          <p:pic>
            <p:nvPicPr>
              <p:cNvPr id="110" name="Picture 10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463221" y="4564062"/>
                <a:ext cx="1309712" cy="1646237"/>
              </a:xfrm>
              <a:prstGeom prst="rect">
                <a:avLst/>
              </a:prstGeom>
              <a:ln w="25400">
                <a:solidFill>
                  <a:srgbClr val="FFFFFF"/>
                </a:solidFill>
              </a:ln>
            </p:spPr>
          </p:pic>
        </p:grpSp>
        <p:sp>
          <p:nvSpPr>
            <p:cNvPr id="81" name="Half Frame 80"/>
            <p:cNvSpPr/>
            <p:nvPr/>
          </p:nvSpPr>
          <p:spPr bwMode="auto">
            <a:xfrm>
              <a:off x="1092197" y="2675316"/>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2" name="Half Frame 81"/>
            <p:cNvSpPr/>
            <p:nvPr/>
          </p:nvSpPr>
          <p:spPr bwMode="auto">
            <a:xfrm flipH="1">
              <a:off x="2341877" y="2684840"/>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3" name="Half Frame 82"/>
            <p:cNvSpPr/>
            <p:nvPr/>
          </p:nvSpPr>
          <p:spPr bwMode="auto">
            <a:xfrm flipV="1">
              <a:off x="1092197" y="4370382"/>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4" name="Half Frame 83"/>
            <p:cNvSpPr/>
            <p:nvPr/>
          </p:nvSpPr>
          <p:spPr bwMode="auto">
            <a:xfrm flipH="1" flipV="1">
              <a:off x="2346640" y="4370382"/>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5" name="Half Frame 84"/>
            <p:cNvSpPr/>
            <p:nvPr/>
          </p:nvSpPr>
          <p:spPr bwMode="auto">
            <a:xfrm>
              <a:off x="2634928" y="1582734"/>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6" name="Half Frame 85"/>
            <p:cNvSpPr/>
            <p:nvPr/>
          </p:nvSpPr>
          <p:spPr bwMode="auto">
            <a:xfrm flipH="1">
              <a:off x="3906833" y="1585911"/>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7" name="Half Frame 86"/>
            <p:cNvSpPr/>
            <p:nvPr/>
          </p:nvSpPr>
          <p:spPr bwMode="auto">
            <a:xfrm flipV="1">
              <a:off x="2641278" y="3124586"/>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8" name="Half Frame 87"/>
            <p:cNvSpPr/>
            <p:nvPr/>
          </p:nvSpPr>
          <p:spPr bwMode="auto">
            <a:xfrm flipH="1" flipV="1">
              <a:off x="3914770" y="3124586"/>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9" name="Half Frame 88"/>
            <p:cNvSpPr/>
            <p:nvPr/>
          </p:nvSpPr>
          <p:spPr bwMode="auto">
            <a:xfrm>
              <a:off x="3327468" y="4432295"/>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0" name="Half Frame 89"/>
            <p:cNvSpPr/>
            <p:nvPr/>
          </p:nvSpPr>
          <p:spPr bwMode="auto">
            <a:xfrm flipH="1">
              <a:off x="4620009" y="4437058"/>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1" name="Half Frame 90"/>
            <p:cNvSpPr/>
            <p:nvPr/>
          </p:nvSpPr>
          <p:spPr bwMode="auto">
            <a:xfrm flipV="1">
              <a:off x="3329054" y="6061347"/>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2" name="Half Frame 91"/>
            <p:cNvSpPr/>
            <p:nvPr/>
          </p:nvSpPr>
          <p:spPr bwMode="auto">
            <a:xfrm flipH="1" flipV="1">
              <a:off x="4621597" y="6061347"/>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3" name="Half Frame 92"/>
            <p:cNvSpPr/>
            <p:nvPr/>
          </p:nvSpPr>
          <p:spPr bwMode="auto">
            <a:xfrm>
              <a:off x="322262" y="4672010"/>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4" name="Half Frame 93"/>
            <p:cNvSpPr/>
            <p:nvPr/>
          </p:nvSpPr>
          <p:spPr bwMode="auto">
            <a:xfrm flipH="1">
              <a:off x="1806961" y="4668835"/>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5" name="Half Frame 94"/>
            <p:cNvSpPr/>
            <p:nvPr/>
          </p:nvSpPr>
          <p:spPr bwMode="auto">
            <a:xfrm flipV="1">
              <a:off x="322262" y="6316658"/>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6" name="Half Frame 95"/>
            <p:cNvSpPr/>
            <p:nvPr/>
          </p:nvSpPr>
          <p:spPr bwMode="auto">
            <a:xfrm flipH="1" flipV="1">
              <a:off x="1802201" y="6316663"/>
              <a:ext cx="283773" cy="283773"/>
            </a:xfrm>
            <a:prstGeom prst="halfFram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1" name="Group 110"/>
          <p:cNvGrpSpPr/>
          <p:nvPr/>
        </p:nvGrpSpPr>
        <p:grpSpPr>
          <a:xfrm>
            <a:off x="4500619" y="4575809"/>
            <a:ext cx="3045190" cy="2156800"/>
            <a:chOff x="0" y="1483403"/>
            <a:chExt cx="7955757" cy="5260297"/>
          </a:xfrm>
        </p:grpSpPr>
        <p:sp>
          <p:nvSpPr>
            <p:cNvPr id="112" name="Freeform 111"/>
            <p:cNvSpPr/>
            <p:nvPr/>
          </p:nvSpPr>
          <p:spPr bwMode="auto">
            <a:xfrm>
              <a:off x="0" y="1483403"/>
              <a:ext cx="7955757" cy="5260297"/>
            </a:xfrm>
            <a:custGeom>
              <a:avLst/>
              <a:gdLst>
                <a:gd name="connsiteX0" fmla="*/ 0 w 7955757"/>
                <a:gd name="connsiteY0" fmla="*/ 0 h 5260297"/>
                <a:gd name="connsiteX1" fmla="*/ 2103438 w 7955757"/>
                <a:gd name="connsiteY1" fmla="*/ 0 h 5260297"/>
                <a:gd name="connsiteX2" fmla="*/ 2103438 w 7955757"/>
                <a:gd name="connsiteY2" fmla="*/ 1 h 5260297"/>
                <a:gd name="connsiteX3" fmla="*/ 6778641 w 7955757"/>
                <a:gd name="connsiteY3" fmla="*/ 1 h 5260297"/>
                <a:gd name="connsiteX4" fmla="*/ 7955757 w 7955757"/>
                <a:gd name="connsiteY4" fmla="*/ 2628902 h 5260297"/>
                <a:gd name="connsiteX5" fmla="*/ 6778641 w 7955757"/>
                <a:gd name="connsiteY5" fmla="*/ 5257802 h 5260297"/>
                <a:gd name="connsiteX6" fmla="*/ 2103438 w 7955757"/>
                <a:gd name="connsiteY6" fmla="*/ 5257802 h 5260297"/>
                <a:gd name="connsiteX7" fmla="*/ 2103438 w 7955757"/>
                <a:gd name="connsiteY7" fmla="*/ 5260297 h 5260297"/>
                <a:gd name="connsiteX8" fmla="*/ 0 w 7955757"/>
                <a:gd name="connsiteY8" fmla="*/ 5260297 h 5260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55757" h="5260297">
                  <a:moveTo>
                    <a:pt x="0" y="0"/>
                  </a:moveTo>
                  <a:lnTo>
                    <a:pt x="2103438" y="0"/>
                  </a:lnTo>
                  <a:lnTo>
                    <a:pt x="2103438" y="1"/>
                  </a:lnTo>
                  <a:lnTo>
                    <a:pt x="6778641" y="1"/>
                  </a:lnTo>
                  <a:lnTo>
                    <a:pt x="7955757" y="2628902"/>
                  </a:lnTo>
                  <a:lnTo>
                    <a:pt x="6778641" y="5257802"/>
                  </a:lnTo>
                  <a:lnTo>
                    <a:pt x="2103438" y="5257802"/>
                  </a:lnTo>
                  <a:lnTo>
                    <a:pt x="2103438" y="5260297"/>
                  </a:lnTo>
                  <a:lnTo>
                    <a:pt x="0" y="5260297"/>
                  </a:lnTo>
                  <a:close/>
                </a:path>
              </a:pathLst>
            </a:cu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3" name="Picture 112"/>
            <p:cNvPicPr>
              <a:picLocks noChangeAspect="1"/>
            </p:cNvPicPr>
            <p:nvPr/>
          </p:nvPicPr>
          <p:blipFill rotWithShape="1">
            <a:blip r:embed="rId19" cstate="print">
              <a:extLst>
                <a:ext uri="{28A0092B-C50C-407E-A947-70E740481C1C}">
                  <a14:useLocalDpi xmlns:a14="http://schemas.microsoft.com/office/drawing/2010/main" val="0"/>
                </a:ext>
              </a:extLst>
            </a:blip>
            <a:srcRect t="12942" b="16940"/>
            <a:stretch/>
          </p:blipFill>
          <p:spPr>
            <a:xfrm>
              <a:off x="568600" y="3368496"/>
              <a:ext cx="1143000" cy="1143000"/>
            </a:xfrm>
            <a:prstGeom prst="rect">
              <a:avLst/>
            </a:prstGeom>
            <a:ln w="25400">
              <a:solidFill>
                <a:srgbClr val="FFFFFF"/>
              </a:solidFill>
            </a:ln>
          </p:spPr>
        </p:pic>
        <p:sp>
          <p:nvSpPr>
            <p:cNvPr id="114" name="TextBox 113"/>
            <p:cNvSpPr txBox="1"/>
            <p:nvPr/>
          </p:nvSpPr>
          <p:spPr>
            <a:xfrm>
              <a:off x="71754" y="4644101"/>
              <a:ext cx="2136694" cy="997735"/>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29" b="0" i="0" u="none" strike="noStrike" kern="0" cap="none" spc="0" normalizeH="0" baseline="0" noProof="0" dirty="0">
                  <a:ln>
                    <a:noFill/>
                  </a:ln>
                  <a:gradFill>
                    <a:gsLst>
                      <a:gs pos="97345">
                        <a:srgbClr val="FFFFFF"/>
                      </a:gs>
                      <a:gs pos="79646">
                        <a:srgbClr val="FFFFFF"/>
                      </a:gs>
                    </a:gsLst>
                    <a:lin ang="5400000" scaled="0"/>
                  </a:gradFill>
                  <a:effectLst/>
                  <a:uLnTx/>
                  <a:uFillTx/>
                </a:rPr>
                <a:t>NEW INPUT</a:t>
              </a:r>
              <a:br>
                <a:rPr kumimoji="0" lang="en-US" altLang="zh-CN" sz="1029" b="0" i="0" u="none" strike="noStrike" kern="0" cap="none" spc="0" normalizeH="0" baseline="0" noProof="0" dirty="0">
                  <a:ln>
                    <a:noFill/>
                  </a:ln>
                  <a:gradFill>
                    <a:gsLst>
                      <a:gs pos="97345">
                        <a:srgbClr val="FFFFFF"/>
                      </a:gs>
                      <a:gs pos="79646">
                        <a:srgbClr val="FFFFFF"/>
                      </a:gs>
                    </a:gsLst>
                    <a:lin ang="5400000" scaled="0"/>
                  </a:gradFill>
                  <a:effectLst/>
                  <a:uLnTx/>
                  <a:uFillTx/>
                </a:rPr>
              </a:br>
              <a:r>
                <a:rPr kumimoji="0" lang="en-US" altLang="zh-CN" sz="1029" b="0" i="0" u="none" strike="noStrike" kern="0" cap="none" spc="0" normalizeH="0" baseline="0" noProof="0" dirty="0">
                  <a:ln>
                    <a:noFill/>
                  </a:ln>
                  <a:gradFill>
                    <a:gsLst>
                      <a:gs pos="97345">
                        <a:srgbClr val="FFFFFF"/>
                      </a:gs>
                      <a:gs pos="79646">
                        <a:srgbClr val="FFFFFF"/>
                      </a:gs>
                    </a:gsLst>
                    <a:lin ang="5400000" scaled="0"/>
                  </a:gradFill>
                  <a:effectLst/>
                  <a:uLnTx/>
                  <a:uFillTx/>
                </a:rPr>
                <a:t>IMAGE</a:t>
              </a:r>
              <a:endParaRPr kumimoji="0" lang="zh-CN" altLang="en-US" sz="1029" b="0" i="0" u="none" strike="noStrike" kern="0" cap="none" spc="0" normalizeH="0" baseline="0" noProof="0" dirty="0">
                <a:ln>
                  <a:noFill/>
                </a:ln>
                <a:gradFill>
                  <a:gsLst>
                    <a:gs pos="97345">
                      <a:srgbClr val="FFFFFF"/>
                    </a:gs>
                    <a:gs pos="79646">
                      <a:srgbClr val="FFFFFF"/>
                    </a:gs>
                  </a:gsLst>
                  <a:lin ang="5400000" scaled="0"/>
                </a:gradFill>
                <a:effectLst/>
                <a:uLnTx/>
                <a:uFillTx/>
              </a:endParaRPr>
            </a:p>
          </p:txBody>
        </p:sp>
        <p:grpSp>
          <p:nvGrpSpPr>
            <p:cNvPr id="115" name="Group 114"/>
            <p:cNvGrpSpPr/>
            <p:nvPr/>
          </p:nvGrpSpPr>
          <p:grpSpPr>
            <a:xfrm>
              <a:off x="430666" y="3230562"/>
              <a:ext cx="1418868" cy="1418868"/>
              <a:chOff x="-1249363" y="2430462"/>
              <a:chExt cx="1143000" cy="1143000"/>
            </a:xfrm>
            <a:solidFill>
              <a:srgbClr val="FFFFFF"/>
            </a:solidFill>
          </p:grpSpPr>
          <p:sp>
            <p:nvSpPr>
              <p:cNvPr id="137" name="Half Frame 136"/>
              <p:cNvSpPr/>
              <p:nvPr/>
            </p:nvSpPr>
            <p:spPr bwMode="auto">
              <a:xfrm>
                <a:off x="-1249363" y="24304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8" name="Half Frame 137"/>
              <p:cNvSpPr/>
              <p:nvPr/>
            </p:nvSpPr>
            <p:spPr bwMode="auto">
              <a:xfrm flipH="1">
                <a:off x="-334963" y="24304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9" name="Half Frame 138"/>
              <p:cNvSpPr/>
              <p:nvPr/>
            </p:nvSpPr>
            <p:spPr bwMode="auto">
              <a:xfrm flipV="1">
                <a:off x="-1249363" y="33448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0" name="Half Frame 139"/>
              <p:cNvSpPr/>
              <p:nvPr/>
            </p:nvSpPr>
            <p:spPr bwMode="auto">
              <a:xfrm flipH="1" flipV="1">
                <a:off x="-334963" y="3344862"/>
                <a:ext cx="228600" cy="228600"/>
              </a:xfrm>
              <a:prstGeom prst="halfFram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16" name="Group 115"/>
            <p:cNvGrpSpPr/>
            <p:nvPr/>
          </p:nvGrpSpPr>
          <p:grpSpPr>
            <a:xfrm>
              <a:off x="1741998" y="3653531"/>
              <a:ext cx="1458245" cy="623315"/>
              <a:chOff x="1968405" y="3653531"/>
              <a:chExt cx="2005087" cy="623315"/>
            </a:xfrm>
          </p:grpSpPr>
          <p:sp>
            <p:nvSpPr>
              <p:cNvPr id="135" name="Right Arrow 134"/>
              <p:cNvSpPr/>
              <p:nvPr/>
            </p:nvSpPr>
            <p:spPr bwMode="auto">
              <a:xfrm>
                <a:off x="2255836" y="3653531"/>
                <a:ext cx="1676401" cy="623315"/>
              </a:xfrm>
              <a:prstGeom prst="rightArrow">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6" name="TextBox 135"/>
              <p:cNvSpPr txBox="1"/>
              <p:nvPr/>
            </p:nvSpPr>
            <p:spPr>
              <a:xfrm>
                <a:off x="1968405" y="3694703"/>
                <a:ext cx="2005087" cy="519511"/>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784" b="0" i="0" u="none" strike="noStrike" kern="0" cap="none" spc="0" normalizeH="0" baseline="0" noProof="0" dirty="0">
                    <a:ln>
                      <a:noFill/>
                    </a:ln>
                    <a:gradFill>
                      <a:gsLst>
                        <a:gs pos="79646">
                          <a:srgbClr val="FFFFFF"/>
                        </a:gs>
                        <a:gs pos="45000">
                          <a:srgbClr val="FFFFFF"/>
                        </a:gs>
                      </a:gsLst>
                      <a:lin ang="5400000" scaled="0"/>
                    </a:gradFill>
                    <a:effectLst/>
                    <a:uLnTx/>
                    <a:uFillTx/>
                  </a:rPr>
                  <a:t>IDENTIFY</a:t>
                </a:r>
                <a:endParaRPr kumimoji="0" lang="zh-CN" altLang="en-US" sz="1765" b="0" i="0" u="none" strike="noStrike" kern="0" cap="none" spc="0" normalizeH="0" baseline="0" noProof="0" dirty="0">
                  <a:ln>
                    <a:noFill/>
                  </a:ln>
                  <a:gradFill>
                    <a:gsLst>
                      <a:gs pos="79646">
                        <a:srgbClr val="FFFFFF"/>
                      </a:gs>
                      <a:gs pos="45000">
                        <a:srgbClr val="FFFFFF"/>
                      </a:gs>
                    </a:gsLst>
                    <a:lin ang="5400000" scaled="0"/>
                  </a:gradFill>
                  <a:effectLst/>
                  <a:uLnTx/>
                  <a:uFillTx/>
                </a:endParaRPr>
              </a:p>
            </p:txBody>
          </p:sp>
        </p:grpSp>
        <p:pic>
          <p:nvPicPr>
            <p:cNvPr id="117" name="Picture 116"/>
            <p:cNvPicPr>
              <a:picLocks noChangeAspect="1"/>
            </p:cNvPicPr>
            <p:nvPr/>
          </p:nvPicPr>
          <p:blipFill rotWithShape="1">
            <a:blip r:embed="rId20" cstate="print">
              <a:extLst>
                <a:ext uri="{28A0092B-C50C-407E-A947-70E740481C1C}">
                  <a14:useLocalDpi xmlns:a14="http://schemas.microsoft.com/office/drawing/2010/main" val="0"/>
                </a:ext>
              </a:extLst>
            </a:blip>
            <a:srcRect l="3086" r="3086"/>
            <a:stretch/>
          </p:blipFill>
          <p:spPr>
            <a:xfrm>
              <a:off x="3624252" y="1769261"/>
              <a:ext cx="939763" cy="1409645"/>
            </a:xfrm>
            <a:prstGeom prst="rect">
              <a:avLst/>
            </a:prstGeom>
            <a:ln w="25400">
              <a:solidFill>
                <a:srgbClr val="FFFFFF"/>
              </a:solidFill>
            </a:ln>
          </p:spPr>
        </p:pic>
        <p:sp>
          <p:nvSpPr>
            <p:cNvPr id="118" name="Rectangle 117"/>
            <p:cNvSpPr/>
            <p:nvPr/>
          </p:nvSpPr>
          <p:spPr bwMode="auto">
            <a:xfrm>
              <a:off x="3660067" y="3175129"/>
              <a:ext cx="939763" cy="24304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19" name="Picture 118"/>
            <p:cNvPicPr>
              <a:picLocks noChangeAspect="1"/>
            </p:cNvPicPr>
            <p:nvPr/>
          </p:nvPicPr>
          <p:blipFill rotWithShape="1">
            <a:blip r:embed="rId21" cstate="print">
              <a:extLst>
                <a:ext uri="{28A0092B-C50C-407E-A947-70E740481C1C}">
                  <a14:useLocalDpi xmlns:a14="http://schemas.microsoft.com/office/drawing/2010/main" val="0"/>
                </a:ext>
              </a:extLst>
            </a:blip>
            <a:srcRect t="1818" b="1818"/>
            <a:stretch/>
          </p:blipFill>
          <p:spPr>
            <a:xfrm>
              <a:off x="3867158" y="1900312"/>
              <a:ext cx="939763" cy="1409645"/>
            </a:xfrm>
            <a:prstGeom prst="rect">
              <a:avLst/>
            </a:prstGeom>
            <a:ln w="25400">
              <a:solidFill>
                <a:srgbClr val="FFFFFF"/>
              </a:solidFill>
            </a:ln>
          </p:spPr>
        </p:pic>
        <p:sp>
          <p:nvSpPr>
            <p:cNvPr id="120" name="Rectangle 119"/>
            <p:cNvSpPr/>
            <p:nvPr/>
          </p:nvSpPr>
          <p:spPr bwMode="auto">
            <a:xfrm>
              <a:off x="3885065" y="3308808"/>
              <a:ext cx="939763" cy="24304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21" name="Picture 120"/>
            <p:cNvPicPr>
              <a:picLocks noChangeAspect="1"/>
            </p:cNvPicPr>
            <p:nvPr/>
          </p:nvPicPr>
          <p:blipFill rotWithShape="1">
            <a:blip r:embed="rId22" cstate="print">
              <a:extLst>
                <a:ext uri="{28A0092B-C50C-407E-A947-70E740481C1C}">
                  <a14:useLocalDpi xmlns:a14="http://schemas.microsoft.com/office/drawing/2010/main" val="0"/>
                </a:ext>
              </a:extLst>
            </a:blip>
            <a:srcRect l="5107" r="5107"/>
            <a:stretch/>
          </p:blipFill>
          <p:spPr>
            <a:xfrm>
              <a:off x="4110064" y="2047410"/>
              <a:ext cx="939763" cy="1409645"/>
            </a:xfrm>
            <a:prstGeom prst="rect">
              <a:avLst/>
            </a:prstGeom>
            <a:ln w="25400">
              <a:solidFill>
                <a:srgbClr val="FFFFFF"/>
              </a:solidFill>
            </a:ln>
          </p:spPr>
        </p:pic>
        <p:sp>
          <p:nvSpPr>
            <p:cNvPr id="122" name="Rectangle 121"/>
            <p:cNvSpPr/>
            <p:nvPr/>
          </p:nvSpPr>
          <p:spPr bwMode="auto">
            <a:xfrm>
              <a:off x="4004211" y="3452012"/>
              <a:ext cx="1606900" cy="321983"/>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914038" eaLnBrk="1" fontAlgn="auto" latinLnBrk="0" hangingPunct="1">
                <a:lnSpc>
                  <a:spcPct val="10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Natalie Huber</a:t>
              </a:r>
            </a:p>
          </p:txBody>
        </p:sp>
        <p:pic>
          <p:nvPicPr>
            <p:cNvPr id="123" name="Picture 122"/>
            <p:cNvPicPr>
              <a:picLocks noChangeAspect="1"/>
            </p:cNvPicPr>
            <p:nvPr/>
          </p:nvPicPr>
          <p:blipFill rotWithShape="1">
            <a:blip r:embed="rId23" cstate="print">
              <a:extLst>
                <a:ext uri="{28A0092B-C50C-407E-A947-70E740481C1C}">
                  <a14:useLocalDpi xmlns:a14="http://schemas.microsoft.com/office/drawing/2010/main" val="0"/>
                </a:ext>
              </a:extLst>
            </a:blip>
            <a:srcRect l="7183" r="7183"/>
            <a:stretch/>
          </p:blipFill>
          <p:spPr>
            <a:xfrm>
              <a:off x="3624252" y="4034706"/>
              <a:ext cx="941832" cy="1412748"/>
            </a:xfrm>
            <a:prstGeom prst="rect">
              <a:avLst/>
            </a:prstGeom>
            <a:ln w="25400">
              <a:solidFill>
                <a:srgbClr val="FFFFFF"/>
              </a:solidFill>
            </a:ln>
          </p:spPr>
        </p:pic>
        <p:sp>
          <p:nvSpPr>
            <p:cNvPr id="125" name="Rectangle 124"/>
            <p:cNvSpPr/>
            <p:nvPr/>
          </p:nvSpPr>
          <p:spPr bwMode="auto">
            <a:xfrm>
              <a:off x="3522133" y="1672046"/>
              <a:ext cx="2194831" cy="4409210"/>
            </a:xfrm>
            <a:prstGeom prst="rect">
              <a:avLst/>
            </a:prstGeom>
            <a:noFill/>
            <a:ln w="25400">
              <a:solidFill>
                <a:schemeClr val="bg1"/>
              </a:solidFill>
              <a:prstDash val="sysDot"/>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6" name="Rectangle 125"/>
            <p:cNvSpPr/>
            <p:nvPr/>
          </p:nvSpPr>
          <p:spPr bwMode="auto">
            <a:xfrm>
              <a:off x="3522133" y="6220454"/>
              <a:ext cx="2238905" cy="384048"/>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914038" eaLnBrk="1" fontAlgn="auto" latinLnBrk="0" hangingPunct="1">
                <a:lnSpc>
                  <a:spcPct val="100000"/>
                </a:lnSpc>
                <a:spcBef>
                  <a:spcPts val="0"/>
                </a:spcBef>
                <a:spcAft>
                  <a:spcPts val="0"/>
                </a:spcAft>
                <a:buClrTx/>
                <a:buSzTx/>
                <a:buFontTx/>
                <a:buNone/>
                <a:tabLst/>
                <a:defRPr/>
              </a:pPr>
              <a:r>
                <a:rPr kumimoji="0" lang="en-US" sz="1029"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OLLEAGUES</a:t>
              </a:r>
              <a:endParaRPr kumimoji="0" lang="en-US" sz="1568" b="1"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27" name="Group 126"/>
            <p:cNvGrpSpPr/>
            <p:nvPr/>
          </p:nvGrpSpPr>
          <p:grpSpPr>
            <a:xfrm>
              <a:off x="5211706" y="4341090"/>
              <a:ext cx="2241868" cy="608570"/>
              <a:chOff x="2017654" y="3025173"/>
              <a:chExt cx="2241868" cy="608570"/>
            </a:xfrm>
          </p:grpSpPr>
          <p:sp>
            <p:nvSpPr>
              <p:cNvPr id="133" name="Right Arrow 132"/>
              <p:cNvSpPr/>
              <p:nvPr/>
            </p:nvSpPr>
            <p:spPr bwMode="auto">
              <a:xfrm>
                <a:off x="2111890" y="3049741"/>
                <a:ext cx="2147632" cy="584002"/>
              </a:xfrm>
              <a:prstGeom prst="rightArrow">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642" tIns="89642" rIns="33620" bIns="33620" rtlCol="0" anchor="b"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4" name="TextBox 133"/>
              <p:cNvSpPr txBox="1"/>
              <p:nvPr/>
            </p:nvSpPr>
            <p:spPr>
              <a:xfrm>
                <a:off x="2017654" y="3025173"/>
                <a:ext cx="2203701" cy="556262"/>
              </a:xfrm>
              <a:prstGeom prst="rect">
                <a:avLst/>
              </a:prstGeom>
              <a:noFill/>
            </p:spPr>
            <p:txBody>
              <a:bodyPr wrap="non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882" b="0" i="0" u="none" strike="noStrike" kern="0" cap="none" spc="0" normalizeH="0" baseline="0" noProof="0" dirty="0">
                    <a:ln>
                      <a:noFill/>
                    </a:ln>
                    <a:gradFill>
                      <a:gsLst>
                        <a:gs pos="79646">
                          <a:srgbClr val="FFFFFF"/>
                        </a:gs>
                        <a:gs pos="45000">
                          <a:srgbClr val="FFFFFF"/>
                        </a:gs>
                      </a:gsLst>
                      <a:lin ang="5400000" scaled="0"/>
                    </a:gradFill>
                    <a:effectLst/>
                    <a:uLnTx/>
                    <a:uFillTx/>
                  </a:rPr>
                  <a:t>RECOGNITION</a:t>
                </a:r>
                <a:endParaRPr kumimoji="0" lang="en-US" altLang="zh-CN" sz="1765" b="0" i="0" u="none" strike="noStrike" kern="0" cap="none" spc="0" normalizeH="0" baseline="0" noProof="0" dirty="0">
                  <a:ln>
                    <a:noFill/>
                  </a:ln>
                  <a:gradFill>
                    <a:gsLst>
                      <a:gs pos="79646">
                        <a:srgbClr val="FFFFFF"/>
                      </a:gs>
                      <a:gs pos="45000">
                        <a:srgbClr val="FFFFFF"/>
                      </a:gs>
                    </a:gsLst>
                    <a:lin ang="5400000" scaled="0"/>
                  </a:gradFill>
                  <a:effectLst/>
                  <a:uLnTx/>
                  <a:uFillTx/>
                </a:endParaRPr>
              </a:p>
            </p:txBody>
          </p:sp>
        </p:grpSp>
        <p:sp>
          <p:nvSpPr>
            <p:cNvPr id="128" name="Rectangle 127"/>
            <p:cNvSpPr/>
            <p:nvPr/>
          </p:nvSpPr>
          <p:spPr bwMode="auto">
            <a:xfrm>
              <a:off x="3690956" y="5446450"/>
              <a:ext cx="939763" cy="24304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29" name="Picture 128"/>
            <p:cNvPicPr>
              <a:picLocks noChangeAspect="1"/>
            </p:cNvPicPr>
            <p:nvPr/>
          </p:nvPicPr>
          <p:blipFill rotWithShape="1">
            <a:blip r:embed="rId24" cstate="print">
              <a:extLst>
                <a:ext uri="{28A0092B-C50C-407E-A947-70E740481C1C}">
                  <a14:useLocalDpi xmlns:a14="http://schemas.microsoft.com/office/drawing/2010/main" val="0"/>
                </a:ext>
              </a:extLst>
            </a:blip>
            <a:srcRect l="243" r="243"/>
            <a:stretch/>
          </p:blipFill>
          <p:spPr>
            <a:xfrm>
              <a:off x="3867158" y="4165757"/>
              <a:ext cx="941832" cy="1412748"/>
            </a:xfrm>
            <a:prstGeom prst="rect">
              <a:avLst/>
            </a:prstGeom>
            <a:ln w="25400">
              <a:solidFill>
                <a:srgbClr val="FFFFFF"/>
              </a:solidFill>
            </a:ln>
          </p:spPr>
        </p:pic>
        <p:sp>
          <p:nvSpPr>
            <p:cNvPr id="130" name="Rectangle 129"/>
            <p:cNvSpPr/>
            <p:nvPr/>
          </p:nvSpPr>
          <p:spPr bwMode="auto">
            <a:xfrm>
              <a:off x="3915954" y="5575366"/>
              <a:ext cx="939763" cy="243042"/>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914038" eaLnBrk="1" fontAlgn="auto" latinLnBrk="0" hangingPunct="1">
                <a:lnSpc>
                  <a:spcPct val="100000"/>
                </a:lnSpc>
                <a:spcBef>
                  <a:spcPts val="0"/>
                </a:spcBef>
                <a:spcAft>
                  <a:spcPts val="0"/>
                </a:spcAft>
                <a:buClrTx/>
                <a:buSzTx/>
                <a:buFontTx/>
                <a:buNone/>
                <a:tabLst/>
                <a:defRPr/>
              </a:pPr>
              <a:endParaRPr kumimoji="0" lang="en-US" sz="1078"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pic>
          <p:nvPicPr>
            <p:cNvPr id="131" name="Picture 130"/>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Lst>
            </a:blip>
            <a:srcRect l="18701" r="18701"/>
            <a:stretch/>
          </p:blipFill>
          <p:spPr>
            <a:xfrm>
              <a:off x="4110064" y="4312855"/>
              <a:ext cx="941832" cy="1412748"/>
            </a:xfrm>
            <a:prstGeom prst="rect">
              <a:avLst/>
            </a:prstGeom>
            <a:ln w="25400">
              <a:solidFill>
                <a:srgbClr val="FFFFFF"/>
              </a:solidFill>
            </a:ln>
          </p:spPr>
        </p:pic>
        <p:sp>
          <p:nvSpPr>
            <p:cNvPr id="132" name="Rectangle 131"/>
            <p:cNvSpPr/>
            <p:nvPr/>
          </p:nvSpPr>
          <p:spPr bwMode="auto">
            <a:xfrm>
              <a:off x="4056075" y="5717458"/>
              <a:ext cx="1481723" cy="245321"/>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914038" eaLnBrk="1" fontAlgn="auto" latinLnBrk="0" hangingPunct="1">
                <a:lnSpc>
                  <a:spcPct val="100000"/>
                </a:lnSpc>
                <a:spcBef>
                  <a:spcPts val="0"/>
                </a:spcBef>
                <a:spcAft>
                  <a:spcPts val="0"/>
                </a:spcAft>
                <a:buClrTx/>
                <a:buSzTx/>
                <a:buFontTx/>
                <a:buNone/>
                <a:tabLst/>
                <a:defRPr/>
              </a:pPr>
              <a:r>
                <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Chao Wang</a:t>
              </a:r>
            </a:p>
          </p:txBody>
        </p:sp>
      </p:grpSp>
      <p:grpSp>
        <p:nvGrpSpPr>
          <p:cNvPr id="21" name="Group 20"/>
          <p:cNvGrpSpPr/>
          <p:nvPr/>
        </p:nvGrpSpPr>
        <p:grpSpPr>
          <a:xfrm>
            <a:off x="7760802" y="71991"/>
            <a:ext cx="4180933" cy="2100544"/>
            <a:chOff x="8170954" y="72938"/>
            <a:chExt cx="4264769" cy="2142664"/>
          </a:xfrm>
        </p:grpSpPr>
        <p:sp>
          <p:nvSpPr>
            <p:cNvPr id="6" name="TextBox 5"/>
            <p:cNvSpPr txBox="1"/>
            <p:nvPr/>
          </p:nvSpPr>
          <p:spPr>
            <a:xfrm>
              <a:off x="8170954" y="435078"/>
              <a:ext cx="4264769" cy="1780524"/>
            </a:xfrm>
            <a:prstGeom prst="rect">
              <a:avLst/>
            </a:prstGeom>
            <a:noFill/>
            <a:ln w="41275">
              <a:solidFill>
                <a:srgbClr val="5C2D91"/>
              </a:solidFill>
            </a:ln>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bg1"/>
                  </a:solidFill>
                  <a:effectLst/>
                  <a:uLnTx/>
                  <a:uFillTx/>
                </a:rPr>
                <a:t>Face Rectangle – width; height; left; top</a:t>
              </a:r>
            </a:p>
            <a:p>
              <a:pPr marL="0" marR="0" lvl="0" indent="0" defTabSz="91440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bg1"/>
                  </a:solidFill>
                  <a:effectLst/>
                  <a:uLnTx/>
                  <a:uFillTx/>
                </a:rPr>
                <a:t>Attributes:</a:t>
              </a:r>
            </a:p>
            <a:p>
              <a:pPr marL="737304" marR="0" lvl="1" indent="-280121" defTabSz="91440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372" b="0" i="0" u="none" strike="noStrike" kern="0" cap="none" spc="0" normalizeH="0" baseline="0" noProof="0" dirty="0">
                  <a:ln>
                    <a:noFill/>
                  </a:ln>
                  <a:solidFill>
                    <a:schemeClr val="bg1"/>
                  </a:solidFill>
                  <a:effectLst/>
                  <a:uLnTx/>
                  <a:uFillTx/>
                </a:rPr>
                <a:t>Age – 31</a:t>
              </a:r>
            </a:p>
            <a:p>
              <a:pPr marL="737304" marR="0" lvl="1" indent="-280121" defTabSz="914400" eaLnBrk="1" fontAlgn="auto" latinLnBrk="0" hangingPunct="1">
                <a:lnSpc>
                  <a:spcPct val="90000"/>
                </a:lnSpc>
                <a:spcBef>
                  <a:spcPts val="0"/>
                </a:spcBef>
                <a:spcAft>
                  <a:spcPts val="588"/>
                </a:spcAft>
                <a:buClrTx/>
                <a:buSzTx/>
                <a:buFont typeface="Arial" panose="020B0604020202020204" pitchFamily="34" charset="0"/>
                <a:buChar char="•"/>
                <a:tabLst/>
                <a:defRPr/>
              </a:pPr>
              <a:r>
                <a:rPr kumimoji="0" lang="en-US" sz="1372" b="0" i="0" u="none" strike="noStrike" kern="0" cap="none" spc="0" normalizeH="0" baseline="0" noProof="0" dirty="0">
                  <a:ln>
                    <a:noFill/>
                  </a:ln>
                  <a:solidFill>
                    <a:schemeClr val="bg1"/>
                  </a:solidFill>
                  <a:effectLst/>
                  <a:uLnTx/>
                  <a:uFillTx/>
                </a:rPr>
                <a:t>Gender – Male</a:t>
              </a:r>
            </a:p>
            <a:p>
              <a:pPr marL="0" marR="0" lvl="0" indent="0" defTabSz="91440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bg1"/>
                  </a:solidFill>
                  <a:effectLst/>
                  <a:uLnTx/>
                  <a:uFillTx/>
                </a:rPr>
                <a:t>Face Landmarks –pupil, nose, mouth</a:t>
              </a: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980" b="0" i="0" u="none" strike="noStrike" kern="0" cap="none" spc="0" normalizeH="0" baseline="0" noProof="0" dirty="0">
                <a:ln>
                  <a:noFill/>
                </a:ln>
                <a:solidFill>
                  <a:schemeClr val="bg1"/>
                </a:solidFill>
                <a:effectLst/>
                <a:uLnTx/>
                <a:uFillTx/>
              </a:endParaRPr>
            </a:p>
          </p:txBody>
        </p:sp>
        <p:sp>
          <p:nvSpPr>
            <p:cNvPr id="141" name="Rectangle 10"/>
            <p:cNvSpPr/>
            <p:nvPr/>
          </p:nvSpPr>
          <p:spPr>
            <a:xfrm>
              <a:off x="8170955" y="72938"/>
              <a:ext cx="4264768" cy="369332"/>
            </a:xfrm>
            <a:prstGeom prst="rect">
              <a:avLst/>
            </a:prstGeom>
            <a:solidFill>
              <a:srgbClr val="5C2D91"/>
            </a:solidFill>
            <a:ln w="41275">
              <a:solidFill>
                <a:srgbClr val="5C2D91"/>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effectLst/>
                  <a:uLnTx/>
                  <a:uFillTx/>
                </a:rPr>
                <a:t>Detection Result</a:t>
              </a:r>
            </a:p>
          </p:txBody>
        </p:sp>
      </p:grpSp>
      <p:grpSp>
        <p:nvGrpSpPr>
          <p:cNvPr id="17" name="Group 16"/>
          <p:cNvGrpSpPr/>
          <p:nvPr/>
        </p:nvGrpSpPr>
        <p:grpSpPr>
          <a:xfrm>
            <a:off x="7760801" y="2334715"/>
            <a:ext cx="4203034" cy="2081299"/>
            <a:chOff x="8136490" y="2257280"/>
            <a:chExt cx="4245417" cy="2123033"/>
          </a:xfrm>
        </p:grpSpPr>
        <p:sp>
          <p:nvSpPr>
            <p:cNvPr id="144" name="TextBox 143"/>
            <p:cNvSpPr txBox="1"/>
            <p:nvPr/>
          </p:nvSpPr>
          <p:spPr>
            <a:xfrm>
              <a:off x="8136490" y="2634450"/>
              <a:ext cx="4245416" cy="1745863"/>
            </a:xfrm>
            <a:prstGeom prst="rect">
              <a:avLst/>
            </a:prstGeom>
            <a:noFill/>
            <a:ln w="44450">
              <a:solidFill>
                <a:srgbClr val="5C2D91"/>
              </a:solidFill>
            </a:ln>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  </a:t>
              </a: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2353"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1029"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1176" b="0" i="0" u="none" strike="noStrike" kern="0" cap="none" spc="0" normalizeH="0" baseline="0" noProof="0" dirty="0">
                <a:ln>
                  <a:noFill/>
                </a:ln>
                <a:solidFill>
                  <a:sysClr val="windowText" lastClr="000000"/>
                </a:solidFill>
                <a:effectLst/>
                <a:uLnTx/>
                <a:uFillTx/>
              </a:endParaRPr>
            </a:p>
          </p:txBody>
        </p:sp>
        <p:grpSp>
          <p:nvGrpSpPr>
            <p:cNvPr id="16" name="Group 15"/>
            <p:cNvGrpSpPr/>
            <p:nvPr/>
          </p:nvGrpSpPr>
          <p:grpSpPr>
            <a:xfrm>
              <a:off x="8344093" y="2740721"/>
              <a:ext cx="870988" cy="1034866"/>
              <a:chOff x="8344093" y="2740721"/>
              <a:chExt cx="870988" cy="1034866"/>
            </a:xfrm>
          </p:grpSpPr>
          <p:pic>
            <p:nvPicPr>
              <p:cNvPr id="68" name="Picture 67"/>
              <p:cNvPicPr>
                <a:picLocks noChangeAspect="1"/>
              </p:cNvPicPr>
              <p:nvPr/>
            </p:nvPicPr>
            <p:blipFill rotWithShape="1">
              <a:blip r:embed="rId25" cstate="print">
                <a:extLst>
                  <a:ext uri="{28A0092B-C50C-407E-A947-70E740481C1C}">
                    <a14:useLocalDpi xmlns:a14="http://schemas.microsoft.com/office/drawing/2010/main" val="0"/>
                  </a:ext>
                </a:extLst>
              </a:blip>
              <a:srcRect l="8703" r="8703"/>
              <a:stretch/>
            </p:blipFill>
            <p:spPr>
              <a:xfrm>
                <a:off x="8344093" y="2740721"/>
                <a:ext cx="585825" cy="844975"/>
              </a:xfrm>
              <a:prstGeom prst="rect">
                <a:avLst/>
              </a:prstGeom>
              <a:ln w="44450">
                <a:solidFill>
                  <a:srgbClr val="5C2D91"/>
                </a:solidFill>
              </a:ln>
            </p:spPr>
          </p:pic>
          <p:pic>
            <p:nvPicPr>
              <p:cNvPr id="69" name="Picture 68"/>
              <p:cNvPicPr>
                <a:picLocks noChangeAspect="1"/>
              </p:cNvPicPr>
              <p:nvPr/>
            </p:nvPicPr>
            <p:blipFill rotWithShape="1">
              <a:blip r:embed="rId26" cstate="print">
                <a:extLst>
                  <a:ext uri="{28A0092B-C50C-407E-A947-70E740481C1C}">
                    <a14:useLocalDpi xmlns:a14="http://schemas.microsoft.com/office/drawing/2010/main" val="0"/>
                  </a:ext>
                </a:extLst>
              </a:blip>
              <a:srcRect l="3299" r="3299"/>
              <a:stretch/>
            </p:blipFill>
            <p:spPr>
              <a:xfrm>
                <a:off x="8485704" y="2834267"/>
                <a:ext cx="585825" cy="844975"/>
              </a:xfrm>
              <a:prstGeom prst="rect">
                <a:avLst/>
              </a:prstGeom>
              <a:ln w="44450">
                <a:solidFill>
                  <a:srgbClr val="5C2D91"/>
                </a:solidFill>
              </a:ln>
            </p:spPr>
          </p:pic>
          <p:pic>
            <p:nvPicPr>
              <p:cNvPr id="70" name="Picture 69"/>
              <p:cNvPicPr>
                <a:picLocks noChangeAspect="1"/>
              </p:cNvPicPr>
              <p:nvPr/>
            </p:nvPicPr>
            <p:blipFill rotWithShape="1">
              <a:blip r:embed="rId27" cstate="print">
                <a:extLst>
                  <a:ext uri="{28A0092B-C50C-407E-A947-70E740481C1C}">
                    <a14:useLocalDpi xmlns:a14="http://schemas.microsoft.com/office/drawing/2010/main" val="0"/>
                  </a:ext>
                </a:extLst>
              </a:blip>
              <a:srcRect l="13136" t="479" r="13136" b="-479"/>
              <a:stretch/>
            </p:blipFill>
            <p:spPr>
              <a:xfrm>
                <a:off x="8627314" y="2927813"/>
                <a:ext cx="587767" cy="847774"/>
              </a:xfrm>
              <a:prstGeom prst="rect">
                <a:avLst/>
              </a:prstGeom>
              <a:ln w="44450">
                <a:solidFill>
                  <a:srgbClr val="5C2D91"/>
                </a:solidFill>
              </a:ln>
            </p:spPr>
          </p:pic>
        </p:grpSp>
        <p:grpSp>
          <p:nvGrpSpPr>
            <p:cNvPr id="10" name="Group 9"/>
            <p:cNvGrpSpPr/>
            <p:nvPr/>
          </p:nvGrpSpPr>
          <p:grpSpPr>
            <a:xfrm>
              <a:off x="10401291" y="2771181"/>
              <a:ext cx="887225" cy="1034868"/>
              <a:chOff x="10477254" y="2771181"/>
              <a:chExt cx="887225" cy="1034868"/>
            </a:xfrm>
          </p:grpSpPr>
          <p:pic>
            <p:nvPicPr>
              <p:cNvPr id="71" name="Picture 70"/>
              <p:cNvPicPr>
                <a:picLocks noChangeAspect="1"/>
              </p:cNvPicPr>
              <p:nvPr/>
            </p:nvPicPr>
            <p:blipFill rotWithShape="1">
              <a:blip r:embed="rId28" cstate="print">
                <a:extLst>
                  <a:ext uri="{28A0092B-C50C-407E-A947-70E740481C1C}">
                    <a14:useLocalDpi xmlns:a14="http://schemas.microsoft.com/office/drawing/2010/main" val="0"/>
                  </a:ext>
                </a:extLst>
              </a:blip>
              <a:srcRect l="5894" r="5894"/>
              <a:stretch/>
            </p:blipFill>
            <p:spPr>
              <a:xfrm>
                <a:off x="10477254" y="2771181"/>
                <a:ext cx="585825" cy="844976"/>
              </a:xfrm>
              <a:prstGeom prst="rect">
                <a:avLst/>
              </a:prstGeom>
              <a:ln w="44450">
                <a:solidFill>
                  <a:srgbClr val="5C2D91"/>
                </a:solidFill>
              </a:ln>
            </p:spPr>
          </p:pic>
          <p:pic>
            <p:nvPicPr>
              <p:cNvPr id="72" name="Picture 71"/>
              <p:cNvPicPr>
                <a:picLocks noChangeAspect="1"/>
              </p:cNvPicPr>
              <p:nvPr/>
            </p:nvPicPr>
            <p:blipFill rotWithShape="1">
              <a:blip r:embed="rId29" cstate="print">
                <a:extLst>
                  <a:ext uri="{28A0092B-C50C-407E-A947-70E740481C1C}">
                    <a14:useLocalDpi xmlns:a14="http://schemas.microsoft.com/office/drawing/2010/main" val="0"/>
                  </a:ext>
                </a:extLst>
              </a:blip>
              <a:srcRect l="6000" r="6000"/>
              <a:stretch/>
            </p:blipFill>
            <p:spPr>
              <a:xfrm>
                <a:off x="10628676" y="2866128"/>
                <a:ext cx="585825" cy="844976"/>
              </a:xfrm>
              <a:prstGeom prst="rect">
                <a:avLst/>
              </a:prstGeom>
              <a:ln w="44450">
                <a:solidFill>
                  <a:srgbClr val="5C2D91"/>
                </a:solidFill>
              </a:ln>
            </p:spPr>
          </p:pic>
          <p:pic>
            <p:nvPicPr>
              <p:cNvPr id="73" name="Picture 72"/>
              <p:cNvPicPr>
                <a:picLocks noChangeAspect="1"/>
              </p:cNvPicPr>
              <p:nvPr/>
            </p:nvPicPr>
            <p:blipFill rotWithShape="1">
              <a:blip r:embed="rId30" cstate="print">
                <a:extLst>
                  <a:ext uri="{28A0092B-C50C-407E-A947-70E740481C1C}">
                    <a14:useLocalDpi xmlns:a14="http://schemas.microsoft.com/office/drawing/2010/main" val="0"/>
                  </a:ext>
                </a:extLst>
              </a:blip>
              <a:srcRect l="9583" r="9583"/>
              <a:stretch/>
            </p:blipFill>
            <p:spPr>
              <a:xfrm>
                <a:off x="10780098" y="2961073"/>
                <a:ext cx="584381" cy="844976"/>
              </a:xfrm>
              <a:prstGeom prst="rect">
                <a:avLst/>
              </a:prstGeom>
              <a:ln w="44450">
                <a:solidFill>
                  <a:srgbClr val="5C2D91"/>
                </a:solidFill>
              </a:ln>
            </p:spPr>
          </p:pic>
        </p:grpSp>
        <p:grpSp>
          <p:nvGrpSpPr>
            <p:cNvPr id="15" name="Group 14"/>
            <p:cNvGrpSpPr/>
            <p:nvPr/>
          </p:nvGrpSpPr>
          <p:grpSpPr>
            <a:xfrm>
              <a:off x="9373663" y="3276202"/>
              <a:ext cx="869046" cy="1011706"/>
              <a:chOff x="9467757" y="3276202"/>
              <a:chExt cx="869046" cy="1011706"/>
            </a:xfrm>
          </p:grpSpPr>
          <p:pic>
            <p:nvPicPr>
              <p:cNvPr id="66" name="Picture 65"/>
              <p:cNvPicPr>
                <a:picLocks noChangeAspect="1"/>
              </p:cNvPicPr>
              <p:nvPr/>
            </p:nvPicPr>
            <p:blipFill rotWithShape="1">
              <a:blip r:embed="rId31">
                <a:extLst>
                  <a:ext uri="{28A0092B-C50C-407E-A947-70E740481C1C}">
                    <a14:useLocalDpi xmlns:a14="http://schemas.microsoft.com/office/drawing/2010/main" val="0"/>
                  </a:ext>
                </a:extLst>
              </a:blip>
              <a:srcRect t="410" b="410"/>
              <a:stretch/>
            </p:blipFill>
            <p:spPr>
              <a:xfrm>
                <a:off x="9467757" y="3276202"/>
                <a:ext cx="585825" cy="844976"/>
              </a:xfrm>
              <a:prstGeom prst="rect">
                <a:avLst/>
              </a:prstGeom>
              <a:ln w="44450">
                <a:solidFill>
                  <a:srgbClr val="5C2D91"/>
                </a:solidFill>
              </a:ln>
            </p:spPr>
          </p:pic>
          <p:pic>
            <p:nvPicPr>
              <p:cNvPr id="67" name="Picture 66"/>
              <p:cNvPicPr>
                <a:picLocks noChangeAspect="1"/>
              </p:cNvPicPr>
              <p:nvPr/>
            </p:nvPicPr>
            <p:blipFill rotWithShape="1">
              <a:blip r:embed="rId32">
                <a:extLst>
                  <a:ext uri="{28A0092B-C50C-407E-A947-70E740481C1C}">
                    <a14:useLocalDpi xmlns:a14="http://schemas.microsoft.com/office/drawing/2010/main" val="0"/>
                  </a:ext>
                </a:extLst>
              </a:blip>
              <a:srcRect l="20390" r="20390"/>
              <a:stretch/>
            </p:blipFill>
            <p:spPr>
              <a:xfrm>
                <a:off x="9609368" y="3354757"/>
                <a:ext cx="585825" cy="844976"/>
              </a:xfrm>
              <a:prstGeom prst="rect">
                <a:avLst/>
              </a:prstGeom>
              <a:ln w="44450">
                <a:solidFill>
                  <a:srgbClr val="5C2D91"/>
                </a:solidFill>
              </a:ln>
            </p:spPr>
          </p:pic>
          <p:pic>
            <p:nvPicPr>
              <p:cNvPr id="74" name="Picture 73"/>
              <p:cNvPicPr>
                <a:picLocks noChangeAspect="1"/>
              </p:cNvPicPr>
              <p:nvPr/>
            </p:nvPicPr>
            <p:blipFill rotWithShape="1">
              <a:blip r:embed="rId18">
                <a:extLst>
                  <a:ext uri="{28A0092B-C50C-407E-A947-70E740481C1C}">
                    <a14:useLocalDpi xmlns:a14="http://schemas.microsoft.com/office/drawing/2010/main" val="0"/>
                  </a:ext>
                </a:extLst>
              </a:blip>
              <a:srcRect l="8102" r="8102"/>
              <a:stretch/>
            </p:blipFill>
            <p:spPr>
              <a:xfrm>
                <a:off x="9750978" y="3442932"/>
                <a:ext cx="585825" cy="844976"/>
              </a:xfrm>
              <a:prstGeom prst="rect">
                <a:avLst/>
              </a:prstGeom>
              <a:ln w="44450">
                <a:solidFill>
                  <a:srgbClr val="5C2D91"/>
                </a:solidFill>
              </a:ln>
            </p:spPr>
          </p:pic>
        </p:grpSp>
        <p:grpSp>
          <p:nvGrpSpPr>
            <p:cNvPr id="5" name="Group 4"/>
            <p:cNvGrpSpPr/>
            <p:nvPr/>
          </p:nvGrpSpPr>
          <p:grpSpPr>
            <a:xfrm>
              <a:off x="11447098" y="3276202"/>
              <a:ext cx="888668" cy="1011706"/>
              <a:chOff x="11447098" y="3276202"/>
              <a:chExt cx="888668" cy="1011706"/>
            </a:xfrm>
          </p:grpSpPr>
          <p:pic>
            <p:nvPicPr>
              <p:cNvPr id="75" name="Picture 74"/>
              <p:cNvPicPr>
                <a:picLocks noChangeAspect="1"/>
              </p:cNvPicPr>
              <p:nvPr/>
            </p:nvPicPr>
            <p:blipFill rotWithShape="1">
              <a:blip r:embed="rId33" cstate="print">
                <a:extLst>
                  <a:ext uri="{28A0092B-C50C-407E-A947-70E740481C1C}">
                    <a14:useLocalDpi xmlns:a14="http://schemas.microsoft.com/office/drawing/2010/main" val="0"/>
                  </a:ext>
                </a:extLst>
              </a:blip>
              <a:srcRect l="3086" r="3086"/>
              <a:stretch/>
            </p:blipFill>
            <p:spPr>
              <a:xfrm>
                <a:off x="11447098" y="3276202"/>
                <a:ext cx="585825" cy="844976"/>
              </a:xfrm>
              <a:prstGeom prst="rect">
                <a:avLst/>
              </a:prstGeom>
              <a:ln w="44450">
                <a:solidFill>
                  <a:srgbClr val="5C2D91"/>
                </a:solidFill>
              </a:ln>
            </p:spPr>
          </p:pic>
          <p:pic>
            <p:nvPicPr>
              <p:cNvPr id="76" name="Picture 75"/>
              <p:cNvPicPr>
                <a:picLocks noChangeAspect="1"/>
              </p:cNvPicPr>
              <p:nvPr/>
            </p:nvPicPr>
            <p:blipFill rotWithShape="1">
              <a:blip r:embed="rId34">
                <a:extLst>
                  <a:ext uri="{28A0092B-C50C-407E-A947-70E740481C1C}">
                    <a14:useLocalDpi xmlns:a14="http://schemas.microsoft.com/office/drawing/2010/main" val="0"/>
                  </a:ext>
                </a:extLst>
              </a:blip>
              <a:srcRect t="1818" b="1818"/>
              <a:stretch/>
            </p:blipFill>
            <p:spPr>
              <a:xfrm>
                <a:off x="11598520" y="3354757"/>
                <a:ext cx="585825" cy="844976"/>
              </a:xfrm>
              <a:prstGeom prst="rect">
                <a:avLst/>
              </a:prstGeom>
              <a:ln w="44450">
                <a:solidFill>
                  <a:srgbClr val="5C2D91"/>
                </a:solidFill>
              </a:ln>
            </p:spPr>
          </p:pic>
          <p:pic>
            <p:nvPicPr>
              <p:cNvPr id="77" name="Picture 76"/>
              <p:cNvPicPr>
                <a:picLocks noChangeAspect="1"/>
              </p:cNvPicPr>
              <p:nvPr/>
            </p:nvPicPr>
            <p:blipFill rotWithShape="1">
              <a:blip r:embed="rId16">
                <a:extLst>
                  <a:ext uri="{28A0092B-C50C-407E-A947-70E740481C1C}">
                    <a14:useLocalDpi xmlns:a14="http://schemas.microsoft.com/office/drawing/2010/main" val="0"/>
                  </a:ext>
                </a:extLst>
              </a:blip>
              <a:srcRect l="5107" r="5107"/>
              <a:stretch/>
            </p:blipFill>
            <p:spPr>
              <a:xfrm>
                <a:off x="11749941" y="3442932"/>
                <a:ext cx="585825" cy="844976"/>
              </a:xfrm>
              <a:prstGeom prst="rect">
                <a:avLst/>
              </a:prstGeom>
              <a:ln w="44450">
                <a:solidFill>
                  <a:srgbClr val="5C2D91"/>
                </a:solidFill>
              </a:ln>
            </p:spPr>
          </p:pic>
        </p:grpSp>
        <p:sp>
          <p:nvSpPr>
            <p:cNvPr id="143" name="Rectangle 10"/>
            <p:cNvSpPr/>
            <p:nvPr/>
          </p:nvSpPr>
          <p:spPr>
            <a:xfrm>
              <a:off x="8136491" y="2257280"/>
              <a:ext cx="4245416" cy="369332"/>
            </a:xfrm>
            <a:prstGeom prst="rect">
              <a:avLst/>
            </a:prstGeom>
            <a:solidFill>
              <a:srgbClr val="5C2D91"/>
            </a:solidFill>
            <a:ln w="44450">
              <a:solidFill>
                <a:srgbClr val="5C2D91"/>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effectLst/>
                  <a:uLnTx/>
                  <a:uFillTx/>
                </a:rPr>
                <a:t>Grouping</a:t>
              </a:r>
            </a:p>
          </p:txBody>
        </p:sp>
      </p:grpSp>
      <p:grpSp>
        <p:nvGrpSpPr>
          <p:cNvPr id="145" name="Group 144"/>
          <p:cNvGrpSpPr/>
          <p:nvPr/>
        </p:nvGrpSpPr>
        <p:grpSpPr>
          <a:xfrm>
            <a:off x="7760801" y="4587617"/>
            <a:ext cx="4203034" cy="2087946"/>
            <a:chOff x="8148785" y="-19302"/>
            <a:chExt cx="4287314" cy="2129814"/>
          </a:xfrm>
        </p:grpSpPr>
        <p:sp>
          <p:nvSpPr>
            <p:cNvPr id="146" name="TextBox 145"/>
            <p:cNvSpPr txBox="1"/>
            <p:nvPr/>
          </p:nvSpPr>
          <p:spPr>
            <a:xfrm>
              <a:off x="8149699" y="350030"/>
              <a:ext cx="4286400" cy="1760482"/>
            </a:xfrm>
            <a:prstGeom prst="rect">
              <a:avLst/>
            </a:prstGeom>
            <a:noFill/>
            <a:ln w="38100">
              <a:solidFill>
                <a:srgbClr val="5C2D91"/>
              </a:solidFill>
            </a:ln>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1372" b="0" i="0" u="none" strike="noStrike" kern="0" cap="none" spc="0" normalizeH="0" baseline="0" noProof="0" dirty="0">
                  <a:ln>
                    <a:noFill/>
                  </a:ln>
                  <a:solidFill>
                    <a:schemeClr val="bg1"/>
                  </a:solidFill>
                  <a:effectLst/>
                  <a:uLnTx/>
                  <a:uFillTx/>
                </a:rPr>
                <a:t>He is Chao Wang…</a:t>
              </a: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1372"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1372"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1372"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980" b="0" i="0" u="none" strike="noStrike" kern="0" cap="none" spc="0" normalizeH="0" baseline="0" noProof="0" dirty="0">
                <a:ln>
                  <a:noFill/>
                </a:ln>
                <a:solidFill>
                  <a:schemeClr val="bg1"/>
                </a:solidFill>
                <a:effectLst/>
                <a:uLnTx/>
                <a:uFillTx/>
              </a:endParaRPr>
            </a:p>
            <a:p>
              <a:pPr marL="0" marR="0" lvl="0" indent="0" defTabSz="914400" eaLnBrk="1" fontAlgn="auto" latinLnBrk="0" hangingPunct="1">
                <a:lnSpc>
                  <a:spcPct val="90000"/>
                </a:lnSpc>
                <a:spcBef>
                  <a:spcPts val="0"/>
                </a:spcBef>
                <a:spcAft>
                  <a:spcPts val="588"/>
                </a:spcAft>
                <a:buClrTx/>
                <a:buSzTx/>
                <a:buFontTx/>
                <a:buNone/>
                <a:tabLst/>
                <a:defRPr/>
              </a:pPr>
              <a:endParaRPr kumimoji="0" lang="en-US" sz="1176" b="0" i="0" u="none" strike="noStrike" kern="0" cap="none" spc="0" normalizeH="0" baseline="0" noProof="0" dirty="0">
                <a:ln>
                  <a:noFill/>
                </a:ln>
                <a:solidFill>
                  <a:schemeClr val="bg1"/>
                </a:solidFill>
                <a:effectLst/>
                <a:uLnTx/>
                <a:uFillTx/>
              </a:endParaRPr>
            </a:p>
          </p:txBody>
        </p:sp>
        <p:sp>
          <p:nvSpPr>
            <p:cNvPr id="147" name="Rectangle 10"/>
            <p:cNvSpPr/>
            <p:nvPr/>
          </p:nvSpPr>
          <p:spPr>
            <a:xfrm>
              <a:off x="8148785" y="-19302"/>
              <a:ext cx="4287314" cy="374302"/>
            </a:xfrm>
            <a:prstGeom prst="rect">
              <a:avLst/>
            </a:prstGeom>
            <a:solidFill>
              <a:srgbClr val="5C2D91"/>
            </a:solidFill>
            <a:ln w="41275">
              <a:solidFill>
                <a:srgbClr val="5C2D91"/>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765" b="1" i="0" u="none" strike="noStrike" kern="0" cap="none" spc="0" normalizeH="0" baseline="0" noProof="0" dirty="0">
                  <a:ln>
                    <a:noFill/>
                  </a:ln>
                  <a:effectLst/>
                  <a:uLnTx/>
                  <a:uFillTx/>
                </a:rPr>
                <a:t>Identity</a:t>
              </a:r>
            </a:p>
          </p:txBody>
        </p:sp>
      </p:grpSp>
      <p:pic>
        <p:nvPicPr>
          <p:cNvPr id="124" name="Picture 123"/>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20000"/>
                    </a14:imgEffect>
                  </a14:imgLayer>
                </a14:imgProps>
              </a:ext>
            </a:extLst>
          </a:blip>
          <a:srcRect l="18701" r="18701"/>
          <a:stretch/>
        </p:blipFill>
        <p:spPr>
          <a:xfrm>
            <a:off x="9556245" y="5093344"/>
            <a:ext cx="360501" cy="579248"/>
          </a:xfrm>
          <a:prstGeom prst="rect">
            <a:avLst/>
          </a:prstGeom>
          <a:ln w="25400">
            <a:solidFill>
              <a:srgbClr val="FFFFFF"/>
            </a:solidFill>
          </a:ln>
        </p:spPr>
      </p:pic>
      <p:sp>
        <p:nvSpPr>
          <p:cNvPr id="150" name="Freeform 5"/>
          <p:cNvSpPr>
            <a:spLocks/>
          </p:cNvSpPr>
          <p:nvPr/>
        </p:nvSpPr>
        <p:spPr bwMode="auto">
          <a:xfrm>
            <a:off x="-9410" y="286616"/>
            <a:ext cx="1314469" cy="899410"/>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01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89621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latin typeface="Calibri" panose="020F0502020204030204"/>
            </a:endParaRPr>
          </a:p>
        </p:txBody>
      </p:sp>
      <p:pic>
        <p:nvPicPr>
          <p:cNvPr id="151" name="Picture 150" descr="Screen Clipping"/>
          <p:cNvPicPr>
            <a:picLocks noChangeAspect="1"/>
          </p:cNvPicPr>
          <p:nvPr/>
        </p:nvPicPr>
        <p:blipFill>
          <a:blip r:embed="rId35" cstate="print">
            <a:clrChange>
              <a:clrFrom>
                <a:srgbClr val="00B294"/>
              </a:clrFrom>
              <a:clrTo>
                <a:srgbClr val="00B294">
                  <a:alpha val="0"/>
                </a:srgbClr>
              </a:clrTo>
            </a:clrChange>
            <a:duotone>
              <a:prstClr val="black"/>
              <a:sysClr val="window" lastClr="FFFFFF">
                <a:tint val="45000"/>
                <a:satMod val="400000"/>
              </a:sysClr>
            </a:duotone>
            <a:extLst>
              <a:ext uri="{28A0092B-C50C-407E-A947-70E740481C1C}">
                <a14:useLocalDpi xmlns:a14="http://schemas.microsoft.com/office/drawing/2010/main" val="0"/>
              </a:ext>
            </a:extLst>
          </a:blip>
          <a:stretch>
            <a:fillRect/>
          </a:stretch>
        </p:blipFill>
        <p:spPr>
          <a:xfrm>
            <a:off x="189041" y="361381"/>
            <a:ext cx="742581" cy="748569"/>
          </a:xfrm>
          <a:prstGeom prst="rect">
            <a:avLst/>
          </a:prstGeom>
          <a:noFill/>
        </p:spPr>
      </p:pic>
    </p:spTree>
    <p:extLst>
      <p:ext uri="{BB962C8B-B14F-4D97-AF65-F5344CB8AC3E}">
        <p14:creationId xmlns:p14="http://schemas.microsoft.com/office/powerpoint/2010/main" val="179819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a:t>
            </a:r>
            <a:r>
              <a:rPr lang="fr-FR" dirty="0" err="1" smtClean="0"/>
              <a:t>IoT</a:t>
            </a:r>
            <a:r>
              <a:rPr lang="fr-FR" dirty="0" smtClean="0"/>
              <a:t> ?</a:t>
            </a:r>
            <a:endParaRPr lang="fr-FR" dirty="0"/>
          </a:p>
        </p:txBody>
      </p:sp>
      <p:sp>
        <p:nvSpPr>
          <p:cNvPr id="3" name="Espace réservé du texte 2"/>
          <p:cNvSpPr>
            <a:spLocks noGrp="1"/>
          </p:cNvSpPr>
          <p:nvPr>
            <p:ph type="body" sz="quarter" idx="13"/>
          </p:nvPr>
        </p:nvSpPr>
        <p:spPr/>
        <p:txBody>
          <a:bodyPr/>
          <a:lstStyle/>
          <a:p>
            <a:endParaRPr lang="fr-FR"/>
          </a:p>
        </p:txBody>
      </p:sp>
      <p:pic>
        <p:nvPicPr>
          <p:cNvPr id="4" name="Picture 4"/>
          <p:cNvPicPr>
            <a:picLocks noChangeAspect="1"/>
          </p:cNvPicPr>
          <p:nvPr/>
        </p:nvPicPr>
        <p:blipFill>
          <a:blip r:embed="rId2"/>
          <a:stretch>
            <a:fillRect/>
          </a:stretch>
        </p:blipFill>
        <p:spPr>
          <a:xfrm>
            <a:off x="3371621" y="1875572"/>
            <a:ext cx="5689115" cy="4266836"/>
          </a:xfrm>
          <a:prstGeom prst="rect">
            <a:avLst/>
          </a:prstGeom>
        </p:spPr>
      </p:pic>
    </p:spTree>
    <p:extLst>
      <p:ext uri="{BB962C8B-B14F-4D97-AF65-F5344CB8AC3E}">
        <p14:creationId xmlns:p14="http://schemas.microsoft.com/office/powerpoint/2010/main" val="66454501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bwMode="auto">
          <a:xfrm>
            <a:off x="1" y="-7812"/>
            <a:ext cx="4377852" cy="6857027"/>
          </a:xfrm>
          <a:prstGeom prst="rect">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7" name="Rectangle 6"/>
          <p:cNvSpPr/>
          <p:nvPr/>
        </p:nvSpPr>
        <p:spPr>
          <a:xfrm>
            <a:off x="269239" y="1860257"/>
            <a:ext cx="3660401" cy="4918139"/>
          </a:xfrm>
          <a:prstGeom prst="rect">
            <a:avLst/>
          </a:prstGeom>
        </p:spPr>
        <p:txBody>
          <a:bodyPr wrap="square">
            <a:spAutoFit/>
          </a:bodyPr>
          <a:lstStyle/>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Identifies emotions based on expressions that psychologic research identifies as universal: Happiness, Surprise, Sadness, Anger, Fear, and Disgust</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Has been trained to identify emotions in-the-wild.</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A solution for analyzing individual responses to media and products, to crowd analytics, and to enhanced personalization</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Get insights into how your users react to content and experience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Track facial expressions for multiple users over time.</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p:txBody>
      </p:sp>
      <p:sp>
        <p:nvSpPr>
          <p:cNvPr id="98" name="Title 2"/>
          <p:cNvSpPr txBox="1">
            <a:spLocks/>
          </p:cNvSpPr>
          <p:nvPr/>
        </p:nvSpPr>
        <p:spPr>
          <a:xfrm>
            <a:off x="1315068" y="440918"/>
            <a:ext cx="5110865" cy="617662"/>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IN" sz="4313" b="0" i="0" u="none" strike="noStrike" kern="1200" cap="none" spc="-100" normalizeH="0" baseline="0" noProof="0" dirty="0">
                <a:ln w="3175">
                  <a:noFill/>
                </a:ln>
                <a:solidFill>
                  <a:schemeClr val="tx1"/>
                </a:solidFill>
                <a:effectLst/>
                <a:uLnTx/>
                <a:uFillTx/>
                <a:latin typeface="+mj-lt"/>
                <a:ea typeface="+mj-ea"/>
                <a:cs typeface="Segoe UI" pitchFamily="34" charset="0"/>
              </a:rPr>
              <a:t>Emotion APIs</a:t>
            </a:r>
            <a:endParaRPr kumimoji="0" lang="en-IN" sz="4313" b="0" i="0" u="none" strike="noStrike" kern="1200" cap="none" spc="0" normalizeH="0" baseline="0" noProof="0" dirty="0">
              <a:ln>
                <a:noFill/>
              </a:ln>
              <a:solidFill>
                <a:schemeClr val="tx1"/>
              </a:solidFill>
              <a:effectLst/>
              <a:uLnTx/>
              <a:uFillTx/>
              <a:latin typeface="+mj-lt"/>
              <a:ea typeface="+mj-ea"/>
              <a:cs typeface="+mj-cs"/>
            </a:endParaRPr>
          </a:p>
          <a:p>
            <a:pPr marL="0" marR="0" lvl="0" indent="0" algn="l" defTabSz="932597" rtl="0" eaLnBrk="1" fontAlgn="auto" latinLnBrk="0" hangingPunct="1">
              <a:lnSpc>
                <a:spcPct val="90000"/>
              </a:lnSpc>
              <a:spcBef>
                <a:spcPct val="0"/>
              </a:spcBef>
              <a:spcAft>
                <a:spcPts val="0"/>
              </a:spcAft>
              <a:buClrTx/>
              <a:buSzTx/>
              <a:buFontTx/>
              <a:buNone/>
              <a:tabLst/>
              <a:defRPr/>
            </a:pPr>
            <a:endParaRPr kumimoji="0" lang="en-IN" sz="1961" b="0" i="0" u="none" strike="noStrike" kern="1200" cap="none" spc="0" normalizeH="0" baseline="0" noProof="0" dirty="0">
              <a:ln>
                <a:noFill/>
              </a:ln>
              <a:solidFill>
                <a:schemeClr val="bg1"/>
              </a:solidFill>
              <a:effectLst/>
              <a:uLnTx/>
              <a:uFillTx/>
              <a:latin typeface="+mj-lt"/>
              <a:ea typeface="+mj-ea"/>
              <a:cs typeface="+mj-cs"/>
            </a:endParaRP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312" t="30022" r="-1" b="11363"/>
          <a:stretch/>
        </p:blipFill>
        <p:spPr>
          <a:xfrm>
            <a:off x="4377852" y="487"/>
            <a:ext cx="7814149" cy="3083109"/>
          </a:xfrm>
          <a:prstGeom prst="rect">
            <a:avLst/>
          </a:prstGeom>
        </p:spPr>
      </p:pic>
      <p:pic>
        <p:nvPicPr>
          <p:cNvPr id="10" name="Picture 9"/>
          <p:cNvPicPr>
            <a:picLocks noChangeAspect="1"/>
          </p:cNvPicPr>
          <p:nvPr/>
        </p:nvPicPr>
        <p:blipFill>
          <a:blip r:embed="rId4"/>
          <a:stretch>
            <a:fillRect/>
          </a:stretch>
        </p:blipFill>
        <p:spPr>
          <a:xfrm>
            <a:off x="5946596" y="3219871"/>
            <a:ext cx="4338953" cy="3493070"/>
          </a:xfrm>
          <a:prstGeom prst="rect">
            <a:avLst/>
          </a:prstGeom>
        </p:spPr>
      </p:pic>
      <p:sp>
        <p:nvSpPr>
          <p:cNvPr id="14" name="Freeform 5"/>
          <p:cNvSpPr>
            <a:spLocks/>
          </p:cNvSpPr>
          <p:nvPr/>
        </p:nvSpPr>
        <p:spPr bwMode="auto">
          <a:xfrm>
            <a:off x="1" y="286616"/>
            <a:ext cx="1352107" cy="899410"/>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01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89621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pic>
        <p:nvPicPr>
          <p:cNvPr id="15" name="Picture 14"/>
          <p:cNvPicPr>
            <a:picLocks noChangeAspect="1"/>
          </p:cNvPicPr>
          <p:nvPr/>
        </p:nvPicPr>
        <p:blipFill rotWithShape="1">
          <a:blip r:embed="rId5"/>
          <a:srcRect t="1" r="6953" b="5294"/>
          <a:stretch/>
        </p:blipFill>
        <p:spPr>
          <a:xfrm>
            <a:off x="1" y="331121"/>
            <a:ext cx="986067" cy="767487"/>
          </a:xfrm>
          <a:prstGeom prst="rect">
            <a:avLst/>
          </a:prstGeom>
        </p:spPr>
      </p:pic>
    </p:spTree>
    <p:extLst>
      <p:ext uri="{BB962C8B-B14F-4D97-AF65-F5344CB8AC3E}">
        <p14:creationId xmlns:p14="http://schemas.microsoft.com/office/powerpoint/2010/main" val="3574571313"/>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720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t="19225" b="17628"/>
          <a:stretch/>
        </p:blipFill>
        <p:spPr>
          <a:xfrm>
            <a:off x="4377852" y="4146795"/>
            <a:ext cx="7814148" cy="2702421"/>
          </a:xfrm>
          <a:prstGeom prst="rect">
            <a:avLst/>
          </a:prstGeom>
        </p:spPr>
      </p:pic>
      <p:pic>
        <p:nvPicPr>
          <p:cNvPr id="18" name="Picture 4" descr="https://microsoft.sharepoint.com/teams/BrandCentral/BundleImages/3958WIN13_Josee_04/PreviewImage.png"/>
          <p:cNvPicPr>
            <a:picLocks noChangeAspect="1" noChangeArrowheads="1"/>
          </p:cNvPicPr>
          <p:nvPr/>
        </p:nvPicPr>
        <p:blipFill rotWithShape="1">
          <a:blip r:embed="rId6">
            <a:extLst>
              <a:ext uri="{28A0092B-C50C-407E-A947-70E740481C1C}">
                <a14:useLocalDpi xmlns:a14="http://schemas.microsoft.com/office/drawing/2010/main" val="0"/>
              </a:ext>
            </a:extLst>
          </a:blip>
          <a:srcRect l="9842" t="29323" r="1929"/>
          <a:stretch/>
        </p:blipFill>
        <p:spPr bwMode="auto">
          <a:xfrm>
            <a:off x="4377853" y="-7295"/>
            <a:ext cx="7814148" cy="4173107"/>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p:cNvSpPr/>
          <p:nvPr/>
        </p:nvSpPr>
        <p:spPr bwMode="auto">
          <a:xfrm>
            <a:off x="1" y="-7812"/>
            <a:ext cx="4377852" cy="6857027"/>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7" name="Rectangle 6"/>
          <p:cNvSpPr/>
          <p:nvPr/>
        </p:nvSpPr>
        <p:spPr>
          <a:xfrm>
            <a:off x="269239" y="1860257"/>
            <a:ext cx="3660401" cy="2262947"/>
          </a:xfrm>
          <a:prstGeom prst="rect">
            <a:avLst/>
          </a:prstGeom>
        </p:spPr>
        <p:txBody>
          <a:bodyPr wrap="square">
            <a:spAutoFit/>
          </a:bodyPr>
          <a:lstStyle/>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Stabilization – Smooth and stabilize shaky video</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Face Detection and Tracking – Detect and track faces in video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Motion Detection – Detect when motion occur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p:txBody>
      </p:sp>
      <p:sp>
        <p:nvSpPr>
          <p:cNvPr id="98" name="Title 2"/>
          <p:cNvSpPr txBox="1">
            <a:spLocks/>
          </p:cNvSpPr>
          <p:nvPr/>
        </p:nvSpPr>
        <p:spPr>
          <a:xfrm>
            <a:off x="1465112" y="440918"/>
            <a:ext cx="4960821" cy="617662"/>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IN" sz="4313" b="0" i="0" u="none" strike="noStrike" kern="1200" cap="none" spc="-100" normalizeH="0" baseline="0" noProof="0" dirty="0">
                <a:ln w="3175">
                  <a:noFill/>
                </a:ln>
                <a:solidFill>
                  <a:schemeClr val="tx1"/>
                </a:solidFill>
                <a:effectLst/>
                <a:uLnTx/>
                <a:uFillTx/>
                <a:latin typeface="+mj-lt"/>
                <a:ea typeface="+mj-ea"/>
                <a:cs typeface="Segoe UI" pitchFamily="34" charset="0"/>
              </a:rPr>
              <a:t>Video APIs</a:t>
            </a:r>
            <a:endParaRPr kumimoji="0" lang="en-IN" sz="4313" b="0" i="0" u="none" strike="noStrike" kern="1200" cap="none" spc="0" normalizeH="0" baseline="0" noProof="0" dirty="0">
              <a:ln>
                <a:noFill/>
              </a:ln>
              <a:solidFill>
                <a:schemeClr val="tx1"/>
              </a:solidFill>
              <a:effectLst/>
              <a:uLnTx/>
              <a:uFillTx/>
              <a:latin typeface="+mj-lt"/>
              <a:ea typeface="+mj-ea"/>
              <a:cs typeface="+mj-cs"/>
            </a:endParaRPr>
          </a:p>
          <a:p>
            <a:pPr marL="0" marR="0" lvl="0" indent="0" algn="l" defTabSz="932597" rtl="0" eaLnBrk="1" fontAlgn="auto" latinLnBrk="0" hangingPunct="1">
              <a:lnSpc>
                <a:spcPct val="90000"/>
              </a:lnSpc>
              <a:spcBef>
                <a:spcPct val="0"/>
              </a:spcBef>
              <a:spcAft>
                <a:spcPts val="0"/>
              </a:spcAft>
              <a:buClrTx/>
              <a:buSzTx/>
              <a:buFontTx/>
              <a:buNone/>
              <a:tabLst/>
              <a:defRPr/>
            </a:pPr>
            <a:endParaRPr kumimoji="0" lang="en-IN" sz="1961" b="0" i="0" u="none" strike="noStrike" kern="1200" cap="none" spc="0" normalizeH="0" baseline="0" noProof="0" dirty="0">
              <a:ln>
                <a:noFill/>
              </a:ln>
              <a:solidFill>
                <a:schemeClr val="bg1"/>
              </a:solidFill>
              <a:effectLst/>
              <a:uLnTx/>
              <a:uFillTx/>
              <a:latin typeface="+mj-lt"/>
              <a:ea typeface="+mj-ea"/>
              <a:cs typeface="+mj-cs"/>
            </a:endParaRPr>
          </a:p>
        </p:txBody>
      </p:sp>
      <p:sp>
        <p:nvSpPr>
          <p:cNvPr id="12" name="Freeform 5"/>
          <p:cNvSpPr>
            <a:spLocks/>
          </p:cNvSpPr>
          <p:nvPr/>
        </p:nvSpPr>
        <p:spPr bwMode="auto">
          <a:xfrm>
            <a:off x="1" y="296618"/>
            <a:ext cx="1465111" cy="899410"/>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01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89621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pic>
        <p:nvPicPr>
          <p:cNvPr id="13" name="Picture 12"/>
          <p:cNvPicPr>
            <a:picLocks noChangeAspect="1"/>
          </p:cNvPicPr>
          <p:nvPr/>
        </p:nvPicPr>
        <p:blipFill>
          <a:blip r:embed="rId7"/>
          <a:stretch>
            <a:fillRect/>
          </a:stretch>
        </p:blipFill>
        <p:spPr>
          <a:xfrm>
            <a:off x="270050" y="469280"/>
            <a:ext cx="842481" cy="592239"/>
          </a:xfrm>
          <a:prstGeom prst="rect">
            <a:avLst/>
          </a:prstGeom>
        </p:spPr>
      </p:pic>
    </p:spTree>
    <p:extLst>
      <p:ext uri="{BB962C8B-B14F-4D97-AF65-F5344CB8AC3E}">
        <p14:creationId xmlns:p14="http://schemas.microsoft.com/office/powerpoint/2010/main" val="5809604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75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4" descr="https://microsoft.sharepoint.com/teams/BrandCentral/BundleImages/5830Surface_019_Cafe_Window_05173_VS_R1b/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3878"/>
          <a:stretch/>
        </p:blipFill>
        <p:spPr bwMode="auto">
          <a:xfrm flipH="1">
            <a:off x="4351448" y="-7813"/>
            <a:ext cx="7840553" cy="381032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0" name="Table 29"/>
          <p:cNvGraphicFramePr>
            <a:graphicFrameLocks noGrp="1"/>
          </p:cNvGraphicFramePr>
          <p:nvPr>
            <p:extLst/>
          </p:nvPr>
        </p:nvGraphicFramePr>
        <p:xfrm>
          <a:off x="4607286" y="4486310"/>
          <a:ext cx="7390179" cy="2308661"/>
        </p:xfrm>
        <a:graphic>
          <a:graphicData uri="http://schemas.openxmlformats.org/drawingml/2006/table">
            <a:tbl>
              <a:tblPr firstRow="1" bandRow="1">
                <a:tableStyleId>{5940675A-B579-460E-94D1-54222C63F5DA}</a:tableStyleId>
              </a:tblPr>
              <a:tblGrid>
                <a:gridCol w="2463393">
                  <a:extLst>
                    <a:ext uri="{9D8B030D-6E8A-4147-A177-3AD203B41FA5}">
                      <a16:colId xmlns:a16="http://schemas.microsoft.com/office/drawing/2014/main" val="20000"/>
                    </a:ext>
                  </a:extLst>
                </a:gridCol>
                <a:gridCol w="2463393">
                  <a:extLst>
                    <a:ext uri="{9D8B030D-6E8A-4147-A177-3AD203B41FA5}">
                      <a16:colId xmlns:a16="http://schemas.microsoft.com/office/drawing/2014/main" val="20001"/>
                    </a:ext>
                  </a:extLst>
                </a:gridCol>
                <a:gridCol w="2463393">
                  <a:extLst>
                    <a:ext uri="{9D8B030D-6E8A-4147-A177-3AD203B41FA5}">
                      <a16:colId xmlns:a16="http://schemas.microsoft.com/office/drawing/2014/main" val="20002"/>
                    </a:ext>
                  </a:extLst>
                </a:gridCol>
              </a:tblGrid>
              <a:tr h="2308661">
                <a:tc>
                  <a:txBody>
                    <a:bodyPr/>
                    <a:lstStyle/>
                    <a:p>
                      <a:endParaRPr lang="en-US" sz="1800" dirty="0">
                        <a:solidFill>
                          <a:schemeClr val="bg1"/>
                        </a:solidFill>
                      </a:endParaRPr>
                    </a:p>
                  </a:txBody>
                  <a:tcPr marL="89642" marR="89642" marT="44821" marB="44821">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tcPr>
                </a:tc>
                <a:tc>
                  <a:txBody>
                    <a:bodyPr/>
                    <a:lstStyle/>
                    <a:p>
                      <a:endParaRPr lang="en-US" sz="1800" dirty="0">
                        <a:solidFill>
                          <a:schemeClr val="bg1"/>
                        </a:solidFill>
                      </a:endParaRPr>
                    </a:p>
                  </a:txBody>
                  <a:tcPr marL="89642" marR="89642" marT="44821" marB="44821">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800" dirty="0">
                        <a:solidFill>
                          <a:schemeClr val="bg1"/>
                        </a:solidFill>
                      </a:endParaRPr>
                    </a:p>
                  </a:txBody>
                  <a:tcPr marL="89642" marR="89642" marT="44821" marB="44821">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TextBox 4"/>
          <p:cNvSpPr txBox="1"/>
          <p:nvPr/>
        </p:nvSpPr>
        <p:spPr>
          <a:xfrm>
            <a:off x="7065174" y="3877213"/>
            <a:ext cx="2467121" cy="600798"/>
          </a:xfrm>
          <a:prstGeom prst="rect">
            <a:avLst/>
          </a:prstGeom>
          <a:solidFill>
            <a:srgbClr val="F3C003"/>
          </a:solidFill>
          <a:ln w="3175">
            <a:solidFill>
              <a:srgbClr val="F3C003"/>
            </a:solidFill>
            <a:prstDash val="solid"/>
            <a:miter lim="800000"/>
          </a:ln>
          <a:effectLst/>
        </p:spPr>
        <p:txBody>
          <a:bodyPr wrap="square" lIns="57130" tIns="28566" rIns="91411" bIns="28566" rtlCol="0" anchor="ctr" anchorCtr="0">
            <a:spAutoFit/>
          </a:bodyPr>
          <a:lstStyle>
            <a:defPPr>
              <a:defRPr lang="en-US"/>
            </a:defPPr>
            <a:lvl1pPr defTabSz="914363"/>
            <a:lvl2pPr marL="0" lvl="1" algn="ctr" defTabSz="914363">
              <a:defRPr sz="1224"/>
            </a:lvl2pPr>
            <a:lvl3pPr marL="914363" defTabSz="914363"/>
            <a:lvl4pPr marL="1371545" defTabSz="914363"/>
            <a:lvl5pPr marL="1828727" defTabSz="914363"/>
            <a:lvl6pPr marL="2285909" defTabSz="914363"/>
            <a:lvl7pPr marL="2743090" defTabSz="914363"/>
            <a:lvl8pPr marL="3200272" defTabSz="914363"/>
            <a:lvl9pPr marL="3657454" defTabSz="914363"/>
          </a:lstStyle>
          <a:p>
            <a:pPr marL="0" marR="0" lvl="1" indent="0" algn="ctr" defTabSz="914363"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Speech Intent Recognition</a:t>
            </a:r>
          </a:p>
        </p:txBody>
      </p:sp>
      <p:sp>
        <p:nvSpPr>
          <p:cNvPr id="10" name="TextBox 4"/>
          <p:cNvSpPr txBox="1"/>
          <p:nvPr/>
        </p:nvSpPr>
        <p:spPr>
          <a:xfrm>
            <a:off x="9532295" y="3877213"/>
            <a:ext cx="2465169" cy="600798"/>
          </a:xfrm>
          <a:prstGeom prst="rect">
            <a:avLst/>
          </a:prstGeom>
          <a:solidFill>
            <a:srgbClr val="F3C003"/>
          </a:solidFill>
          <a:ln w="3175">
            <a:solidFill>
              <a:srgbClr val="F3C003"/>
            </a:solidFill>
            <a:prstDash val="solid"/>
            <a:miter lim="800000"/>
          </a:ln>
          <a:effectLst/>
        </p:spPr>
        <p:txBody>
          <a:bodyPr wrap="square" lIns="57130" tIns="28566" rIns="91411" bIns="28566" rtlCol="0" anchor="ctr" anchorCtr="0">
            <a:spAutoFit/>
          </a:bodyPr>
          <a:lstStyle>
            <a:defPPr>
              <a:defRPr lang="en-US"/>
            </a:defPPr>
            <a:lvl1pPr defTabSz="914363"/>
            <a:lvl2pPr marL="0" lvl="1" algn="ctr" defTabSz="914363">
              <a:defRPr sz="1224"/>
            </a:lvl2pPr>
            <a:lvl3pPr marL="914363" defTabSz="914363"/>
            <a:lvl4pPr marL="1371545" defTabSz="914363"/>
            <a:lvl5pPr marL="1828727" defTabSz="914363"/>
            <a:lvl6pPr marL="2285909" defTabSz="914363"/>
            <a:lvl7pPr marL="2743090" defTabSz="914363"/>
            <a:lvl8pPr marL="3200272" defTabSz="914363"/>
            <a:lvl9pPr marL="3657454" defTabSz="914363"/>
          </a:lstStyle>
          <a:p>
            <a:pPr marL="0" marR="0" lvl="1" indent="0" algn="ctr" defTabSz="914363" eaLnBrk="1" fontAlgn="auto" latinLnBrk="0" hangingPunct="1">
              <a:lnSpc>
                <a:spcPct val="100000"/>
              </a:lnSpc>
              <a:spcBef>
                <a:spcPts val="0"/>
              </a:spcBef>
              <a:spcAft>
                <a:spcPts val="0"/>
              </a:spcAft>
              <a:buClrTx/>
              <a:buSzTx/>
              <a:buFontTx/>
              <a:buNone/>
              <a:tabLst/>
              <a:defRPr/>
            </a:pPr>
            <a:r>
              <a:rPr kumimoji="0" lang="en-US" sz="1765" b="0" i="0" u="none" strike="noStrike" kern="0" cap="none" spc="0" normalizeH="0" baseline="0" noProof="0" dirty="0">
                <a:ln>
                  <a:noFill/>
                </a:ln>
                <a:solidFill>
                  <a:sysClr val="windowText" lastClr="000000"/>
                </a:solidFill>
                <a:effectLst/>
                <a:uLnTx/>
                <a:uFillTx/>
              </a:rPr>
              <a:t>Text to Speech Conversion</a:t>
            </a:r>
          </a:p>
        </p:txBody>
      </p:sp>
      <p:grpSp>
        <p:nvGrpSpPr>
          <p:cNvPr id="12" name="Group 11"/>
          <p:cNvGrpSpPr/>
          <p:nvPr/>
        </p:nvGrpSpPr>
        <p:grpSpPr>
          <a:xfrm>
            <a:off x="9638215" y="4909309"/>
            <a:ext cx="2227807" cy="1885594"/>
            <a:chOff x="9831480" y="1730654"/>
            <a:chExt cx="2272479" cy="1923404"/>
          </a:xfrm>
        </p:grpSpPr>
        <p:pic>
          <p:nvPicPr>
            <p:cNvPr id="18" name="Picture 1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868619" y="1730654"/>
              <a:ext cx="2235340" cy="1236683"/>
            </a:xfrm>
            <a:prstGeom prst="rect">
              <a:avLst/>
            </a:prstGeom>
          </p:spPr>
        </p:pic>
        <p:sp>
          <p:nvSpPr>
            <p:cNvPr id="20" name="TextBox 19"/>
            <p:cNvSpPr txBox="1"/>
            <p:nvPr/>
          </p:nvSpPr>
          <p:spPr>
            <a:xfrm>
              <a:off x="9831480" y="3192462"/>
              <a:ext cx="2156547" cy="461596"/>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1176" b="0" i="1" u="none" strike="noStrike" kern="0" cap="none" spc="0" normalizeH="0" baseline="0" noProof="0" dirty="0">
                  <a:ln>
                    <a:noFill/>
                  </a:ln>
                  <a:solidFill>
                    <a:schemeClr val="bg1"/>
                  </a:solidFill>
                  <a:effectLst/>
                  <a:uLnTx/>
                  <a:uFillTx/>
                </a:rPr>
                <a:t>Convert text to spoken audio</a:t>
              </a:r>
            </a:p>
          </p:txBody>
        </p:sp>
      </p:grpSp>
      <p:sp>
        <p:nvSpPr>
          <p:cNvPr id="8" name="TextBox 4"/>
          <p:cNvSpPr txBox="1"/>
          <p:nvPr/>
        </p:nvSpPr>
        <p:spPr>
          <a:xfrm>
            <a:off x="4607286" y="3877213"/>
            <a:ext cx="2449916" cy="600798"/>
          </a:xfrm>
          <a:prstGeom prst="rect">
            <a:avLst/>
          </a:prstGeom>
          <a:solidFill>
            <a:srgbClr val="F3C003"/>
          </a:solidFill>
          <a:ln w="3175">
            <a:solidFill>
              <a:srgbClr val="F3C003"/>
            </a:solidFill>
            <a:prstDash val="solid"/>
            <a:miter lim="800000"/>
          </a:ln>
          <a:effectLst/>
        </p:spPr>
        <p:txBody>
          <a:bodyPr wrap="square" lIns="57130" tIns="28566" rIns="91411" bIns="28566" rtlCol="0" anchor="ctr" anchorCtr="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1" indent="0" algn="ctr" defTabSz="91436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chemeClr val="tx1"/>
                </a:solidFill>
                <a:effectLst/>
                <a:uLnTx/>
                <a:uFillTx/>
                <a:latin typeface="+mn-lt"/>
                <a:ea typeface="+mn-ea"/>
                <a:cs typeface="+mn-cs"/>
              </a:rPr>
              <a:t>Speech </a:t>
            </a:r>
          </a:p>
          <a:p>
            <a:pPr marL="0" marR="0" lvl="1" indent="0" algn="ctr" defTabSz="914363"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chemeClr val="tx1"/>
                </a:solidFill>
                <a:effectLst/>
                <a:uLnTx/>
                <a:uFillTx/>
                <a:latin typeface="+mn-lt"/>
                <a:ea typeface="+mn-ea"/>
                <a:cs typeface="+mn-cs"/>
              </a:rPr>
              <a:t>Recognition</a:t>
            </a:r>
          </a:p>
        </p:txBody>
      </p:sp>
      <p:grpSp>
        <p:nvGrpSpPr>
          <p:cNvPr id="13" name="Group 12"/>
          <p:cNvGrpSpPr/>
          <p:nvPr/>
        </p:nvGrpSpPr>
        <p:grpSpPr>
          <a:xfrm>
            <a:off x="4607286" y="4538658"/>
            <a:ext cx="2410032" cy="2256245"/>
            <a:chOff x="4699671" y="1352571"/>
            <a:chExt cx="2458358" cy="2301487"/>
          </a:xfrm>
        </p:grpSpPr>
        <p:sp>
          <p:nvSpPr>
            <p:cNvPr id="2" name="TextBox 1"/>
            <p:cNvSpPr txBox="1"/>
            <p:nvPr/>
          </p:nvSpPr>
          <p:spPr>
            <a:xfrm>
              <a:off x="4793852" y="3192462"/>
              <a:ext cx="2156547" cy="461596"/>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1176" b="0" i="1" u="none" strike="noStrike" kern="0" cap="none" spc="0" normalizeH="0" baseline="0" noProof="0" dirty="0">
                  <a:ln>
                    <a:noFill/>
                  </a:ln>
                  <a:solidFill>
                    <a:schemeClr val="bg1"/>
                  </a:solidFill>
                  <a:effectLst/>
                  <a:uLnTx/>
                  <a:uFillTx/>
                </a:rPr>
                <a:t>Convert spoken audio to text</a:t>
              </a:r>
            </a:p>
          </p:txBody>
        </p:sp>
        <p:grpSp>
          <p:nvGrpSpPr>
            <p:cNvPr id="22" name="Group 21"/>
            <p:cNvGrpSpPr/>
            <p:nvPr/>
          </p:nvGrpSpPr>
          <p:grpSpPr>
            <a:xfrm>
              <a:off x="4699671" y="1352571"/>
              <a:ext cx="2458358" cy="1601748"/>
              <a:chOff x="6576754" y="2404619"/>
              <a:chExt cx="2293965" cy="1276687"/>
            </a:xfrm>
          </p:grpSpPr>
          <p:sp>
            <p:nvSpPr>
              <p:cNvPr id="25" name="Freeform 24"/>
              <p:cNvSpPr>
                <a:spLocks noChangeAspect="1"/>
              </p:cNvSpPr>
              <p:nvPr/>
            </p:nvSpPr>
            <p:spPr bwMode="auto">
              <a:xfrm>
                <a:off x="6576754" y="2451819"/>
                <a:ext cx="1233368" cy="1229487"/>
              </a:xfrm>
              <a:custGeom>
                <a:avLst/>
                <a:gdLst>
                  <a:gd name="T0" fmla="*/ 26 w 997"/>
                  <a:gd name="T1" fmla="*/ 1048 h 1048"/>
                  <a:gd name="T2" fmla="*/ 123 w 997"/>
                  <a:gd name="T3" fmla="*/ 725 h 1048"/>
                  <a:gd name="T4" fmla="*/ 272 w 997"/>
                  <a:gd name="T5" fmla="*/ 673 h 1048"/>
                  <a:gd name="T6" fmla="*/ 382 w 997"/>
                  <a:gd name="T7" fmla="*/ 621 h 1048"/>
                  <a:gd name="T8" fmla="*/ 395 w 997"/>
                  <a:gd name="T9" fmla="*/ 537 h 1048"/>
                  <a:gd name="T10" fmla="*/ 343 w 997"/>
                  <a:gd name="T11" fmla="*/ 408 h 1048"/>
                  <a:gd name="T12" fmla="*/ 311 w 997"/>
                  <a:gd name="T13" fmla="*/ 356 h 1048"/>
                  <a:gd name="T14" fmla="*/ 324 w 997"/>
                  <a:gd name="T15" fmla="*/ 278 h 1048"/>
                  <a:gd name="T16" fmla="*/ 317 w 997"/>
                  <a:gd name="T17" fmla="*/ 233 h 1048"/>
                  <a:gd name="T18" fmla="*/ 376 w 997"/>
                  <a:gd name="T19" fmla="*/ 84 h 1048"/>
                  <a:gd name="T20" fmla="*/ 460 w 997"/>
                  <a:gd name="T21" fmla="*/ 26 h 1048"/>
                  <a:gd name="T22" fmla="*/ 453 w 997"/>
                  <a:gd name="T23" fmla="*/ 58 h 1048"/>
                  <a:gd name="T24" fmla="*/ 512 w 997"/>
                  <a:gd name="T25" fmla="*/ 0 h 1048"/>
                  <a:gd name="T26" fmla="*/ 512 w 997"/>
                  <a:gd name="T27" fmla="*/ 13 h 1048"/>
                  <a:gd name="T28" fmla="*/ 518 w 997"/>
                  <a:gd name="T29" fmla="*/ 46 h 1048"/>
                  <a:gd name="T30" fmla="*/ 518 w 997"/>
                  <a:gd name="T31" fmla="*/ 46 h 1048"/>
                  <a:gd name="T32" fmla="*/ 518 w 997"/>
                  <a:gd name="T33" fmla="*/ 33 h 1048"/>
                  <a:gd name="T34" fmla="*/ 563 w 997"/>
                  <a:gd name="T35" fmla="*/ 46 h 1048"/>
                  <a:gd name="T36" fmla="*/ 622 w 997"/>
                  <a:gd name="T37" fmla="*/ 84 h 1048"/>
                  <a:gd name="T38" fmla="*/ 680 w 997"/>
                  <a:gd name="T39" fmla="*/ 220 h 1048"/>
                  <a:gd name="T40" fmla="*/ 680 w 997"/>
                  <a:gd name="T41" fmla="*/ 278 h 1048"/>
                  <a:gd name="T42" fmla="*/ 699 w 997"/>
                  <a:gd name="T43" fmla="*/ 356 h 1048"/>
                  <a:gd name="T44" fmla="*/ 674 w 997"/>
                  <a:gd name="T45" fmla="*/ 395 h 1048"/>
                  <a:gd name="T46" fmla="*/ 602 w 997"/>
                  <a:gd name="T47" fmla="*/ 537 h 1048"/>
                  <a:gd name="T48" fmla="*/ 615 w 997"/>
                  <a:gd name="T49" fmla="*/ 621 h 1048"/>
                  <a:gd name="T50" fmla="*/ 615 w 997"/>
                  <a:gd name="T51" fmla="*/ 621 h 1048"/>
                  <a:gd name="T52" fmla="*/ 725 w 997"/>
                  <a:gd name="T53" fmla="*/ 673 h 1048"/>
                  <a:gd name="T54" fmla="*/ 874 w 997"/>
                  <a:gd name="T55" fmla="*/ 725 h 1048"/>
                  <a:gd name="T56" fmla="*/ 971 w 997"/>
                  <a:gd name="T57" fmla="*/ 1048 h 1048"/>
                  <a:gd name="T58" fmla="*/ 26 w 997"/>
                  <a:gd name="T59" fmla="*/ 1048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7" h="1048">
                    <a:moveTo>
                      <a:pt x="26" y="1048"/>
                    </a:moveTo>
                    <a:cubicBezTo>
                      <a:pt x="26" y="1048"/>
                      <a:pt x="0" y="789"/>
                      <a:pt x="123" y="725"/>
                    </a:cubicBezTo>
                    <a:cubicBezTo>
                      <a:pt x="201" y="686"/>
                      <a:pt x="175" y="712"/>
                      <a:pt x="272" y="673"/>
                    </a:cubicBezTo>
                    <a:cubicBezTo>
                      <a:pt x="337" y="641"/>
                      <a:pt x="369" y="621"/>
                      <a:pt x="382" y="621"/>
                    </a:cubicBezTo>
                    <a:cubicBezTo>
                      <a:pt x="382" y="608"/>
                      <a:pt x="395" y="537"/>
                      <a:pt x="395" y="537"/>
                    </a:cubicBezTo>
                    <a:cubicBezTo>
                      <a:pt x="395" y="537"/>
                      <a:pt x="356" y="485"/>
                      <a:pt x="343" y="408"/>
                    </a:cubicBezTo>
                    <a:cubicBezTo>
                      <a:pt x="343" y="408"/>
                      <a:pt x="311" y="414"/>
                      <a:pt x="311" y="356"/>
                    </a:cubicBezTo>
                    <a:cubicBezTo>
                      <a:pt x="311" y="311"/>
                      <a:pt x="291" y="291"/>
                      <a:pt x="324" y="278"/>
                    </a:cubicBezTo>
                    <a:cubicBezTo>
                      <a:pt x="324" y="278"/>
                      <a:pt x="317" y="259"/>
                      <a:pt x="317" y="233"/>
                    </a:cubicBezTo>
                    <a:cubicBezTo>
                      <a:pt x="317" y="194"/>
                      <a:pt x="304" y="130"/>
                      <a:pt x="376" y="84"/>
                    </a:cubicBezTo>
                    <a:cubicBezTo>
                      <a:pt x="453" y="33"/>
                      <a:pt x="460" y="26"/>
                      <a:pt x="460" y="26"/>
                    </a:cubicBezTo>
                    <a:cubicBezTo>
                      <a:pt x="460" y="26"/>
                      <a:pt x="460" y="26"/>
                      <a:pt x="453" y="58"/>
                    </a:cubicBezTo>
                    <a:cubicBezTo>
                      <a:pt x="453" y="58"/>
                      <a:pt x="479" y="26"/>
                      <a:pt x="512" y="0"/>
                    </a:cubicBezTo>
                    <a:cubicBezTo>
                      <a:pt x="512" y="0"/>
                      <a:pt x="512" y="0"/>
                      <a:pt x="512" y="13"/>
                    </a:cubicBezTo>
                    <a:cubicBezTo>
                      <a:pt x="512" y="20"/>
                      <a:pt x="512" y="39"/>
                      <a:pt x="518" y="46"/>
                    </a:cubicBezTo>
                    <a:cubicBezTo>
                      <a:pt x="518" y="46"/>
                      <a:pt x="518" y="46"/>
                      <a:pt x="518" y="46"/>
                    </a:cubicBezTo>
                    <a:cubicBezTo>
                      <a:pt x="518" y="46"/>
                      <a:pt x="518" y="46"/>
                      <a:pt x="518" y="33"/>
                    </a:cubicBezTo>
                    <a:cubicBezTo>
                      <a:pt x="518" y="33"/>
                      <a:pt x="544" y="39"/>
                      <a:pt x="563" y="46"/>
                    </a:cubicBezTo>
                    <a:cubicBezTo>
                      <a:pt x="563" y="46"/>
                      <a:pt x="609" y="78"/>
                      <a:pt x="622" y="84"/>
                    </a:cubicBezTo>
                    <a:cubicBezTo>
                      <a:pt x="693" y="130"/>
                      <a:pt x="680" y="181"/>
                      <a:pt x="680" y="220"/>
                    </a:cubicBezTo>
                    <a:cubicBezTo>
                      <a:pt x="680" y="253"/>
                      <a:pt x="680" y="278"/>
                      <a:pt x="680" y="278"/>
                    </a:cubicBezTo>
                    <a:cubicBezTo>
                      <a:pt x="706" y="291"/>
                      <a:pt x="699" y="311"/>
                      <a:pt x="699" y="356"/>
                    </a:cubicBezTo>
                    <a:cubicBezTo>
                      <a:pt x="699" y="414"/>
                      <a:pt x="674" y="395"/>
                      <a:pt x="674" y="395"/>
                    </a:cubicBezTo>
                    <a:cubicBezTo>
                      <a:pt x="661" y="492"/>
                      <a:pt x="602" y="537"/>
                      <a:pt x="602" y="537"/>
                    </a:cubicBezTo>
                    <a:cubicBezTo>
                      <a:pt x="602" y="537"/>
                      <a:pt x="615" y="608"/>
                      <a:pt x="615" y="621"/>
                    </a:cubicBezTo>
                    <a:cubicBezTo>
                      <a:pt x="615" y="621"/>
                      <a:pt x="615" y="621"/>
                      <a:pt x="615" y="621"/>
                    </a:cubicBezTo>
                    <a:cubicBezTo>
                      <a:pt x="628" y="621"/>
                      <a:pt x="661" y="641"/>
                      <a:pt x="725" y="673"/>
                    </a:cubicBezTo>
                    <a:cubicBezTo>
                      <a:pt x="822" y="712"/>
                      <a:pt x="797" y="686"/>
                      <a:pt x="874" y="725"/>
                    </a:cubicBezTo>
                    <a:cubicBezTo>
                      <a:pt x="997" y="789"/>
                      <a:pt x="971" y="1048"/>
                      <a:pt x="971" y="1048"/>
                    </a:cubicBezTo>
                    <a:lnTo>
                      <a:pt x="26" y="1048"/>
                    </a:lnTo>
                    <a:close/>
                  </a:path>
                </a:pathLst>
              </a:custGeom>
              <a:solidFill>
                <a:srgbClr val="333333">
                  <a:lumMod val="60000"/>
                  <a:lumOff val="40000"/>
                </a:srgbClr>
              </a:solidFill>
              <a:ln>
                <a:noFill/>
              </a:ln>
              <a:extLst/>
            </p:spPr>
            <p:txBody>
              <a:bodyPr vert="horz" wrap="square" lIns="89630" tIns="44814" rIns="89630" bIns="44814" numCol="1" anchor="t" anchorCtr="0" compatLnSpc="1">
                <a:prstTxWarp prst="textNoShape">
                  <a:avLst/>
                </a:prstTxWarp>
              </a:bodyPr>
              <a:lstStyle/>
              <a:p>
                <a:pPr marL="0" marR="0" lvl="0" indent="0" algn="just" defTabSz="896178"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ndParaRPr>
              </a:p>
            </p:txBody>
          </p:sp>
          <p:sp>
            <p:nvSpPr>
              <p:cNvPr id="26" name="Oval Callout 6"/>
              <p:cNvSpPr/>
              <p:nvPr/>
            </p:nvSpPr>
            <p:spPr bwMode="auto">
              <a:xfrm>
                <a:off x="7567457" y="2404619"/>
                <a:ext cx="1303262" cy="663702"/>
              </a:xfrm>
              <a:prstGeom prst="wedgeEllipseCallout">
                <a:avLst>
                  <a:gd name="adj1" fmla="val -44310"/>
                  <a:gd name="adj2" fmla="val 50709"/>
                </a:avLst>
              </a:prstGeom>
              <a:solidFill>
                <a:schemeClr val="tx1"/>
              </a:solidFill>
              <a:ln>
                <a:solidFill>
                  <a:srgbClr val="F3C00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0" marR="0" lvl="0" indent="0" algn="ctr" defTabSz="913862" eaLnBrk="1" fontAlgn="auto" latinLnBrk="0" hangingPunct="1">
                  <a:lnSpc>
                    <a:spcPts val="1469"/>
                  </a:lnSpc>
                  <a:spcBef>
                    <a:spcPts val="0"/>
                  </a:spcBef>
                  <a:spcAft>
                    <a:spcPts val="0"/>
                  </a:spcAft>
                  <a:buClrTx/>
                  <a:buSzTx/>
                  <a:buFontTx/>
                  <a:buNone/>
                  <a:tabLst/>
                  <a:defRPr/>
                </a:pPr>
                <a:r>
                  <a:rPr kumimoji="0" lang="en-US" sz="1078" b="1" i="0" u="none" strike="noStrike" kern="0" cap="none" spc="0" normalizeH="0" baseline="0" noProof="0" dirty="0">
                    <a:ln>
                      <a:noFill/>
                    </a:ln>
                    <a:solidFill>
                      <a:srgbClr val="333333"/>
                    </a:solidFill>
                    <a:effectLst/>
                    <a:uLnTx/>
                    <a:uFillTx/>
                    <a:ea typeface="Segoe UI" pitchFamily="34" charset="0"/>
                    <a:cs typeface="Segoe UI" pitchFamily="34" charset="0"/>
                  </a:rPr>
                  <a:t>450 6</a:t>
                </a:r>
                <a:r>
                  <a:rPr kumimoji="0" lang="en-US" sz="1078" b="1" i="0" u="none" strike="noStrike" kern="0" cap="none" spc="0" normalizeH="0" baseline="30000" noProof="0" dirty="0">
                    <a:ln>
                      <a:noFill/>
                    </a:ln>
                    <a:solidFill>
                      <a:srgbClr val="333333"/>
                    </a:solidFill>
                    <a:effectLst/>
                    <a:uLnTx/>
                    <a:uFillTx/>
                    <a:ea typeface="Segoe UI" pitchFamily="34" charset="0"/>
                    <a:cs typeface="Segoe UI" pitchFamily="34" charset="0"/>
                  </a:rPr>
                  <a:t>th</a:t>
                </a:r>
                <a:r>
                  <a:rPr kumimoji="0" lang="en-US" sz="1078" b="1" i="0" u="none" strike="noStrike" kern="0" cap="none" spc="0" normalizeH="0" baseline="0" noProof="0" dirty="0">
                    <a:ln>
                      <a:noFill/>
                    </a:ln>
                    <a:solidFill>
                      <a:srgbClr val="333333"/>
                    </a:solidFill>
                    <a:effectLst/>
                    <a:uLnTx/>
                    <a:uFillTx/>
                    <a:ea typeface="Segoe UI" pitchFamily="34" charset="0"/>
                    <a:cs typeface="Segoe UI" pitchFamily="34" charset="0"/>
                  </a:rPr>
                  <a:t> St. </a:t>
                </a:r>
                <a:br>
                  <a:rPr kumimoji="0" lang="en-US" sz="1078" b="1" i="0" u="none" strike="noStrike" kern="0" cap="none" spc="0" normalizeH="0" baseline="0" noProof="0" dirty="0">
                    <a:ln>
                      <a:noFill/>
                    </a:ln>
                    <a:solidFill>
                      <a:srgbClr val="333333"/>
                    </a:solidFill>
                    <a:effectLst/>
                    <a:uLnTx/>
                    <a:uFillTx/>
                    <a:ea typeface="Segoe UI" pitchFamily="34" charset="0"/>
                    <a:cs typeface="Segoe UI" pitchFamily="34" charset="0"/>
                  </a:rPr>
                </a:br>
                <a:r>
                  <a:rPr kumimoji="0" lang="en-US" sz="1078" b="1" i="0" u="none" strike="noStrike" kern="0" cap="none" spc="0" normalizeH="0" baseline="0" noProof="0" dirty="0">
                    <a:ln>
                      <a:noFill/>
                    </a:ln>
                    <a:solidFill>
                      <a:srgbClr val="333333"/>
                    </a:solidFill>
                    <a:effectLst/>
                    <a:uLnTx/>
                    <a:uFillTx/>
                    <a:ea typeface="Segoe UI" pitchFamily="34" charset="0"/>
                    <a:cs typeface="Segoe UI" pitchFamily="34" charset="0"/>
                  </a:rPr>
                  <a:t>San Francisco</a:t>
                </a:r>
              </a:p>
            </p:txBody>
          </p:sp>
        </p:grpSp>
      </p:grpSp>
      <p:grpSp>
        <p:nvGrpSpPr>
          <p:cNvPr id="11" name="Group 10"/>
          <p:cNvGrpSpPr/>
          <p:nvPr/>
        </p:nvGrpSpPr>
        <p:grpSpPr>
          <a:xfrm>
            <a:off x="7365936" y="4698935"/>
            <a:ext cx="1961181" cy="2095968"/>
            <a:chOff x="7513637" y="1516062"/>
            <a:chExt cx="2000507" cy="2137996"/>
          </a:xfrm>
        </p:grpSpPr>
        <p:sp>
          <p:nvSpPr>
            <p:cNvPr id="21" name="TextBox 20"/>
            <p:cNvSpPr txBox="1"/>
            <p:nvPr/>
          </p:nvSpPr>
          <p:spPr>
            <a:xfrm>
              <a:off x="7573066" y="3192462"/>
              <a:ext cx="1808261" cy="461596"/>
            </a:xfrm>
            <a:prstGeom prst="rect">
              <a:avLst/>
            </a:prstGeom>
            <a:noFill/>
          </p:spPr>
          <p:txBody>
            <a:bodyPr wrap="non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1176" b="0" i="1" u="none" strike="noStrike" kern="0" cap="none" spc="0" normalizeH="0" baseline="0" noProof="0" dirty="0">
                  <a:ln>
                    <a:noFill/>
                  </a:ln>
                  <a:solidFill>
                    <a:schemeClr val="bg1"/>
                  </a:solidFill>
                  <a:effectLst/>
                  <a:uLnTx/>
                  <a:uFillTx/>
                </a:rPr>
                <a:t>Convert audio to intent</a:t>
              </a:r>
            </a:p>
          </p:txBody>
        </p:sp>
        <p:sp>
          <p:nvSpPr>
            <p:cNvPr id="28" name="TextBox 7"/>
            <p:cNvSpPr txBox="1"/>
            <p:nvPr/>
          </p:nvSpPr>
          <p:spPr>
            <a:xfrm>
              <a:off x="7513637" y="2125662"/>
              <a:ext cx="2000507" cy="987920"/>
            </a:xfrm>
            <a:prstGeom prst="rect">
              <a:avLst/>
            </a:prstGeom>
            <a:noFill/>
            <a:ln>
              <a:solidFill>
                <a:srgbClr val="F3C003"/>
              </a:solidFill>
            </a:ln>
          </p:spPr>
          <p:txBody>
            <a:bodyPr wrap="square" lIns="179259" tIns="143407" rIns="179259" bIns="143407" rtlCol="0">
              <a:spAutoFit/>
            </a:bodyPr>
            <a:lstStyle/>
            <a:p>
              <a:pPr marL="0" marR="0" lvl="1" indent="0" defTabSz="914192"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FFC000"/>
                  </a:solidFill>
                  <a:effectLst/>
                  <a:uLnTx/>
                  <a:uFillTx/>
                  <a:latin typeface="Consolas" panose="020B0609020204030204" pitchFamily="49" charset="0"/>
                  <a:cs typeface="Consolas" panose="020B0609020204030204" pitchFamily="49" charset="0"/>
                </a:rPr>
                <a:t>"450 sixth St in San Francisco."</a:t>
              </a:r>
            </a:p>
            <a:p>
              <a:pPr marL="0" marR="0" lvl="1" indent="0" defTabSz="914192" eaLnBrk="1" fontAlgn="auto" latinLnBrk="0" hangingPunct="1">
                <a:lnSpc>
                  <a:spcPct val="100000"/>
                </a:lnSpc>
                <a:spcBef>
                  <a:spcPts val="0"/>
                </a:spcBef>
                <a:spcAft>
                  <a:spcPts val="0"/>
                </a:spcAft>
                <a:buClrTx/>
                <a:buSzTx/>
                <a:buFontTx/>
                <a:buNone/>
                <a:tabLst/>
                <a:defRPr/>
              </a:pPr>
              <a:r>
                <a:rPr kumimoji="0" lang="en-US" sz="882" b="0" i="0" u="none" strike="sngStrike" kern="0" cap="none" spc="0" normalizeH="0" baseline="0" noProof="0" dirty="0">
                  <a:ln>
                    <a:noFill/>
                  </a:ln>
                  <a:solidFill>
                    <a:srgbClr val="FFFFFF">
                      <a:lumMod val="50000"/>
                    </a:srgbClr>
                  </a:solidFill>
                  <a:effectLst/>
                  <a:uLnTx/>
                  <a:uFillTx/>
                  <a:latin typeface="Consolas" panose="020B0609020204030204" pitchFamily="49" charset="0"/>
                  <a:cs typeface="Consolas" panose="020B0609020204030204" pitchFamily="49" charset="0"/>
                </a:rPr>
                <a:t>"For 50 six St San Francisco."</a:t>
              </a:r>
            </a:p>
            <a:p>
              <a:pPr marL="0" marR="0" lvl="1" indent="0" defTabSz="914192" eaLnBrk="1" fontAlgn="auto" latinLnBrk="0" hangingPunct="1">
                <a:lnSpc>
                  <a:spcPct val="100000"/>
                </a:lnSpc>
                <a:spcBef>
                  <a:spcPts val="0"/>
                </a:spcBef>
                <a:spcAft>
                  <a:spcPts val="0"/>
                </a:spcAft>
                <a:buClrTx/>
                <a:buSzTx/>
                <a:buFontTx/>
                <a:buNone/>
                <a:tabLst/>
                <a:defRPr/>
              </a:pPr>
              <a:r>
                <a:rPr kumimoji="0" lang="en-US" sz="882" b="0" i="0" u="none" strike="sngStrike" kern="0" cap="none" spc="0" normalizeH="0" baseline="0" noProof="0" dirty="0">
                  <a:ln>
                    <a:noFill/>
                  </a:ln>
                  <a:solidFill>
                    <a:srgbClr val="FFFFFF">
                      <a:lumMod val="50000"/>
                    </a:srgbClr>
                  </a:solidFill>
                  <a:effectLst/>
                  <a:uLnTx/>
                  <a:uFillTx/>
                  <a:latin typeface="Consolas" panose="020B0609020204030204" pitchFamily="49" charset="0"/>
                  <a:cs typeface="Consolas" panose="020B0609020204030204" pitchFamily="49" charset="0"/>
                </a:rPr>
                <a:t>"456th St San Francisco."</a:t>
              </a:r>
            </a:p>
          </p:txBody>
        </p:sp>
        <p:sp>
          <p:nvSpPr>
            <p:cNvPr id="5" name="Bent Arrow 4"/>
            <p:cNvSpPr/>
            <p:nvPr/>
          </p:nvSpPr>
          <p:spPr bwMode="auto">
            <a:xfrm rot="5400000">
              <a:off x="7842629" y="1236275"/>
              <a:ext cx="609600" cy="1169173"/>
            </a:xfrm>
            <a:prstGeom prst="bentArrow">
              <a:avLst>
                <a:gd name="adj1" fmla="val 47375"/>
                <a:gd name="adj2" fmla="val 50000"/>
                <a:gd name="adj3" fmla="val 36816"/>
                <a:gd name="adj4" fmla="val 43750"/>
              </a:avLst>
            </a:prstGeom>
            <a:solidFill>
              <a:srgbClr val="FFC000"/>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1961"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47" name="Rectangle 46"/>
          <p:cNvSpPr/>
          <p:nvPr/>
        </p:nvSpPr>
        <p:spPr bwMode="auto">
          <a:xfrm>
            <a:off x="1" y="-7812"/>
            <a:ext cx="4377852" cy="6857027"/>
          </a:xfrm>
          <a:prstGeom prst="rect">
            <a:avLst/>
          </a:prstGeom>
          <a:solidFill>
            <a:srgbClr val="F3C00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225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7" name="Rectangle 6"/>
          <p:cNvSpPr/>
          <p:nvPr/>
        </p:nvSpPr>
        <p:spPr>
          <a:xfrm>
            <a:off x="370321" y="1634521"/>
            <a:ext cx="3526687" cy="4706930"/>
          </a:xfrm>
          <a:prstGeom prst="rect">
            <a:avLst/>
          </a:prstGeom>
        </p:spPr>
        <p:txBody>
          <a:bodyPr wrap="square">
            <a:spAutoFit/>
          </a:bodyPr>
          <a:lstStyle/>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State of the art algorithms to process spoken language</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Voice Recognition – Converts spoken audio to text</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Support for 18 languages (28 locale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Voice Output – Synthesize audio from Text </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Support for 9 languages (17 locale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0" cap="none" spc="0" normalizeH="0" baseline="0" noProof="0" dirty="0">
                <a:ln>
                  <a:noFill/>
                </a:ln>
                <a:effectLst/>
                <a:uLnTx/>
                <a:uFillTx/>
              </a:rPr>
              <a:t>Powered by Bing, which is the same backend for Xbox and Cortana on Windows Phone 8.1 and Windows 10</a:t>
            </a:r>
          </a:p>
        </p:txBody>
      </p:sp>
      <p:sp>
        <p:nvSpPr>
          <p:cNvPr id="98" name="Title 2"/>
          <p:cNvSpPr txBox="1">
            <a:spLocks/>
          </p:cNvSpPr>
          <p:nvPr/>
        </p:nvSpPr>
        <p:spPr>
          <a:xfrm>
            <a:off x="1358645" y="491572"/>
            <a:ext cx="2944506" cy="771068"/>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IN" sz="4313" b="0" i="0" u="none" strike="noStrike" kern="1200" cap="none" spc="-100" normalizeH="0" baseline="0" noProof="0" dirty="0">
                <a:ln w="3175">
                  <a:noFill/>
                </a:ln>
                <a:solidFill>
                  <a:schemeClr val="tx1"/>
                </a:solidFill>
                <a:effectLst/>
                <a:uLnTx/>
                <a:uFillTx/>
                <a:latin typeface="+mj-lt"/>
                <a:ea typeface="+mn-ea"/>
                <a:cs typeface="Segoe UI" pitchFamily="34" charset="0"/>
              </a:rPr>
              <a:t>Speech APIs</a:t>
            </a:r>
          </a:p>
          <a:p>
            <a:pPr marL="0" marR="0" lvl="0" indent="0" algn="l" defTabSz="932597" rtl="0" eaLnBrk="1" fontAlgn="auto" latinLnBrk="0" hangingPunct="1">
              <a:lnSpc>
                <a:spcPct val="90000"/>
              </a:lnSpc>
              <a:spcBef>
                <a:spcPct val="0"/>
              </a:spcBef>
              <a:spcAft>
                <a:spcPts val="0"/>
              </a:spcAft>
              <a:buClrTx/>
              <a:buSzTx/>
              <a:buFontTx/>
              <a:buNone/>
              <a:tabLst/>
              <a:defRPr/>
            </a:pPr>
            <a:endParaRPr kumimoji="0" lang="en-IN" sz="3529" b="0" i="0" u="none" strike="noStrike" kern="1200" cap="none" spc="0" normalizeH="0" baseline="0" noProof="0" dirty="0">
              <a:ln>
                <a:noFill/>
              </a:ln>
              <a:solidFill>
                <a:schemeClr val="tx1"/>
              </a:solidFill>
              <a:effectLst/>
              <a:uLnTx/>
              <a:uFillTx/>
              <a:latin typeface="+mj-lt"/>
              <a:ea typeface="+mj-ea"/>
              <a:cs typeface="+mj-cs"/>
            </a:endParaRPr>
          </a:p>
        </p:txBody>
      </p:sp>
      <p:sp>
        <p:nvSpPr>
          <p:cNvPr id="27" name="Freeform 5"/>
          <p:cNvSpPr>
            <a:spLocks/>
          </p:cNvSpPr>
          <p:nvPr/>
        </p:nvSpPr>
        <p:spPr bwMode="auto">
          <a:xfrm>
            <a:off x="-7972" y="296618"/>
            <a:ext cx="1473084" cy="899410"/>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01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89621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pic>
        <p:nvPicPr>
          <p:cNvPr id="29" name="Picture 4" descr="Screen Clipping"/>
          <p:cNvPicPr>
            <a:picLocks noChangeAspect="1"/>
          </p:cNvPicPr>
          <p:nvPr/>
        </p:nvPicPr>
        <p:blipFill rotWithShape="1">
          <a:blip r:embed="rId5" cstate="print">
            <a:extLst>
              <a:ext uri="{28A0092B-C50C-407E-A947-70E740481C1C}">
                <a14:useLocalDpi xmlns:a14="http://schemas.microsoft.com/office/drawing/2010/main" val="0"/>
              </a:ext>
            </a:extLst>
          </a:blip>
          <a:srcRect l="9026" t="7516" r="10293" b="6360"/>
          <a:stretch/>
        </p:blipFill>
        <p:spPr>
          <a:xfrm>
            <a:off x="454442" y="491572"/>
            <a:ext cx="613675" cy="509501"/>
          </a:xfrm>
          <a:prstGeom prst="rect">
            <a:avLst/>
          </a:prstGeom>
        </p:spPr>
      </p:pic>
    </p:spTree>
    <p:extLst>
      <p:ext uri="{BB962C8B-B14F-4D97-AF65-F5344CB8AC3E}">
        <p14:creationId xmlns:p14="http://schemas.microsoft.com/office/powerpoint/2010/main" val="233887096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ectangle 46"/>
          <p:cNvSpPr/>
          <p:nvPr/>
        </p:nvSpPr>
        <p:spPr bwMode="auto">
          <a:xfrm>
            <a:off x="1" y="-7812"/>
            <a:ext cx="4377852" cy="6857027"/>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2255"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7" name="Rectangle 6"/>
          <p:cNvSpPr/>
          <p:nvPr/>
        </p:nvSpPr>
        <p:spPr>
          <a:xfrm>
            <a:off x="370321" y="1785555"/>
            <a:ext cx="3526687" cy="4465774"/>
          </a:xfrm>
          <a:prstGeom prst="rect">
            <a:avLst/>
          </a:prstGeom>
        </p:spPr>
        <p:txBody>
          <a:bodyPr wrap="square">
            <a:spAutoFit/>
          </a:bodyPr>
          <a:lstStyle/>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Language models from the web</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Capturing distinct expression styles</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Text body</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Titles</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Search querie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Essential component for</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New lexicon discovery</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Key phrase extraction</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Auto completion</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Word/phrase breaking</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Speech/Handwriting recognition</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OCR</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Spelling correction</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65" b="0" i="0" u="none" strike="noStrike" kern="0" cap="none" spc="0" normalizeH="0" baseline="0" noProof="0" dirty="0">
              <a:ln>
                <a:noFill/>
              </a:ln>
              <a:effectLst/>
              <a:uLnTx/>
              <a:uFillTx/>
            </a:endParaRPr>
          </a:p>
        </p:txBody>
      </p:sp>
      <p:sp>
        <p:nvSpPr>
          <p:cNvPr id="98" name="Title 2"/>
          <p:cNvSpPr txBox="1">
            <a:spLocks/>
          </p:cNvSpPr>
          <p:nvPr/>
        </p:nvSpPr>
        <p:spPr>
          <a:xfrm>
            <a:off x="1433347" y="291514"/>
            <a:ext cx="2869802"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IN" sz="2745" b="0" i="0" u="none" strike="noStrike" kern="1200" cap="none" spc="-100" normalizeH="0" baseline="0" noProof="0" dirty="0">
                <a:ln w="3175">
                  <a:noFill/>
                </a:ln>
                <a:solidFill>
                  <a:schemeClr val="tx1"/>
                </a:solidFill>
                <a:effectLst/>
                <a:uLnTx/>
                <a:uFillTx/>
                <a:latin typeface="+mj-lt"/>
                <a:ea typeface="+mn-ea"/>
                <a:cs typeface="Segoe UI" pitchFamily="34" charset="0"/>
              </a:rPr>
              <a:t>Web Language Model API</a:t>
            </a:r>
          </a:p>
          <a:p>
            <a:pPr marL="0" marR="0" lvl="0" indent="0" algn="l" defTabSz="932597" rtl="0" eaLnBrk="1" fontAlgn="auto" latinLnBrk="0" hangingPunct="1">
              <a:lnSpc>
                <a:spcPct val="90000"/>
              </a:lnSpc>
              <a:spcBef>
                <a:spcPct val="0"/>
              </a:spcBef>
              <a:spcAft>
                <a:spcPts val="0"/>
              </a:spcAft>
              <a:buClrTx/>
              <a:buSzTx/>
              <a:buFontTx/>
              <a:buNone/>
              <a:tabLst/>
              <a:defRPr/>
            </a:pPr>
            <a:endParaRPr kumimoji="0" lang="en-IN" sz="3137" b="0" i="0" u="none" strike="noStrike" kern="1200" cap="none" spc="0" normalizeH="0" baseline="0" noProof="0" dirty="0">
              <a:ln>
                <a:noFill/>
              </a:ln>
              <a:solidFill>
                <a:schemeClr val="tx1"/>
              </a:solidFill>
              <a:effectLst/>
              <a:uLnTx/>
              <a:uFillTx/>
              <a:latin typeface="+mj-lt"/>
              <a:ea typeface="+mj-ea"/>
              <a:cs typeface="+mj-cs"/>
            </a:endParaRPr>
          </a:p>
        </p:txBody>
      </p:sp>
      <p:sp>
        <p:nvSpPr>
          <p:cNvPr id="27" name="Freeform 5"/>
          <p:cNvSpPr>
            <a:spLocks/>
          </p:cNvSpPr>
          <p:nvPr/>
        </p:nvSpPr>
        <p:spPr bwMode="auto">
          <a:xfrm>
            <a:off x="-5901" y="300155"/>
            <a:ext cx="1473084" cy="899410"/>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01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defTabSz="896215"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404040"/>
              </a:solidFill>
              <a:effectLst/>
              <a:uLnTx/>
              <a:uFillTx/>
            </a:endParaRPr>
          </a:p>
        </p:txBody>
      </p:sp>
      <p:grpSp>
        <p:nvGrpSpPr>
          <p:cNvPr id="93" name="Group 92"/>
          <p:cNvGrpSpPr/>
          <p:nvPr/>
        </p:nvGrpSpPr>
        <p:grpSpPr>
          <a:xfrm>
            <a:off x="4452555" y="4537011"/>
            <a:ext cx="2465168" cy="2168020"/>
            <a:chOff x="471714" y="4259262"/>
            <a:chExt cx="2255838" cy="2255838"/>
          </a:xfrm>
        </p:grpSpPr>
        <p:sp>
          <p:nvSpPr>
            <p:cNvPr id="94" name="Rectangle 93"/>
            <p:cNvSpPr/>
            <p:nvPr/>
          </p:nvSpPr>
          <p:spPr bwMode="auto">
            <a:xfrm>
              <a:off x="471714" y="4259262"/>
              <a:ext cx="2255838" cy="2255838"/>
            </a:xfrm>
            <a:prstGeom prst="rect">
              <a:avLst/>
            </a:prstGeom>
            <a:solidFill>
              <a:srgbClr val="00B294"/>
            </a:solidFill>
            <a:ln w="9525" cap="flat" cmpd="sng" algn="ctr">
              <a:noFill/>
              <a:prstDash val="solid"/>
              <a:headEnd type="none" w="med" len="med"/>
              <a:tailEnd type="none" w="med" len="med"/>
            </a:ln>
            <a:effectLst/>
          </p:spPr>
          <p:txBody>
            <a:bodyPr lIns="87880" tIns="87880" rIns="32959" bIns="32959" rtlCol="0" anchor="b" anchorCtr="0"/>
            <a:lstStyle/>
            <a:p>
              <a:pPr marL="0" marR="0" lvl="0" indent="0" algn="ctr" defTabSz="896031" eaLnBrk="1" fontAlgn="auto" latinLnBrk="0" hangingPunct="1">
                <a:lnSpc>
                  <a:spcPct val="100000"/>
                </a:lnSpc>
                <a:spcBef>
                  <a:spcPts val="0"/>
                </a:spcBef>
                <a:spcAft>
                  <a:spcPts val="0"/>
                </a:spcAft>
                <a:buClrTx/>
                <a:buSzTx/>
                <a:buFontTx/>
                <a:buNone/>
                <a:tabLst/>
                <a:defRPr/>
              </a:pPr>
              <a:endParaRPr kumimoji="0" lang="en-US" sz="76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5" name="TextBox 94"/>
            <p:cNvSpPr txBox="1"/>
            <p:nvPr/>
          </p:nvSpPr>
          <p:spPr>
            <a:xfrm>
              <a:off x="704898" y="4987638"/>
              <a:ext cx="1787743" cy="847660"/>
            </a:xfrm>
            <a:prstGeom prst="rect">
              <a:avLst/>
            </a:prstGeom>
            <a:noFill/>
          </p:spPr>
          <p:txBody>
            <a:bodyPr wrap="square" rtlCol="0">
              <a:spAutoFit/>
            </a:bodyPr>
            <a:lstStyle/>
            <a:p>
              <a:pPr marL="0" marR="0" lvl="0" indent="0" algn="ctr" defTabSz="89635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gradFill>
                    <a:gsLst>
                      <a:gs pos="1250">
                        <a:srgbClr val="FFFFFF"/>
                      </a:gs>
                      <a:gs pos="100000">
                        <a:srgbClr val="FFFFFF"/>
                      </a:gs>
                    </a:gsLst>
                    <a:lin ang="5400000" scaled="0"/>
                  </a:gradFill>
                  <a:effectLst/>
                  <a:uLnTx/>
                  <a:uFillTx/>
                </a:rPr>
                <a:t>Evaluate Frequencies</a:t>
              </a:r>
            </a:p>
          </p:txBody>
        </p:sp>
      </p:grpSp>
      <p:pic>
        <p:nvPicPr>
          <p:cNvPr id="4" name="Picture 3"/>
          <p:cNvPicPr>
            <a:picLocks noChangeAspect="1"/>
          </p:cNvPicPr>
          <p:nvPr/>
        </p:nvPicPr>
        <p:blipFill>
          <a:blip r:embed="rId3"/>
          <a:stretch>
            <a:fillRect/>
          </a:stretch>
        </p:blipFill>
        <p:spPr>
          <a:xfrm>
            <a:off x="132519" y="333270"/>
            <a:ext cx="905763" cy="803047"/>
          </a:xfrm>
          <a:prstGeom prst="rect">
            <a:avLst/>
          </a:prstGeom>
        </p:spPr>
      </p:pic>
      <p:sp>
        <p:nvSpPr>
          <p:cNvPr id="35" name="Rectangle 34"/>
          <p:cNvSpPr/>
          <p:nvPr/>
        </p:nvSpPr>
        <p:spPr bwMode="auto">
          <a:xfrm>
            <a:off x="7080840" y="4537009"/>
            <a:ext cx="2465168" cy="2168020"/>
          </a:xfrm>
          <a:prstGeom prst="rect">
            <a:avLst/>
          </a:prstGeom>
          <a:solidFill>
            <a:srgbClr val="00B294"/>
          </a:solidFill>
          <a:ln w="9525" cap="flat" cmpd="sng" algn="ctr">
            <a:noFill/>
            <a:prstDash val="solid"/>
            <a:headEnd type="none" w="med" len="med"/>
            <a:tailEnd type="none" w="med" len="med"/>
          </a:ln>
          <a:effectLst/>
        </p:spPr>
        <p:txBody>
          <a:bodyPr lIns="87880" tIns="87880" rIns="32959" bIns="32959" rtlCol="0" anchor="b" anchorCtr="0"/>
          <a:lstStyle/>
          <a:p>
            <a:pPr marL="0" marR="0" lvl="0" indent="0" algn="ctr" defTabSz="896031" eaLnBrk="1" fontAlgn="auto" latinLnBrk="0" hangingPunct="1">
              <a:lnSpc>
                <a:spcPct val="100000"/>
              </a:lnSpc>
              <a:spcBef>
                <a:spcPts val="0"/>
              </a:spcBef>
              <a:spcAft>
                <a:spcPts val="0"/>
              </a:spcAft>
              <a:buClrTx/>
              <a:buSzTx/>
              <a:buFontTx/>
              <a:buNone/>
              <a:tabLst/>
              <a:defRPr/>
            </a:pPr>
            <a:endParaRPr kumimoji="0" lang="en-US" sz="76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Rectangle 35"/>
          <p:cNvSpPr/>
          <p:nvPr/>
        </p:nvSpPr>
        <p:spPr bwMode="auto">
          <a:xfrm>
            <a:off x="9695783" y="4537009"/>
            <a:ext cx="2465168" cy="2168020"/>
          </a:xfrm>
          <a:prstGeom prst="rect">
            <a:avLst/>
          </a:prstGeom>
          <a:solidFill>
            <a:srgbClr val="00B294"/>
          </a:solidFill>
          <a:ln w="9525" cap="flat" cmpd="sng" algn="ctr">
            <a:noFill/>
            <a:prstDash val="solid"/>
            <a:headEnd type="none" w="med" len="med"/>
            <a:tailEnd type="none" w="med" len="med"/>
          </a:ln>
          <a:effectLst/>
        </p:spPr>
        <p:txBody>
          <a:bodyPr lIns="87880" tIns="87880" rIns="32959" bIns="32959" rtlCol="0" anchor="b" anchorCtr="0"/>
          <a:lstStyle/>
          <a:p>
            <a:pPr marL="0" marR="0" lvl="0" indent="0" algn="ctr" defTabSz="896031" eaLnBrk="1" fontAlgn="auto" latinLnBrk="0" hangingPunct="1">
              <a:lnSpc>
                <a:spcPct val="100000"/>
              </a:lnSpc>
              <a:spcBef>
                <a:spcPts val="0"/>
              </a:spcBef>
              <a:spcAft>
                <a:spcPts val="0"/>
              </a:spcAft>
              <a:buClrTx/>
              <a:buSzTx/>
              <a:buFontTx/>
              <a:buNone/>
              <a:tabLst/>
              <a:defRPr/>
            </a:pPr>
            <a:endParaRPr kumimoji="0" lang="en-US" sz="769"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8" name="TextBox 37"/>
          <p:cNvSpPr txBox="1"/>
          <p:nvPr/>
        </p:nvSpPr>
        <p:spPr>
          <a:xfrm>
            <a:off x="7329934" y="5213688"/>
            <a:ext cx="1953637" cy="814661"/>
          </a:xfrm>
          <a:prstGeom prst="rect">
            <a:avLst/>
          </a:prstGeom>
          <a:noFill/>
        </p:spPr>
        <p:txBody>
          <a:bodyPr wrap="square" rtlCol="0">
            <a:spAutoFit/>
          </a:bodyPr>
          <a:lstStyle/>
          <a:p>
            <a:pPr marL="0" marR="0" lvl="0" indent="0" algn="ctr" defTabSz="89635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gradFill>
                  <a:gsLst>
                    <a:gs pos="1250">
                      <a:srgbClr val="FFFFFF"/>
                    </a:gs>
                    <a:gs pos="100000">
                      <a:srgbClr val="FFFFFF"/>
                    </a:gs>
                  </a:gsLst>
                  <a:lin ang="5400000" scaled="0"/>
                </a:gradFill>
                <a:effectLst/>
                <a:uLnTx/>
                <a:uFillTx/>
              </a:rPr>
              <a:t>Predict likely next</a:t>
            </a:r>
          </a:p>
        </p:txBody>
      </p:sp>
      <p:sp>
        <p:nvSpPr>
          <p:cNvPr id="39" name="TextBox 38"/>
          <p:cNvSpPr txBox="1"/>
          <p:nvPr/>
        </p:nvSpPr>
        <p:spPr>
          <a:xfrm>
            <a:off x="9951548" y="5213687"/>
            <a:ext cx="1953637" cy="814661"/>
          </a:xfrm>
          <a:prstGeom prst="rect">
            <a:avLst/>
          </a:prstGeom>
          <a:noFill/>
        </p:spPr>
        <p:txBody>
          <a:bodyPr wrap="square" rtlCol="0">
            <a:spAutoFit/>
          </a:bodyPr>
          <a:lstStyle/>
          <a:p>
            <a:pPr marL="0" marR="0" lvl="0" indent="0" algn="ctr" defTabSz="896354" eaLnBrk="1" fontAlgn="auto" latinLnBrk="0" hangingPunct="1">
              <a:lnSpc>
                <a:spcPct val="100000"/>
              </a:lnSpc>
              <a:spcBef>
                <a:spcPts val="0"/>
              </a:spcBef>
              <a:spcAft>
                <a:spcPts val="0"/>
              </a:spcAft>
              <a:buClrTx/>
              <a:buSzTx/>
              <a:buFontTx/>
              <a:buNone/>
              <a:tabLst/>
              <a:defRPr/>
            </a:pPr>
            <a:r>
              <a:rPr kumimoji="0" lang="en-US" sz="2353" b="0" i="0" u="none" strike="noStrike" kern="0" cap="none" spc="0" normalizeH="0" baseline="0" noProof="0" dirty="0">
                <a:ln>
                  <a:noFill/>
                </a:ln>
                <a:gradFill>
                  <a:gsLst>
                    <a:gs pos="1250">
                      <a:srgbClr val="FFFFFF"/>
                    </a:gs>
                    <a:gs pos="100000">
                      <a:srgbClr val="FFFFFF"/>
                    </a:gs>
                  </a:gsLst>
                  <a:lin ang="5400000" scaled="0"/>
                </a:gradFill>
                <a:effectLst/>
                <a:uLnTx/>
                <a:uFillTx/>
              </a:rPr>
              <a:t>Adapt to new corpus*</a:t>
            </a:r>
          </a:p>
        </p:txBody>
      </p:sp>
      <p:pic>
        <p:nvPicPr>
          <p:cNvPr id="10" name="Picture 9"/>
          <p:cNvPicPr>
            <a:picLocks noChangeAspect="1"/>
          </p:cNvPicPr>
          <p:nvPr/>
        </p:nvPicPr>
        <p:blipFill>
          <a:blip r:embed="rId4"/>
          <a:stretch>
            <a:fillRect/>
          </a:stretch>
        </p:blipFill>
        <p:spPr>
          <a:xfrm>
            <a:off x="8337062" y="283732"/>
            <a:ext cx="3562061" cy="28793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3" name="Picture 12"/>
          <p:cNvPicPr>
            <a:picLocks noChangeAspect="1"/>
          </p:cNvPicPr>
          <p:nvPr/>
        </p:nvPicPr>
        <p:blipFill>
          <a:blip r:embed="rId5"/>
          <a:stretch>
            <a:fillRect/>
          </a:stretch>
        </p:blipFill>
        <p:spPr>
          <a:xfrm>
            <a:off x="4533280" y="1047267"/>
            <a:ext cx="3495250" cy="1352260"/>
          </a:xfrm>
          <a:prstGeom prst="rect">
            <a:avLst/>
          </a:prstGeom>
        </p:spPr>
      </p:pic>
      <p:sp>
        <p:nvSpPr>
          <p:cNvPr id="14" name="TextBox 13"/>
          <p:cNvSpPr txBox="1"/>
          <p:nvPr/>
        </p:nvSpPr>
        <p:spPr>
          <a:xfrm>
            <a:off x="4452555" y="3396754"/>
            <a:ext cx="4482124" cy="615522"/>
          </a:xfrm>
          <a:prstGeom prst="rect">
            <a:avLst/>
          </a:prstGeom>
          <a:noFill/>
        </p:spPr>
        <p:txBody>
          <a:bodyPr wrap="square" lIns="179285" tIns="143428" rIns="179285" bIns="143428" rtlCol="0">
            <a:spAutoFit/>
          </a:bodyPr>
          <a:lstStyle/>
          <a:p>
            <a:pPr marL="0" marR="0" lvl="0" indent="0" defTabSz="914400" eaLnBrk="1" fontAlgn="auto" latinLnBrk="0" hangingPunct="1">
              <a:lnSpc>
                <a:spcPct val="90000"/>
              </a:lnSpc>
              <a:spcBef>
                <a:spcPts val="0"/>
              </a:spcBef>
              <a:spcAft>
                <a:spcPts val="588"/>
              </a:spcAft>
              <a:buClrTx/>
              <a:buSzTx/>
              <a:buFontTx/>
              <a:buNone/>
              <a:tabLst/>
              <a:defRPr/>
            </a:pPr>
            <a:r>
              <a:rPr kumimoji="0" lang="en-US" sz="2353" b="0" i="1" u="none" strike="noStrike" kern="0" cap="none" spc="0" normalizeH="0" baseline="0" noProof="0" dirty="0">
                <a:ln>
                  <a:noFill/>
                </a:ln>
                <a:solidFill>
                  <a:srgbClr val="0070C0"/>
                </a:solidFill>
                <a:effectLst/>
                <a:uLnTx/>
                <a:uFillTx/>
              </a:rPr>
              <a:t>New York times square report</a:t>
            </a:r>
          </a:p>
        </p:txBody>
      </p:sp>
      <p:cxnSp>
        <p:nvCxnSpPr>
          <p:cNvPr id="18" name="Straight Connector 17"/>
          <p:cNvCxnSpPr/>
          <p:nvPr/>
        </p:nvCxnSpPr>
        <p:spPr>
          <a:xfrm flipV="1">
            <a:off x="4613109" y="4014679"/>
            <a:ext cx="1225348" cy="4957"/>
          </a:xfrm>
          <a:prstGeom prst="line">
            <a:avLst/>
          </a:prstGeom>
          <a:ln w="38100">
            <a:solidFill>
              <a:srgbClr val="D83B0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5913158" y="4011000"/>
            <a:ext cx="1602181" cy="0"/>
          </a:xfrm>
          <a:prstGeom prst="line">
            <a:avLst/>
          </a:prstGeom>
          <a:ln w="38100">
            <a:solidFill>
              <a:srgbClr val="D83B0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7612335" y="4011000"/>
            <a:ext cx="901492" cy="0"/>
          </a:xfrm>
          <a:prstGeom prst="line">
            <a:avLst/>
          </a:prstGeom>
          <a:ln w="38100">
            <a:solidFill>
              <a:srgbClr val="D83B0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4613108" y="4236022"/>
            <a:ext cx="2047905" cy="9946"/>
          </a:xfrm>
          <a:prstGeom prst="line">
            <a:avLst/>
          </a:prstGeom>
          <a:ln w="38100">
            <a:solidFill>
              <a:srgbClr val="D83B0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6743674" y="4236022"/>
            <a:ext cx="1770153" cy="2634"/>
          </a:xfrm>
          <a:prstGeom prst="line">
            <a:avLst/>
          </a:prstGeom>
          <a:ln w="38100">
            <a:solidFill>
              <a:srgbClr val="D83B0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8526775" y="3445438"/>
            <a:ext cx="495224" cy="905228"/>
          </a:xfrm>
          <a:prstGeom prst="rect">
            <a:avLst/>
          </a:prstGeom>
          <a:noFill/>
        </p:spPr>
        <p:txBody>
          <a:bodyPr wrap="none" lIns="89642" tIns="44821" rIns="89642" bIns="44821">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294" b="0" i="0" u="none" strike="noStrike" kern="0" cap="none" spc="0" normalizeH="0" baseline="0" noProof="0" dirty="0">
                <a:ln w="0"/>
                <a:solidFill>
                  <a:schemeClr val="accent1"/>
                </a:solidFill>
                <a:effectLst>
                  <a:outerShdw blurRad="38100" dist="25400" dir="5400000" algn="ctr" rotWithShape="0">
                    <a:srgbClr val="6E747A">
                      <a:alpha val="43000"/>
                    </a:srgbClr>
                  </a:outerShdw>
                </a:effectLst>
                <a:uLnTx/>
                <a:uFillTx/>
              </a:rPr>
              <a:t>?</a:t>
            </a:r>
          </a:p>
        </p:txBody>
      </p:sp>
      <p:pic>
        <p:nvPicPr>
          <p:cNvPr id="2" name="Picture 1"/>
          <p:cNvPicPr>
            <a:picLocks noChangeAspect="1"/>
          </p:cNvPicPr>
          <p:nvPr/>
        </p:nvPicPr>
        <p:blipFill>
          <a:blip r:embed="rId6"/>
          <a:stretch>
            <a:fillRect/>
          </a:stretch>
        </p:blipFill>
        <p:spPr>
          <a:xfrm>
            <a:off x="3176962" y="679779"/>
            <a:ext cx="5810250" cy="16192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Picture 2"/>
          <p:cNvPicPr>
            <a:picLocks noChangeAspect="1"/>
          </p:cNvPicPr>
          <p:nvPr/>
        </p:nvPicPr>
        <p:blipFill>
          <a:blip r:embed="rId7"/>
          <a:stretch>
            <a:fillRect/>
          </a:stretch>
        </p:blipFill>
        <p:spPr>
          <a:xfrm>
            <a:off x="3211749" y="2435182"/>
            <a:ext cx="7239000" cy="16478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62674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42" presetClass="path" presetSubtype="0" decel="100000" fill="hold" nodeType="withEffect">
                                  <p:stCondLst>
                                    <p:cond delay="250"/>
                                  </p:stCondLst>
                                  <p:childTnLst>
                                    <p:animMotion origin="layout" path="M 0.01523 0.00046 L 4.375E-6 2.59259E-6 " pathEditMode="relative" rAng="0" ptsTypes="AA">
                                      <p:cBhvr>
                                        <p:cTn id="9" dur="500" fill="hold"/>
                                        <p:tgtEl>
                                          <p:spTgt spid="93"/>
                                        </p:tgtEl>
                                        <p:attrNameLst>
                                          <p:attrName>ppt_x</p:attrName>
                                          <p:attrName>ppt_y</p:attrName>
                                        </p:attrNameLst>
                                      </p:cBhvr>
                                      <p:rCtr x="-76800" y="-230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ectangle 46"/>
          <p:cNvSpPr/>
          <p:nvPr/>
        </p:nvSpPr>
        <p:spPr bwMode="auto">
          <a:xfrm>
            <a:off x="1" y="-7812"/>
            <a:ext cx="4377852" cy="6857027"/>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7" name="Rectangle 6"/>
          <p:cNvSpPr/>
          <p:nvPr/>
        </p:nvSpPr>
        <p:spPr>
          <a:xfrm>
            <a:off x="269239" y="1860257"/>
            <a:ext cx="3660401" cy="4194161"/>
          </a:xfrm>
          <a:prstGeom prst="rect">
            <a:avLst/>
          </a:prstGeom>
        </p:spPr>
        <p:txBody>
          <a:bodyPr wrap="square">
            <a:spAutoFit/>
          </a:bodyPr>
          <a:lstStyle/>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Read text document and identify mentions of people, locations, events and things (“entitie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Disambiguate mentions in context and link them to a give knowledge base</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Backend API powering </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Edge browser: “Ask Cortana”</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Android: “Bing Snapshot”</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Available</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Now: Wikipedia</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Later: Bing Satori Knowledge</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Adaptable to enterprise data</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p:txBody>
      </p:sp>
      <p:sp>
        <p:nvSpPr>
          <p:cNvPr id="98" name="Title 2"/>
          <p:cNvSpPr txBox="1">
            <a:spLocks/>
          </p:cNvSpPr>
          <p:nvPr/>
        </p:nvSpPr>
        <p:spPr>
          <a:xfrm>
            <a:off x="1345671" y="363103"/>
            <a:ext cx="3241205"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IN" sz="2353" b="0" i="0" u="none" strike="noStrike" kern="1200" cap="none" spc="-100" normalizeH="0" baseline="0" noProof="0" dirty="0">
                <a:ln w="3175">
                  <a:noFill/>
                </a:ln>
                <a:solidFill>
                  <a:schemeClr val="tx1"/>
                </a:solidFill>
                <a:effectLst/>
                <a:uLnTx/>
                <a:uFillTx/>
                <a:latin typeface="+mj-lt"/>
                <a:ea typeface="+mn-ea"/>
                <a:cs typeface="Segoe UI" pitchFamily="34" charset="0"/>
              </a:rPr>
              <a:t>Entity Linking Service</a:t>
            </a:r>
          </a:p>
          <a:p>
            <a:pPr marL="0" marR="0" lvl="0" indent="0" algn="l" defTabSz="932597" rtl="0" eaLnBrk="1" fontAlgn="auto" latinLnBrk="0" hangingPunct="1">
              <a:lnSpc>
                <a:spcPct val="90000"/>
              </a:lnSpc>
              <a:spcBef>
                <a:spcPct val="0"/>
              </a:spcBef>
              <a:spcAft>
                <a:spcPts val="0"/>
              </a:spcAft>
              <a:buClrTx/>
              <a:buSzTx/>
              <a:buFontTx/>
              <a:buNone/>
              <a:tabLst/>
              <a:defRPr/>
            </a:pPr>
            <a:endParaRPr kumimoji="0" lang="en-IN" sz="1961" b="0" i="0" u="none" strike="noStrike" kern="1200" cap="none" spc="0" normalizeH="0" baseline="0" noProof="0" dirty="0">
              <a:ln>
                <a:noFill/>
              </a:ln>
              <a:solidFill>
                <a:schemeClr val="tx1"/>
              </a:solidFill>
              <a:effectLst/>
              <a:uLnTx/>
              <a:uFillTx/>
              <a:latin typeface="+mj-lt"/>
              <a:ea typeface="+mj-ea"/>
              <a:cs typeface="+mj-cs"/>
            </a:endParaRPr>
          </a:p>
        </p:txBody>
      </p:sp>
      <p:sp>
        <p:nvSpPr>
          <p:cNvPr id="22" name="Freeform 5"/>
          <p:cNvSpPr>
            <a:spLocks/>
          </p:cNvSpPr>
          <p:nvPr/>
        </p:nvSpPr>
        <p:spPr bwMode="auto">
          <a:xfrm>
            <a:off x="0" y="290848"/>
            <a:ext cx="1435684" cy="881854"/>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01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404040"/>
              </a:solidFill>
              <a:effectLst/>
              <a:uLnTx/>
              <a:uFillTx/>
            </a:endParaRPr>
          </a:p>
        </p:txBody>
      </p:sp>
      <p:pic>
        <p:nvPicPr>
          <p:cNvPr id="3" name="Picture 2"/>
          <p:cNvPicPr>
            <a:picLocks noChangeAspect="1"/>
          </p:cNvPicPr>
          <p:nvPr/>
        </p:nvPicPr>
        <p:blipFill>
          <a:blip r:embed="rId3"/>
          <a:stretch>
            <a:fillRect/>
          </a:stretch>
        </p:blipFill>
        <p:spPr>
          <a:xfrm>
            <a:off x="4452554" y="363103"/>
            <a:ext cx="7619611" cy="61953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10435590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Rectangle 46"/>
          <p:cNvSpPr/>
          <p:nvPr/>
        </p:nvSpPr>
        <p:spPr bwMode="auto">
          <a:xfrm>
            <a:off x="1" y="-7812"/>
            <a:ext cx="4377852" cy="6857027"/>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48149" tIns="143407" rIns="179259" bIns="143407" anchor="ctr"/>
          <a:lstStyle/>
          <a:p>
            <a:pPr marL="448107" marR="0" lvl="0" indent="0" defTabSz="914400" eaLnBrk="1" fontAlgn="auto" latinLnBrk="0" hangingPunct="1">
              <a:lnSpc>
                <a:spcPct val="90000"/>
              </a:lnSpc>
              <a:spcBef>
                <a:spcPts val="0"/>
              </a:spcBef>
              <a:spcAft>
                <a:spcPts val="0"/>
              </a:spcAft>
              <a:buClrTx/>
              <a:buSzTx/>
              <a:buFontTx/>
              <a:buNone/>
              <a:tabLst/>
              <a:defRPr/>
            </a:pPr>
            <a:endParaRPr kumimoji="0" lang="en-US" sz="1961"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Light"/>
              <a:ea typeface="MS PGothic" panose="020B0600070205080204" pitchFamily="34" charset="-128"/>
              <a:cs typeface="Segoe UI Light"/>
            </a:endParaRPr>
          </a:p>
        </p:txBody>
      </p:sp>
      <p:sp>
        <p:nvSpPr>
          <p:cNvPr id="7" name="Rectangle 6"/>
          <p:cNvSpPr/>
          <p:nvPr/>
        </p:nvSpPr>
        <p:spPr>
          <a:xfrm>
            <a:off x="257691" y="1717549"/>
            <a:ext cx="3660401" cy="4676758"/>
          </a:xfrm>
          <a:prstGeom prst="rect">
            <a:avLst/>
          </a:prstGeom>
        </p:spPr>
        <p:txBody>
          <a:bodyPr wrap="square">
            <a:spAutoFit/>
          </a:bodyPr>
          <a:lstStyle/>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Draw insights from your data</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Search and Browse</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Rank and Recommend</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Showcase: Academic Knowledge API = KES + academic graph</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What are top publications for a subject?</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Who are the experts?</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Where are the activities taking place?</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Who are working with whom on what?</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When was the work done?</a:t>
            </a:r>
          </a:p>
          <a:p>
            <a:pPr marL="737304" marR="0" lvl="1"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8" b="0" i="0" u="none" strike="noStrike" kern="0" cap="none" spc="0" normalizeH="0" baseline="0" noProof="0" dirty="0">
                <a:ln>
                  <a:noFill/>
                </a:ln>
                <a:effectLst/>
                <a:uLnTx/>
                <a:uFillTx/>
              </a:rPr>
              <a:t>What are the new trends?</a:t>
            </a:r>
          </a:p>
          <a:p>
            <a:pPr marL="280121" marR="0" lvl="0" indent="-280121"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68" b="0" i="0" u="none" strike="noStrike" kern="0" cap="none" spc="0" normalizeH="0" baseline="0" noProof="0" dirty="0">
              <a:ln>
                <a:noFill/>
              </a:ln>
              <a:effectLst/>
              <a:uLnTx/>
              <a:uFillTx/>
            </a:endParaRPr>
          </a:p>
        </p:txBody>
      </p:sp>
      <p:sp>
        <p:nvSpPr>
          <p:cNvPr id="98" name="Title 2"/>
          <p:cNvSpPr txBox="1">
            <a:spLocks/>
          </p:cNvSpPr>
          <p:nvPr/>
        </p:nvSpPr>
        <p:spPr>
          <a:xfrm>
            <a:off x="1345671" y="363103"/>
            <a:ext cx="3241205" cy="899537"/>
          </a:xfrm>
          <a:prstGeom prst="rect">
            <a:avLst/>
          </a:prstGeom>
        </p:spPr>
        <p:txBody>
          <a:bodyPr vert="horz" lIns="89642" tIns="44821" rIns="89642" bIns="44821" rtlCol="0" anchor="t">
            <a:noAutofit/>
          </a:bodyPr>
          <a:lstStyle>
            <a:lvl1pPr algn="l" defTabSz="932597" rtl="0" eaLnBrk="1" latinLnBrk="0" hangingPunct="1">
              <a:lnSpc>
                <a:spcPct val="90000"/>
              </a:lnSpc>
              <a:spcBef>
                <a:spcPct val="0"/>
              </a:spcBef>
              <a:buNone/>
              <a:defRPr sz="5507" kern="1200">
                <a:solidFill>
                  <a:schemeClr val="bg1"/>
                </a:solidFill>
                <a:latin typeface="+mj-lt"/>
                <a:ea typeface="+mj-ea"/>
                <a:cs typeface="+mj-cs"/>
              </a:defRPr>
            </a:lvl1pPr>
          </a:lstStyle>
          <a:p>
            <a:pPr marL="0" marR="0" lvl="0" indent="0" algn="l" defTabSz="932597" rtl="0" eaLnBrk="1" fontAlgn="auto" latinLnBrk="0" hangingPunct="1">
              <a:lnSpc>
                <a:spcPct val="90000"/>
              </a:lnSpc>
              <a:spcBef>
                <a:spcPct val="0"/>
              </a:spcBef>
              <a:spcAft>
                <a:spcPts val="0"/>
              </a:spcAft>
              <a:buClrTx/>
              <a:buSzTx/>
              <a:buFontTx/>
              <a:buNone/>
              <a:tabLst/>
              <a:defRPr/>
            </a:pPr>
            <a:r>
              <a:rPr kumimoji="0" lang="en-IN" sz="2353" b="0" i="0" u="none" strike="noStrike" kern="1200" cap="none" spc="-100" normalizeH="0" baseline="0" noProof="0" dirty="0">
                <a:ln w="3175">
                  <a:noFill/>
                </a:ln>
                <a:solidFill>
                  <a:schemeClr val="tx1"/>
                </a:solidFill>
                <a:effectLst/>
                <a:uLnTx/>
                <a:uFillTx/>
                <a:latin typeface="+mj-lt"/>
                <a:ea typeface="+mn-ea"/>
                <a:cs typeface="Segoe UI" pitchFamily="34" charset="0"/>
              </a:rPr>
              <a:t>Knowledge Exploration Service (KES)</a:t>
            </a:r>
          </a:p>
          <a:p>
            <a:pPr marL="0" marR="0" lvl="0" indent="0" algn="l" defTabSz="932597" rtl="0" eaLnBrk="1" fontAlgn="auto" latinLnBrk="0" hangingPunct="1">
              <a:lnSpc>
                <a:spcPct val="90000"/>
              </a:lnSpc>
              <a:spcBef>
                <a:spcPct val="0"/>
              </a:spcBef>
              <a:spcAft>
                <a:spcPts val="0"/>
              </a:spcAft>
              <a:buClrTx/>
              <a:buSzTx/>
              <a:buFontTx/>
              <a:buNone/>
              <a:tabLst/>
              <a:defRPr/>
            </a:pPr>
            <a:endParaRPr kumimoji="0" lang="en-IN" sz="1961" b="0" i="0" u="none" strike="noStrike" kern="1200" cap="none" spc="0" normalizeH="0" baseline="0" noProof="0" dirty="0">
              <a:ln>
                <a:noFill/>
              </a:ln>
              <a:solidFill>
                <a:schemeClr val="tx1"/>
              </a:solidFill>
              <a:effectLst/>
              <a:uLnTx/>
              <a:uFillTx/>
              <a:latin typeface="+mj-lt"/>
              <a:ea typeface="+mj-ea"/>
              <a:cs typeface="+mj-cs"/>
            </a:endParaRPr>
          </a:p>
        </p:txBody>
      </p:sp>
      <p:sp>
        <p:nvSpPr>
          <p:cNvPr id="22" name="Freeform 5"/>
          <p:cNvSpPr>
            <a:spLocks/>
          </p:cNvSpPr>
          <p:nvPr/>
        </p:nvSpPr>
        <p:spPr bwMode="auto">
          <a:xfrm>
            <a:off x="0" y="290848"/>
            <a:ext cx="1435684" cy="881854"/>
          </a:xfrm>
          <a:custGeom>
            <a:avLst/>
            <a:gdLst>
              <a:gd name="T0" fmla="*/ 914 w 1165"/>
              <a:gd name="T1" fmla="*/ 578 h 578"/>
              <a:gd name="T2" fmla="*/ 0 w 1165"/>
              <a:gd name="T3" fmla="*/ 578 h 578"/>
              <a:gd name="T4" fmla="*/ 0 w 1165"/>
              <a:gd name="T5" fmla="*/ 0 h 578"/>
              <a:gd name="T6" fmla="*/ 1165 w 1165"/>
              <a:gd name="T7" fmla="*/ 0 h 578"/>
              <a:gd name="T8" fmla="*/ 914 w 1165"/>
              <a:gd name="T9" fmla="*/ 578 h 578"/>
              <a:gd name="T10" fmla="*/ 914 w 1165"/>
              <a:gd name="T11" fmla="*/ 578 h 578"/>
              <a:gd name="T12" fmla="*/ 914 w 1165"/>
              <a:gd name="T13" fmla="*/ 578 h 578"/>
            </a:gdLst>
            <a:ahLst/>
            <a:cxnLst>
              <a:cxn ang="0">
                <a:pos x="T0" y="T1"/>
              </a:cxn>
              <a:cxn ang="0">
                <a:pos x="T2" y="T3"/>
              </a:cxn>
              <a:cxn ang="0">
                <a:pos x="T4" y="T5"/>
              </a:cxn>
              <a:cxn ang="0">
                <a:pos x="T6" y="T7"/>
              </a:cxn>
              <a:cxn ang="0">
                <a:pos x="T8" y="T9"/>
              </a:cxn>
              <a:cxn ang="0">
                <a:pos x="T10" y="T11"/>
              </a:cxn>
              <a:cxn ang="0">
                <a:pos x="T12" y="T13"/>
              </a:cxn>
            </a:cxnLst>
            <a:rect l="0" t="0" r="r" b="b"/>
            <a:pathLst>
              <a:path w="1165" h="578">
                <a:moveTo>
                  <a:pt x="914" y="578"/>
                </a:moveTo>
                <a:lnTo>
                  <a:pt x="0" y="578"/>
                </a:lnTo>
                <a:lnTo>
                  <a:pt x="0" y="0"/>
                </a:lnTo>
                <a:lnTo>
                  <a:pt x="1165" y="0"/>
                </a:lnTo>
                <a:lnTo>
                  <a:pt x="914" y="578"/>
                </a:lnTo>
                <a:lnTo>
                  <a:pt x="914" y="578"/>
                </a:lnTo>
                <a:lnTo>
                  <a:pt x="914" y="578"/>
                </a:lnTo>
                <a:close/>
              </a:path>
            </a:pathLst>
          </a:custGeom>
          <a:solidFill>
            <a:srgbClr val="01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404040"/>
              </a:solidFill>
              <a:effectLst/>
              <a:uLnTx/>
              <a:uFillTx/>
            </a:endParaRPr>
          </a:p>
        </p:txBody>
      </p:sp>
      <p:pic>
        <p:nvPicPr>
          <p:cNvPr id="2" name="Picture 1"/>
          <p:cNvPicPr>
            <a:picLocks noChangeAspect="1"/>
          </p:cNvPicPr>
          <p:nvPr/>
        </p:nvPicPr>
        <p:blipFill>
          <a:blip r:embed="rId3"/>
          <a:stretch>
            <a:fillRect/>
          </a:stretch>
        </p:blipFill>
        <p:spPr>
          <a:xfrm>
            <a:off x="4676661" y="37526"/>
            <a:ext cx="7001763" cy="6803037"/>
          </a:xfrm>
          <a:prstGeom prst="rect">
            <a:avLst/>
          </a:prstGeom>
          <a:ln>
            <a:noFill/>
          </a:ln>
          <a:effectLst>
            <a:outerShdw blurRad="190500" algn="tl" rotWithShape="0">
              <a:srgbClr val="000000">
                <a:alpha val="70000"/>
              </a:srgbClr>
            </a:outerShdw>
          </a:effectLst>
        </p:spPr>
      </p:pic>
      <p:pic>
        <p:nvPicPr>
          <p:cNvPr id="4" name="Picture 3"/>
          <p:cNvPicPr>
            <a:picLocks noChangeAspect="1"/>
          </p:cNvPicPr>
          <p:nvPr/>
        </p:nvPicPr>
        <p:blipFill>
          <a:blip r:embed="rId4"/>
          <a:stretch>
            <a:fillRect/>
          </a:stretch>
        </p:blipFill>
        <p:spPr>
          <a:xfrm>
            <a:off x="1952636" y="137104"/>
            <a:ext cx="9144404" cy="6572992"/>
          </a:xfrm>
          <a:prstGeom prst="rect">
            <a:avLst/>
          </a:prstGeom>
          <a:ln>
            <a:noFill/>
          </a:ln>
          <a:effectLst>
            <a:outerShdw blurRad="190500" algn="tl" rotWithShape="0">
              <a:srgbClr val="000000">
                <a:alpha val="70000"/>
              </a:srgbClr>
            </a:outerShdw>
          </a:effectLst>
        </p:spPr>
      </p:pic>
      <p:pic>
        <p:nvPicPr>
          <p:cNvPr id="5" name="Picture 4"/>
          <p:cNvPicPr>
            <a:picLocks noChangeAspect="1"/>
          </p:cNvPicPr>
          <p:nvPr/>
        </p:nvPicPr>
        <p:blipFill>
          <a:blip r:embed="rId5"/>
          <a:stretch>
            <a:fillRect/>
          </a:stretch>
        </p:blipFill>
        <p:spPr>
          <a:xfrm>
            <a:off x="177940" y="356982"/>
            <a:ext cx="784372" cy="737683"/>
          </a:xfrm>
          <a:prstGeom prst="rect">
            <a:avLst/>
          </a:prstGeom>
        </p:spPr>
      </p:pic>
    </p:spTree>
    <p:extLst>
      <p:ext uri="{BB962C8B-B14F-4D97-AF65-F5344CB8AC3E}">
        <p14:creationId xmlns:p14="http://schemas.microsoft.com/office/powerpoint/2010/main" val="3190333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65366" y="1708687"/>
            <a:ext cx="10578452" cy="5375755"/>
          </a:xfrm>
        </p:spPr>
        <p:txBody>
          <a:bodyPr>
            <a:normAutofit/>
          </a:bodyPr>
          <a:lstStyle/>
          <a:p>
            <a:r>
              <a:rPr lang="fr-FR" dirty="0" smtClean="0"/>
              <a:t>Bing Custom </a:t>
            </a:r>
            <a:r>
              <a:rPr lang="fr-FR" dirty="0" err="1" smtClean="0"/>
              <a:t>Search</a:t>
            </a:r>
            <a:r>
              <a:rPr lang="fr-FR" dirty="0" smtClean="0"/>
              <a:t/>
            </a:r>
            <a:br>
              <a:rPr lang="fr-FR" dirty="0" smtClean="0"/>
            </a:br>
            <a:r>
              <a:rPr lang="fr-FR" dirty="0" smtClean="0"/>
              <a:t>Custom Vision Service</a:t>
            </a:r>
            <a:br>
              <a:rPr lang="fr-FR" dirty="0" smtClean="0"/>
            </a:br>
            <a:r>
              <a:rPr lang="fr-FR" dirty="0" smtClean="0"/>
              <a:t>Custom </a:t>
            </a:r>
            <a:r>
              <a:rPr lang="fr-FR" dirty="0" err="1" smtClean="0"/>
              <a:t>Decision</a:t>
            </a:r>
            <a:r>
              <a:rPr lang="fr-FR" dirty="0" smtClean="0"/>
              <a:t> Service</a:t>
            </a:r>
            <a:br>
              <a:rPr lang="fr-FR" dirty="0" smtClean="0"/>
            </a:br>
            <a:r>
              <a:rPr lang="fr-FR" dirty="0" smtClean="0"/>
              <a:t>Cognitive Service </a:t>
            </a:r>
            <a:r>
              <a:rPr lang="fr-FR" dirty="0" err="1" smtClean="0"/>
              <a:t>Labs</a:t>
            </a:r>
            <a:endParaRPr lang="fr-FR" dirty="0"/>
          </a:p>
        </p:txBody>
      </p:sp>
      <p:sp>
        <p:nvSpPr>
          <p:cNvPr id="3" name="Espace réservé du texte 2"/>
          <p:cNvSpPr>
            <a:spLocks noGrp="1"/>
          </p:cNvSpPr>
          <p:nvPr>
            <p:ph type="body" sz="quarter" idx="13"/>
          </p:nvPr>
        </p:nvSpPr>
        <p:spPr/>
        <p:txBody>
          <a:bodyPr>
            <a:noAutofit/>
          </a:bodyPr>
          <a:lstStyle/>
          <a:p>
            <a:r>
              <a:rPr lang="fr-FR" sz="4400" b="1" dirty="0" smtClean="0">
                <a:solidFill>
                  <a:schemeClr val="tx1"/>
                </a:solidFill>
                <a:latin typeface="+mj-lt"/>
              </a:rPr>
              <a:t>Nouveautés de la </a:t>
            </a:r>
            <a:r>
              <a:rPr lang="fr-FR" sz="4400" b="1" dirty="0" err="1" smtClean="0">
                <a:solidFill>
                  <a:schemeClr val="tx1"/>
                </a:solidFill>
                <a:latin typeface="+mj-lt"/>
              </a:rPr>
              <a:t>Build</a:t>
            </a:r>
            <a:endParaRPr lang="fr-FR" sz="4400" b="1" dirty="0">
              <a:solidFill>
                <a:schemeClr val="tx1"/>
              </a:solidFill>
              <a:latin typeface="+mj-lt"/>
            </a:endParaRPr>
          </a:p>
        </p:txBody>
      </p:sp>
    </p:spTree>
    <p:extLst>
      <p:ext uri="{BB962C8B-B14F-4D97-AF65-F5344CB8AC3E}">
        <p14:creationId xmlns:p14="http://schemas.microsoft.com/office/powerpoint/2010/main" val="5519869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a:off x="2199222" y="547840"/>
            <a:ext cx="7793557" cy="9235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r>
              <a:rPr lang="en-US" sz="3921" kern="0" dirty="0">
                <a:gradFill>
                  <a:gsLst>
                    <a:gs pos="5439">
                      <a:srgbClr val="0078D7"/>
                    </a:gs>
                    <a:gs pos="89000">
                      <a:srgbClr val="0078D7"/>
                    </a:gs>
                  </a:gsLst>
                  <a:lin ang="5400000" scaled="0"/>
                </a:gradFill>
                <a:latin typeface="Segoe UI Light"/>
              </a:rPr>
              <a:t>Bot Framework</a:t>
            </a:r>
          </a:p>
        </p:txBody>
      </p:sp>
      <p:grpSp>
        <p:nvGrpSpPr>
          <p:cNvPr id="24" name="Group 23"/>
          <p:cNvGrpSpPr/>
          <p:nvPr/>
        </p:nvGrpSpPr>
        <p:grpSpPr>
          <a:xfrm>
            <a:off x="3031392" y="1600483"/>
            <a:ext cx="6129216" cy="417928"/>
            <a:chOff x="2142068" y="1582268"/>
            <a:chExt cx="7713131" cy="525931"/>
          </a:xfrm>
        </p:grpSpPr>
        <p:pic>
          <p:nvPicPr>
            <p:cNvPr id="13" name="Picture 12"/>
            <p:cNvPicPr>
              <a:picLocks noChangeAspect="1"/>
            </p:cNvPicPr>
            <p:nvPr/>
          </p:nvPicPr>
          <p:blipFill rotWithShape="1">
            <a:blip r:embed="rId3"/>
            <a:srcRect l="43978" t="11720" r="41918" b="72806"/>
            <a:stretch/>
          </p:blipFill>
          <p:spPr>
            <a:xfrm>
              <a:off x="2142068" y="1602588"/>
              <a:ext cx="505611" cy="505611"/>
            </a:xfrm>
            <a:prstGeom prst="rect">
              <a:avLst/>
            </a:prstGeom>
          </p:spPr>
        </p:pic>
        <p:pic>
          <p:nvPicPr>
            <p:cNvPr id="15" name="Picture 14"/>
            <p:cNvPicPr>
              <a:picLocks noChangeAspect="1"/>
            </p:cNvPicPr>
            <p:nvPr/>
          </p:nvPicPr>
          <p:blipFill rotWithShape="1">
            <a:blip r:embed="rId3"/>
            <a:srcRect l="43814" t="41409" r="42082" b="43117"/>
            <a:stretch/>
          </p:blipFill>
          <p:spPr>
            <a:xfrm>
              <a:off x="3337680" y="1602588"/>
              <a:ext cx="505611" cy="505611"/>
            </a:xfrm>
            <a:prstGeom prst="rect">
              <a:avLst/>
            </a:prstGeom>
          </p:spPr>
        </p:pic>
        <p:pic>
          <p:nvPicPr>
            <p:cNvPr id="16" name="Picture 15"/>
            <p:cNvPicPr>
              <a:picLocks noChangeAspect="1"/>
            </p:cNvPicPr>
            <p:nvPr/>
          </p:nvPicPr>
          <p:blipFill rotWithShape="1">
            <a:blip r:embed="rId3"/>
            <a:srcRect l="70054" t="41409" r="14005" b="43117"/>
            <a:stretch/>
          </p:blipFill>
          <p:spPr>
            <a:xfrm>
              <a:off x="4397826" y="1595121"/>
              <a:ext cx="562006" cy="497252"/>
            </a:xfrm>
            <a:prstGeom prst="rect">
              <a:avLst/>
            </a:prstGeom>
          </p:spPr>
        </p:pic>
        <p:pic>
          <p:nvPicPr>
            <p:cNvPr id="17" name="Picture 16"/>
            <p:cNvPicPr>
              <a:picLocks noChangeAspect="1"/>
            </p:cNvPicPr>
            <p:nvPr/>
          </p:nvPicPr>
          <p:blipFill rotWithShape="1">
            <a:blip r:embed="rId3"/>
            <a:srcRect l="70972" t="71277" r="14924" b="13249"/>
            <a:stretch/>
          </p:blipFill>
          <p:spPr>
            <a:xfrm>
              <a:off x="5514367" y="1602588"/>
              <a:ext cx="505611" cy="505611"/>
            </a:xfrm>
            <a:prstGeom prst="rect">
              <a:avLst/>
            </a:prstGeom>
          </p:spPr>
        </p:pic>
        <p:pic>
          <p:nvPicPr>
            <p:cNvPr id="18" name="Picture 17"/>
            <p:cNvPicPr>
              <a:picLocks noChangeAspect="1"/>
            </p:cNvPicPr>
            <p:nvPr/>
          </p:nvPicPr>
          <p:blipFill rotWithShape="1">
            <a:blip r:embed="rId3"/>
            <a:srcRect l="16510" t="41408" r="69386" b="43118"/>
            <a:stretch/>
          </p:blipFill>
          <p:spPr>
            <a:xfrm>
              <a:off x="6599913" y="1602588"/>
              <a:ext cx="472673" cy="472673"/>
            </a:xfrm>
            <a:prstGeom prst="rect">
              <a:avLst/>
            </a:prstGeom>
          </p:spPr>
        </p:pic>
        <p:pic>
          <p:nvPicPr>
            <p:cNvPr id="19" name="Picture 18"/>
            <p:cNvPicPr>
              <a:picLocks noChangeAspect="1"/>
            </p:cNvPicPr>
            <p:nvPr/>
          </p:nvPicPr>
          <p:blipFill rotWithShape="1">
            <a:blip r:embed="rId3"/>
            <a:srcRect l="16510" t="70737" r="69386" b="13789"/>
            <a:stretch/>
          </p:blipFill>
          <p:spPr>
            <a:xfrm>
              <a:off x="7517051" y="1582268"/>
              <a:ext cx="505611" cy="505611"/>
            </a:xfrm>
            <a:prstGeom prst="rect">
              <a:avLst/>
            </a:prstGeom>
          </p:spPr>
        </p:pic>
        <p:pic>
          <p:nvPicPr>
            <p:cNvPr id="20" name="Picture 19"/>
            <p:cNvPicPr>
              <a:picLocks noChangeAspect="1"/>
            </p:cNvPicPr>
            <p:nvPr/>
          </p:nvPicPr>
          <p:blipFill rotWithShape="1">
            <a:blip r:embed="rId3"/>
            <a:srcRect l="70958" t="11540" r="14938" b="72986"/>
            <a:stretch/>
          </p:blipFill>
          <p:spPr>
            <a:xfrm>
              <a:off x="8433263" y="1597508"/>
              <a:ext cx="505611" cy="505611"/>
            </a:xfrm>
            <a:prstGeom prst="rect">
              <a:avLst/>
            </a:prstGeom>
          </p:spPr>
        </p:pic>
        <p:sp>
          <p:nvSpPr>
            <p:cNvPr id="22" name="Freeform 43"/>
            <p:cNvSpPr>
              <a:spLocks noEditPoints="1"/>
            </p:cNvSpPr>
            <p:nvPr/>
          </p:nvSpPr>
          <p:spPr bwMode="auto">
            <a:xfrm>
              <a:off x="9451078" y="1644947"/>
              <a:ext cx="404121" cy="404121"/>
            </a:xfrm>
            <a:custGeom>
              <a:avLst/>
              <a:gdLst>
                <a:gd name="T0" fmla="*/ 173 w 183"/>
                <a:gd name="T1" fmla="*/ 0 h 183"/>
                <a:gd name="T2" fmla="*/ 11 w 183"/>
                <a:gd name="T3" fmla="*/ 0 h 183"/>
                <a:gd name="T4" fmla="*/ 0 w 183"/>
                <a:gd name="T5" fmla="*/ 10 h 183"/>
                <a:gd name="T6" fmla="*/ 0 w 183"/>
                <a:gd name="T7" fmla="*/ 173 h 183"/>
                <a:gd name="T8" fmla="*/ 11 w 183"/>
                <a:gd name="T9" fmla="*/ 183 h 183"/>
                <a:gd name="T10" fmla="*/ 173 w 183"/>
                <a:gd name="T11" fmla="*/ 183 h 183"/>
                <a:gd name="T12" fmla="*/ 183 w 183"/>
                <a:gd name="T13" fmla="*/ 173 h 183"/>
                <a:gd name="T14" fmla="*/ 183 w 183"/>
                <a:gd name="T15" fmla="*/ 10 h 183"/>
                <a:gd name="T16" fmla="*/ 173 w 183"/>
                <a:gd name="T17" fmla="*/ 0 h 183"/>
                <a:gd name="T18" fmla="*/ 156 w 183"/>
                <a:gd name="T19" fmla="*/ 103 h 183"/>
                <a:gd name="T20" fmla="*/ 131 w 183"/>
                <a:gd name="T21" fmla="*/ 103 h 183"/>
                <a:gd name="T22" fmla="*/ 131 w 183"/>
                <a:gd name="T23" fmla="*/ 170 h 183"/>
                <a:gd name="T24" fmla="*/ 105 w 183"/>
                <a:gd name="T25" fmla="*/ 170 h 183"/>
                <a:gd name="T26" fmla="*/ 105 w 183"/>
                <a:gd name="T27" fmla="*/ 103 h 183"/>
                <a:gd name="T28" fmla="*/ 87 w 183"/>
                <a:gd name="T29" fmla="*/ 103 h 183"/>
                <a:gd name="T30" fmla="*/ 87 w 183"/>
                <a:gd name="T31" fmla="*/ 78 h 183"/>
                <a:gd name="T32" fmla="*/ 105 w 183"/>
                <a:gd name="T33" fmla="*/ 78 h 183"/>
                <a:gd name="T34" fmla="*/ 105 w 183"/>
                <a:gd name="T35" fmla="*/ 58 h 183"/>
                <a:gd name="T36" fmla="*/ 140 w 183"/>
                <a:gd name="T37" fmla="*/ 26 h 183"/>
                <a:gd name="T38" fmla="*/ 157 w 183"/>
                <a:gd name="T39" fmla="*/ 27 h 183"/>
                <a:gd name="T40" fmla="*/ 156 w 183"/>
                <a:gd name="T41" fmla="*/ 50 h 183"/>
                <a:gd name="T42" fmla="*/ 141 w 183"/>
                <a:gd name="T43" fmla="*/ 50 h 183"/>
                <a:gd name="T44" fmla="*/ 131 w 183"/>
                <a:gd name="T45" fmla="*/ 61 h 183"/>
                <a:gd name="T46" fmla="*/ 131 w 183"/>
                <a:gd name="T47" fmla="*/ 78 h 183"/>
                <a:gd name="T48" fmla="*/ 157 w 183"/>
                <a:gd name="T49" fmla="*/ 78 h 183"/>
                <a:gd name="T50" fmla="*/ 156 w 183"/>
                <a:gd name="T5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3" h="183">
                  <a:moveTo>
                    <a:pt x="173" y="0"/>
                  </a:moveTo>
                  <a:cubicBezTo>
                    <a:pt x="11" y="0"/>
                    <a:pt x="11" y="0"/>
                    <a:pt x="11" y="0"/>
                  </a:cubicBezTo>
                  <a:cubicBezTo>
                    <a:pt x="5" y="0"/>
                    <a:pt x="0" y="4"/>
                    <a:pt x="0" y="10"/>
                  </a:cubicBezTo>
                  <a:cubicBezTo>
                    <a:pt x="0" y="173"/>
                    <a:pt x="0" y="173"/>
                    <a:pt x="0" y="173"/>
                  </a:cubicBezTo>
                  <a:cubicBezTo>
                    <a:pt x="0" y="178"/>
                    <a:pt x="5" y="183"/>
                    <a:pt x="11" y="183"/>
                  </a:cubicBezTo>
                  <a:cubicBezTo>
                    <a:pt x="173" y="183"/>
                    <a:pt x="173" y="183"/>
                    <a:pt x="173" y="183"/>
                  </a:cubicBezTo>
                  <a:cubicBezTo>
                    <a:pt x="179" y="183"/>
                    <a:pt x="183" y="178"/>
                    <a:pt x="183" y="173"/>
                  </a:cubicBezTo>
                  <a:cubicBezTo>
                    <a:pt x="183" y="10"/>
                    <a:pt x="183" y="10"/>
                    <a:pt x="183" y="10"/>
                  </a:cubicBezTo>
                  <a:cubicBezTo>
                    <a:pt x="183" y="4"/>
                    <a:pt x="179" y="0"/>
                    <a:pt x="173" y="0"/>
                  </a:cubicBezTo>
                  <a:close/>
                  <a:moveTo>
                    <a:pt x="156" y="103"/>
                  </a:moveTo>
                  <a:cubicBezTo>
                    <a:pt x="131" y="103"/>
                    <a:pt x="131" y="103"/>
                    <a:pt x="131" y="103"/>
                  </a:cubicBezTo>
                  <a:cubicBezTo>
                    <a:pt x="131" y="170"/>
                    <a:pt x="131" y="170"/>
                    <a:pt x="131" y="170"/>
                  </a:cubicBezTo>
                  <a:cubicBezTo>
                    <a:pt x="105" y="170"/>
                    <a:pt x="105" y="170"/>
                    <a:pt x="105" y="170"/>
                  </a:cubicBezTo>
                  <a:cubicBezTo>
                    <a:pt x="105" y="103"/>
                    <a:pt x="105" y="103"/>
                    <a:pt x="105" y="103"/>
                  </a:cubicBezTo>
                  <a:cubicBezTo>
                    <a:pt x="87" y="103"/>
                    <a:pt x="87" y="103"/>
                    <a:pt x="87" y="103"/>
                  </a:cubicBezTo>
                  <a:cubicBezTo>
                    <a:pt x="87" y="78"/>
                    <a:pt x="87" y="78"/>
                    <a:pt x="87" y="78"/>
                  </a:cubicBezTo>
                  <a:cubicBezTo>
                    <a:pt x="105" y="78"/>
                    <a:pt x="105" y="78"/>
                    <a:pt x="105" y="78"/>
                  </a:cubicBezTo>
                  <a:cubicBezTo>
                    <a:pt x="105" y="58"/>
                    <a:pt x="105" y="58"/>
                    <a:pt x="105" y="58"/>
                  </a:cubicBezTo>
                  <a:cubicBezTo>
                    <a:pt x="105" y="41"/>
                    <a:pt x="115" y="26"/>
                    <a:pt x="140" y="26"/>
                  </a:cubicBezTo>
                  <a:cubicBezTo>
                    <a:pt x="149" y="26"/>
                    <a:pt x="157" y="27"/>
                    <a:pt x="157" y="27"/>
                  </a:cubicBezTo>
                  <a:cubicBezTo>
                    <a:pt x="156" y="50"/>
                    <a:pt x="156" y="50"/>
                    <a:pt x="156" y="50"/>
                  </a:cubicBezTo>
                  <a:cubicBezTo>
                    <a:pt x="156" y="50"/>
                    <a:pt x="149" y="50"/>
                    <a:pt x="141" y="50"/>
                  </a:cubicBezTo>
                  <a:cubicBezTo>
                    <a:pt x="132" y="50"/>
                    <a:pt x="131" y="54"/>
                    <a:pt x="131" y="61"/>
                  </a:cubicBezTo>
                  <a:cubicBezTo>
                    <a:pt x="131" y="78"/>
                    <a:pt x="131" y="78"/>
                    <a:pt x="131" y="78"/>
                  </a:cubicBezTo>
                  <a:cubicBezTo>
                    <a:pt x="157" y="78"/>
                    <a:pt x="157" y="78"/>
                    <a:pt x="157" y="78"/>
                  </a:cubicBezTo>
                  <a:lnTo>
                    <a:pt x="156" y="103"/>
                  </a:lnTo>
                  <a:close/>
                </a:path>
              </a:pathLst>
            </a:custGeom>
            <a:solidFill>
              <a:srgbClr val="3B5998"/>
            </a:solidFill>
            <a:ln>
              <a:noFill/>
            </a:ln>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FFFFFF"/>
                </a:solidFill>
                <a:latin typeface="Segoe UI Semilight"/>
              </a:endParaRPr>
            </a:p>
          </p:txBody>
        </p:sp>
      </p:grpSp>
      <p:grpSp>
        <p:nvGrpSpPr>
          <p:cNvPr id="26" name="Group 25"/>
          <p:cNvGrpSpPr/>
          <p:nvPr/>
        </p:nvGrpSpPr>
        <p:grpSpPr>
          <a:xfrm>
            <a:off x="-9338" y="2285747"/>
            <a:ext cx="12201339" cy="4639272"/>
            <a:chOff x="-9526" y="2331084"/>
            <a:chExt cx="12446001" cy="4732299"/>
          </a:xfrm>
        </p:grpSpPr>
        <p:pic>
          <p:nvPicPr>
            <p:cNvPr id="5" name="Picture 4"/>
            <p:cNvPicPr>
              <a:picLocks noChangeAspect="1"/>
            </p:cNvPicPr>
            <p:nvPr/>
          </p:nvPicPr>
          <p:blipFill rotWithShape="1">
            <a:blip r:embed="rId4"/>
            <a:srcRect t="2263" b="40656"/>
            <a:stretch/>
          </p:blipFill>
          <p:spPr>
            <a:xfrm>
              <a:off x="-9526" y="2331084"/>
              <a:ext cx="12435840" cy="4732299"/>
            </a:xfrm>
            <a:prstGeom prst="rect">
              <a:avLst/>
            </a:prstGeom>
          </p:spPr>
        </p:pic>
        <p:cxnSp>
          <p:nvCxnSpPr>
            <p:cNvPr id="50" name="Straight Connector 49"/>
            <p:cNvCxnSpPr/>
            <p:nvPr/>
          </p:nvCxnSpPr>
          <p:spPr>
            <a:xfrm>
              <a:off x="0" y="2331084"/>
              <a:ext cx="12436475" cy="0"/>
            </a:xfrm>
            <a:prstGeom prst="line">
              <a:avLst/>
            </a:prstGeom>
            <a:noFill/>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10881626" y="2725738"/>
              <a:ext cx="457195" cy="23812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312003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300"/>
                                        <p:tgtEl>
                                          <p:spTgt spid="49"/>
                                        </p:tgtEl>
                                      </p:cBhvr>
                                    </p:animEffect>
                                  </p:childTnLst>
                                </p:cTn>
                              </p:par>
                              <p:par>
                                <p:cTn id="8" presetID="42" presetClass="path" presetSubtype="0" decel="100000" fill="hold" grpId="1" nodeType="withEffect">
                                  <p:stCondLst>
                                    <p:cond delay="0"/>
                                  </p:stCondLst>
                                  <p:childTnLst>
                                    <p:animMotion origin="layout" path="M 0 -2.17431E-6 L 0 0.07717 " pathEditMode="relative" rAng="0" ptsTypes="AA">
                                      <p:cBhvr>
                                        <p:cTn id="9" dur="500" spd="-100000" fill="hold"/>
                                        <p:tgtEl>
                                          <p:spTgt spid="49"/>
                                        </p:tgtEl>
                                        <p:attrNameLst>
                                          <p:attrName>ppt_x</p:attrName>
                                          <p:attrName>ppt_y</p:attrName>
                                        </p:attrNameLst>
                                      </p:cBhvr>
                                      <p:rCtr x="0" y="3858"/>
                                    </p:animMotion>
                                  </p:childTnLst>
                                </p:cTn>
                              </p:par>
                              <p:par>
                                <p:cTn id="10" presetID="10" presetClass="entr" presetSubtype="0" fill="hold" nodeType="withEffect">
                                  <p:stCondLst>
                                    <p:cond delay="25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300"/>
                                        <p:tgtEl>
                                          <p:spTgt spid="24"/>
                                        </p:tgtEl>
                                      </p:cBhvr>
                                    </p:animEffect>
                                  </p:childTnLst>
                                </p:cTn>
                              </p:par>
                              <p:par>
                                <p:cTn id="13" presetID="42" presetClass="path" presetSubtype="0" decel="100000" fill="hold" nodeType="withEffect">
                                  <p:stCondLst>
                                    <p:cond delay="50"/>
                                  </p:stCondLst>
                                  <p:childTnLst>
                                    <p:animMotion origin="layout" path="M 0 5.90104E-7 L 0 0.07717 " pathEditMode="relative" rAng="0" ptsTypes="AA">
                                      <p:cBhvr>
                                        <p:cTn id="14" dur="500" spd="-100000" fill="hold"/>
                                        <p:tgtEl>
                                          <p:spTgt spid="24"/>
                                        </p:tgtEl>
                                        <p:attrNameLst>
                                          <p:attrName>ppt_x</p:attrName>
                                          <p:attrName>ppt_y</p:attrName>
                                        </p:attrNameLst>
                                      </p:cBhvr>
                                      <p:rCtr x="0" y="3858"/>
                                    </p:animMotion>
                                  </p:childTnLst>
                                </p:cTn>
                              </p:par>
                              <p:par>
                                <p:cTn id="15" presetID="2" presetClass="entr" presetSubtype="4" decel="10000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additive="base">
                                        <p:cTn id="17" dur="500" fill="hold"/>
                                        <p:tgtEl>
                                          <p:spTgt spid="26"/>
                                        </p:tgtEl>
                                        <p:attrNameLst>
                                          <p:attrName>ppt_x</p:attrName>
                                        </p:attrNameLst>
                                      </p:cBhvr>
                                      <p:tavLst>
                                        <p:tav tm="0">
                                          <p:val>
                                            <p:strVal val="#ppt_x"/>
                                          </p:val>
                                        </p:tav>
                                        <p:tav tm="100000">
                                          <p:val>
                                            <p:strVal val="#ppt_x"/>
                                          </p:val>
                                        </p:tav>
                                      </p:tavLst>
                                    </p:anim>
                                    <p:anim calcmode="lin" valueType="num">
                                      <p:cBhvr additive="base">
                                        <p:cTn id="1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49"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9883" y="-1750979"/>
            <a:ext cx="15831767" cy="10554511"/>
          </a:xfrm>
          <a:prstGeom prst="rect">
            <a:avLst/>
          </a:prstGeom>
        </p:spPr>
      </p:pic>
      <p:pic>
        <p:nvPicPr>
          <p:cNvPr id="10" name="Picture 5"/>
          <p:cNvPicPr>
            <a:picLocks noChangeAspect="1"/>
          </p:cNvPicPr>
          <p:nvPr/>
        </p:nvPicPr>
        <p:blipFill rotWithShape="1">
          <a:blip r:embed="rId4" cstate="print">
            <a:extLst>
              <a:ext uri="{28A0092B-C50C-407E-A947-70E740481C1C}">
                <a14:useLocalDpi xmlns:a14="http://schemas.microsoft.com/office/drawing/2010/main" val="0"/>
              </a:ext>
            </a:extLst>
          </a:blip>
          <a:srcRect b="6689"/>
          <a:stretch/>
        </p:blipFill>
        <p:spPr>
          <a:xfrm>
            <a:off x="4223084" y="814092"/>
            <a:ext cx="3784332" cy="3458004"/>
          </a:xfrm>
          <a:prstGeom prst="rect">
            <a:avLst/>
          </a:prstGeom>
        </p:spPr>
      </p:pic>
    </p:spTree>
    <p:extLst>
      <p:ext uri="{BB962C8B-B14F-4D97-AF65-F5344CB8AC3E}">
        <p14:creationId xmlns:p14="http://schemas.microsoft.com/office/powerpoint/2010/main" val="3189137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Nous </a:t>
            </a:r>
            <a:r>
              <a:rPr lang="en-US" dirty="0" err="1"/>
              <a:t>suivre</a:t>
            </a:r>
            <a:endParaRPr lang="id-ID" dirty="0"/>
          </a:p>
        </p:txBody>
      </p:sp>
      <p:sp>
        <p:nvSpPr>
          <p:cNvPr id="7" name="Freeform 9"/>
          <p:cNvSpPr>
            <a:spLocks noEditPoints="1"/>
          </p:cNvSpPr>
          <p:nvPr/>
        </p:nvSpPr>
        <p:spPr bwMode="auto">
          <a:xfrm>
            <a:off x="2742713" y="2321874"/>
            <a:ext cx="602606" cy="828066"/>
          </a:xfrm>
          <a:custGeom>
            <a:avLst/>
            <a:gdLst>
              <a:gd name="T0" fmla="*/ 153 w 305"/>
              <a:gd name="T1" fmla="*/ 0 h 420"/>
              <a:gd name="T2" fmla="*/ 152 w 305"/>
              <a:gd name="T3" fmla="*/ 0 h 420"/>
              <a:gd name="T4" fmla="*/ 0 w 305"/>
              <a:gd name="T5" fmla="*/ 153 h 420"/>
              <a:gd name="T6" fmla="*/ 108 w 305"/>
              <a:gd name="T7" fmla="*/ 352 h 420"/>
              <a:gd name="T8" fmla="*/ 108 w 305"/>
              <a:gd name="T9" fmla="*/ 352 h 420"/>
              <a:gd name="T10" fmla="*/ 111 w 305"/>
              <a:gd name="T11" fmla="*/ 352 h 420"/>
              <a:gd name="T12" fmla="*/ 120 w 305"/>
              <a:gd name="T13" fmla="*/ 377 h 420"/>
              <a:gd name="T14" fmla="*/ 113 w 305"/>
              <a:gd name="T15" fmla="*/ 385 h 420"/>
              <a:gd name="T16" fmla="*/ 113 w 305"/>
              <a:gd name="T17" fmla="*/ 412 h 420"/>
              <a:gd name="T18" fmla="*/ 121 w 305"/>
              <a:gd name="T19" fmla="*/ 420 h 420"/>
              <a:gd name="T20" fmla="*/ 153 w 305"/>
              <a:gd name="T21" fmla="*/ 420 h 420"/>
              <a:gd name="T22" fmla="*/ 185 w 305"/>
              <a:gd name="T23" fmla="*/ 420 h 420"/>
              <a:gd name="T24" fmla="*/ 193 w 305"/>
              <a:gd name="T25" fmla="*/ 412 h 420"/>
              <a:gd name="T26" fmla="*/ 193 w 305"/>
              <a:gd name="T27" fmla="*/ 385 h 420"/>
              <a:gd name="T28" fmla="*/ 185 w 305"/>
              <a:gd name="T29" fmla="*/ 377 h 420"/>
              <a:gd name="T30" fmla="*/ 184 w 305"/>
              <a:gd name="T31" fmla="*/ 377 h 420"/>
              <a:gd name="T32" fmla="*/ 192 w 305"/>
              <a:gd name="T33" fmla="*/ 353 h 420"/>
              <a:gd name="T34" fmla="*/ 196 w 305"/>
              <a:gd name="T35" fmla="*/ 353 h 420"/>
              <a:gd name="T36" fmla="*/ 198 w 305"/>
              <a:gd name="T37" fmla="*/ 351 h 420"/>
              <a:gd name="T38" fmla="*/ 305 w 305"/>
              <a:gd name="T39" fmla="*/ 152 h 420"/>
              <a:gd name="T40" fmla="*/ 153 w 305"/>
              <a:gd name="T41" fmla="*/ 0 h 420"/>
              <a:gd name="T42" fmla="*/ 169 w 305"/>
              <a:gd name="T43" fmla="*/ 377 h 420"/>
              <a:gd name="T44" fmla="*/ 153 w 305"/>
              <a:gd name="T45" fmla="*/ 377 h 420"/>
              <a:gd name="T46" fmla="*/ 135 w 305"/>
              <a:gd name="T47" fmla="*/ 377 h 420"/>
              <a:gd name="T48" fmla="*/ 126 w 305"/>
              <a:gd name="T49" fmla="*/ 352 h 420"/>
              <a:gd name="T50" fmla="*/ 153 w 305"/>
              <a:gd name="T51" fmla="*/ 352 h 420"/>
              <a:gd name="T52" fmla="*/ 178 w 305"/>
              <a:gd name="T53" fmla="*/ 352 h 420"/>
              <a:gd name="T54" fmla="*/ 169 w 305"/>
              <a:gd name="T55" fmla="*/ 37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5" h="420">
                <a:moveTo>
                  <a:pt x="153" y="0"/>
                </a:moveTo>
                <a:cubicBezTo>
                  <a:pt x="153" y="0"/>
                  <a:pt x="153" y="0"/>
                  <a:pt x="152" y="0"/>
                </a:cubicBezTo>
                <a:cubicBezTo>
                  <a:pt x="68" y="0"/>
                  <a:pt x="0" y="68"/>
                  <a:pt x="0" y="153"/>
                </a:cubicBezTo>
                <a:cubicBezTo>
                  <a:pt x="0" y="208"/>
                  <a:pt x="64" y="325"/>
                  <a:pt x="108" y="352"/>
                </a:cubicBezTo>
                <a:cubicBezTo>
                  <a:pt x="108" y="352"/>
                  <a:pt x="108" y="352"/>
                  <a:pt x="108" y="352"/>
                </a:cubicBezTo>
                <a:cubicBezTo>
                  <a:pt x="111" y="352"/>
                  <a:pt x="111" y="352"/>
                  <a:pt x="111" y="352"/>
                </a:cubicBezTo>
                <a:cubicBezTo>
                  <a:pt x="120" y="377"/>
                  <a:pt x="120" y="377"/>
                  <a:pt x="120" y="377"/>
                </a:cubicBezTo>
                <a:cubicBezTo>
                  <a:pt x="116" y="378"/>
                  <a:pt x="113" y="381"/>
                  <a:pt x="113" y="385"/>
                </a:cubicBezTo>
                <a:cubicBezTo>
                  <a:pt x="113" y="412"/>
                  <a:pt x="113" y="412"/>
                  <a:pt x="113" y="412"/>
                </a:cubicBezTo>
                <a:cubicBezTo>
                  <a:pt x="113" y="416"/>
                  <a:pt x="117" y="420"/>
                  <a:pt x="121" y="420"/>
                </a:cubicBezTo>
                <a:cubicBezTo>
                  <a:pt x="153" y="420"/>
                  <a:pt x="153" y="420"/>
                  <a:pt x="153" y="420"/>
                </a:cubicBezTo>
                <a:cubicBezTo>
                  <a:pt x="185" y="420"/>
                  <a:pt x="185" y="420"/>
                  <a:pt x="185" y="420"/>
                </a:cubicBezTo>
                <a:cubicBezTo>
                  <a:pt x="189" y="420"/>
                  <a:pt x="193" y="416"/>
                  <a:pt x="193" y="412"/>
                </a:cubicBezTo>
                <a:cubicBezTo>
                  <a:pt x="193" y="385"/>
                  <a:pt x="193" y="385"/>
                  <a:pt x="193" y="385"/>
                </a:cubicBezTo>
                <a:cubicBezTo>
                  <a:pt x="193" y="380"/>
                  <a:pt x="189" y="377"/>
                  <a:pt x="185" y="377"/>
                </a:cubicBezTo>
                <a:cubicBezTo>
                  <a:pt x="184" y="377"/>
                  <a:pt x="184" y="377"/>
                  <a:pt x="184" y="377"/>
                </a:cubicBezTo>
                <a:cubicBezTo>
                  <a:pt x="192" y="353"/>
                  <a:pt x="192" y="353"/>
                  <a:pt x="192" y="353"/>
                </a:cubicBezTo>
                <a:cubicBezTo>
                  <a:pt x="196" y="353"/>
                  <a:pt x="196" y="353"/>
                  <a:pt x="196" y="353"/>
                </a:cubicBezTo>
                <a:cubicBezTo>
                  <a:pt x="197" y="352"/>
                  <a:pt x="197" y="352"/>
                  <a:pt x="198" y="351"/>
                </a:cubicBezTo>
                <a:cubicBezTo>
                  <a:pt x="246" y="324"/>
                  <a:pt x="305" y="210"/>
                  <a:pt x="305" y="152"/>
                </a:cubicBezTo>
                <a:cubicBezTo>
                  <a:pt x="305" y="68"/>
                  <a:pt x="237" y="0"/>
                  <a:pt x="153" y="0"/>
                </a:cubicBezTo>
                <a:close/>
                <a:moveTo>
                  <a:pt x="169" y="377"/>
                </a:moveTo>
                <a:cubicBezTo>
                  <a:pt x="153" y="377"/>
                  <a:pt x="153" y="377"/>
                  <a:pt x="153" y="377"/>
                </a:cubicBezTo>
                <a:cubicBezTo>
                  <a:pt x="135" y="377"/>
                  <a:pt x="135" y="377"/>
                  <a:pt x="135" y="377"/>
                </a:cubicBezTo>
                <a:cubicBezTo>
                  <a:pt x="126" y="352"/>
                  <a:pt x="126" y="352"/>
                  <a:pt x="126" y="352"/>
                </a:cubicBezTo>
                <a:cubicBezTo>
                  <a:pt x="153" y="352"/>
                  <a:pt x="153" y="352"/>
                  <a:pt x="153" y="352"/>
                </a:cubicBezTo>
                <a:cubicBezTo>
                  <a:pt x="178" y="352"/>
                  <a:pt x="178" y="352"/>
                  <a:pt x="178" y="352"/>
                </a:cubicBezTo>
                <a:lnTo>
                  <a:pt x="169" y="377"/>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id-ID"/>
          </a:p>
        </p:txBody>
      </p:sp>
      <p:sp>
        <p:nvSpPr>
          <p:cNvPr id="8" name="TextBox 23"/>
          <p:cNvSpPr txBox="1"/>
          <p:nvPr/>
        </p:nvSpPr>
        <p:spPr>
          <a:xfrm>
            <a:off x="3385616" y="2481591"/>
            <a:ext cx="2087563" cy="400110"/>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d-ID" sz="2000" b="1" dirty="0">
                <a:latin typeface="+mj-lt"/>
              </a:rPr>
              <a:t>Facebook</a:t>
            </a:r>
          </a:p>
        </p:txBody>
      </p:sp>
      <p:sp>
        <p:nvSpPr>
          <p:cNvPr id="9" name="TextBox 23"/>
          <p:cNvSpPr txBox="1"/>
          <p:nvPr/>
        </p:nvSpPr>
        <p:spPr>
          <a:xfrm>
            <a:off x="3385616" y="2835976"/>
            <a:ext cx="2504605" cy="307777"/>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chemeClr val="tx2"/>
                </a:solidFill>
              </a:rPr>
              <a:t>f</a:t>
            </a:r>
            <a:r>
              <a:rPr lang="id-ID" sz="1400" dirty="0">
                <a:solidFill>
                  <a:schemeClr val="tx2"/>
                </a:solidFill>
              </a:rPr>
              <a:t>acebook.com/groups/azugfr/</a:t>
            </a:r>
          </a:p>
        </p:txBody>
      </p:sp>
      <p:sp>
        <p:nvSpPr>
          <p:cNvPr id="11" name="Freeform 9"/>
          <p:cNvSpPr>
            <a:spLocks noEditPoints="1"/>
          </p:cNvSpPr>
          <p:nvPr/>
        </p:nvSpPr>
        <p:spPr bwMode="auto">
          <a:xfrm>
            <a:off x="2742713" y="3507402"/>
            <a:ext cx="602606" cy="828066"/>
          </a:xfrm>
          <a:custGeom>
            <a:avLst/>
            <a:gdLst>
              <a:gd name="T0" fmla="*/ 153 w 305"/>
              <a:gd name="T1" fmla="*/ 0 h 420"/>
              <a:gd name="T2" fmla="*/ 152 w 305"/>
              <a:gd name="T3" fmla="*/ 0 h 420"/>
              <a:gd name="T4" fmla="*/ 0 w 305"/>
              <a:gd name="T5" fmla="*/ 153 h 420"/>
              <a:gd name="T6" fmla="*/ 108 w 305"/>
              <a:gd name="T7" fmla="*/ 352 h 420"/>
              <a:gd name="T8" fmla="*/ 108 w 305"/>
              <a:gd name="T9" fmla="*/ 352 h 420"/>
              <a:gd name="T10" fmla="*/ 111 w 305"/>
              <a:gd name="T11" fmla="*/ 352 h 420"/>
              <a:gd name="T12" fmla="*/ 120 w 305"/>
              <a:gd name="T13" fmla="*/ 377 h 420"/>
              <a:gd name="T14" fmla="*/ 113 w 305"/>
              <a:gd name="T15" fmla="*/ 385 h 420"/>
              <a:gd name="T16" fmla="*/ 113 w 305"/>
              <a:gd name="T17" fmla="*/ 412 h 420"/>
              <a:gd name="T18" fmla="*/ 121 w 305"/>
              <a:gd name="T19" fmla="*/ 420 h 420"/>
              <a:gd name="T20" fmla="*/ 153 w 305"/>
              <a:gd name="T21" fmla="*/ 420 h 420"/>
              <a:gd name="T22" fmla="*/ 185 w 305"/>
              <a:gd name="T23" fmla="*/ 420 h 420"/>
              <a:gd name="T24" fmla="*/ 193 w 305"/>
              <a:gd name="T25" fmla="*/ 412 h 420"/>
              <a:gd name="T26" fmla="*/ 193 w 305"/>
              <a:gd name="T27" fmla="*/ 385 h 420"/>
              <a:gd name="T28" fmla="*/ 185 w 305"/>
              <a:gd name="T29" fmla="*/ 377 h 420"/>
              <a:gd name="T30" fmla="*/ 184 w 305"/>
              <a:gd name="T31" fmla="*/ 377 h 420"/>
              <a:gd name="T32" fmla="*/ 192 w 305"/>
              <a:gd name="T33" fmla="*/ 353 h 420"/>
              <a:gd name="T34" fmla="*/ 196 w 305"/>
              <a:gd name="T35" fmla="*/ 353 h 420"/>
              <a:gd name="T36" fmla="*/ 198 w 305"/>
              <a:gd name="T37" fmla="*/ 351 h 420"/>
              <a:gd name="T38" fmla="*/ 305 w 305"/>
              <a:gd name="T39" fmla="*/ 152 h 420"/>
              <a:gd name="T40" fmla="*/ 153 w 305"/>
              <a:gd name="T41" fmla="*/ 0 h 420"/>
              <a:gd name="T42" fmla="*/ 169 w 305"/>
              <a:gd name="T43" fmla="*/ 377 h 420"/>
              <a:gd name="T44" fmla="*/ 153 w 305"/>
              <a:gd name="T45" fmla="*/ 377 h 420"/>
              <a:gd name="T46" fmla="*/ 135 w 305"/>
              <a:gd name="T47" fmla="*/ 377 h 420"/>
              <a:gd name="T48" fmla="*/ 126 w 305"/>
              <a:gd name="T49" fmla="*/ 352 h 420"/>
              <a:gd name="T50" fmla="*/ 153 w 305"/>
              <a:gd name="T51" fmla="*/ 352 h 420"/>
              <a:gd name="T52" fmla="*/ 178 w 305"/>
              <a:gd name="T53" fmla="*/ 352 h 420"/>
              <a:gd name="T54" fmla="*/ 169 w 305"/>
              <a:gd name="T55" fmla="*/ 37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5" h="420">
                <a:moveTo>
                  <a:pt x="153" y="0"/>
                </a:moveTo>
                <a:cubicBezTo>
                  <a:pt x="153" y="0"/>
                  <a:pt x="153" y="0"/>
                  <a:pt x="152" y="0"/>
                </a:cubicBezTo>
                <a:cubicBezTo>
                  <a:pt x="68" y="0"/>
                  <a:pt x="0" y="68"/>
                  <a:pt x="0" y="153"/>
                </a:cubicBezTo>
                <a:cubicBezTo>
                  <a:pt x="0" y="208"/>
                  <a:pt x="64" y="325"/>
                  <a:pt x="108" y="352"/>
                </a:cubicBezTo>
                <a:cubicBezTo>
                  <a:pt x="108" y="352"/>
                  <a:pt x="108" y="352"/>
                  <a:pt x="108" y="352"/>
                </a:cubicBezTo>
                <a:cubicBezTo>
                  <a:pt x="111" y="352"/>
                  <a:pt x="111" y="352"/>
                  <a:pt x="111" y="352"/>
                </a:cubicBezTo>
                <a:cubicBezTo>
                  <a:pt x="120" y="377"/>
                  <a:pt x="120" y="377"/>
                  <a:pt x="120" y="377"/>
                </a:cubicBezTo>
                <a:cubicBezTo>
                  <a:pt x="116" y="378"/>
                  <a:pt x="113" y="381"/>
                  <a:pt x="113" y="385"/>
                </a:cubicBezTo>
                <a:cubicBezTo>
                  <a:pt x="113" y="412"/>
                  <a:pt x="113" y="412"/>
                  <a:pt x="113" y="412"/>
                </a:cubicBezTo>
                <a:cubicBezTo>
                  <a:pt x="113" y="416"/>
                  <a:pt x="117" y="420"/>
                  <a:pt x="121" y="420"/>
                </a:cubicBezTo>
                <a:cubicBezTo>
                  <a:pt x="153" y="420"/>
                  <a:pt x="153" y="420"/>
                  <a:pt x="153" y="420"/>
                </a:cubicBezTo>
                <a:cubicBezTo>
                  <a:pt x="185" y="420"/>
                  <a:pt x="185" y="420"/>
                  <a:pt x="185" y="420"/>
                </a:cubicBezTo>
                <a:cubicBezTo>
                  <a:pt x="189" y="420"/>
                  <a:pt x="193" y="416"/>
                  <a:pt x="193" y="412"/>
                </a:cubicBezTo>
                <a:cubicBezTo>
                  <a:pt x="193" y="385"/>
                  <a:pt x="193" y="385"/>
                  <a:pt x="193" y="385"/>
                </a:cubicBezTo>
                <a:cubicBezTo>
                  <a:pt x="193" y="380"/>
                  <a:pt x="189" y="377"/>
                  <a:pt x="185" y="377"/>
                </a:cubicBezTo>
                <a:cubicBezTo>
                  <a:pt x="184" y="377"/>
                  <a:pt x="184" y="377"/>
                  <a:pt x="184" y="377"/>
                </a:cubicBezTo>
                <a:cubicBezTo>
                  <a:pt x="192" y="353"/>
                  <a:pt x="192" y="353"/>
                  <a:pt x="192" y="353"/>
                </a:cubicBezTo>
                <a:cubicBezTo>
                  <a:pt x="196" y="353"/>
                  <a:pt x="196" y="353"/>
                  <a:pt x="196" y="353"/>
                </a:cubicBezTo>
                <a:cubicBezTo>
                  <a:pt x="197" y="352"/>
                  <a:pt x="197" y="352"/>
                  <a:pt x="198" y="351"/>
                </a:cubicBezTo>
                <a:cubicBezTo>
                  <a:pt x="246" y="324"/>
                  <a:pt x="305" y="210"/>
                  <a:pt x="305" y="152"/>
                </a:cubicBezTo>
                <a:cubicBezTo>
                  <a:pt x="305" y="68"/>
                  <a:pt x="237" y="0"/>
                  <a:pt x="153" y="0"/>
                </a:cubicBezTo>
                <a:close/>
                <a:moveTo>
                  <a:pt x="169" y="377"/>
                </a:moveTo>
                <a:cubicBezTo>
                  <a:pt x="153" y="377"/>
                  <a:pt x="153" y="377"/>
                  <a:pt x="153" y="377"/>
                </a:cubicBezTo>
                <a:cubicBezTo>
                  <a:pt x="135" y="377"/>
                  <a:pt x="135" y="377"/>
                  <a:pt x="135" y="377"/>
                </a:cubicBezTo>
                <a:cubicBezTo>
                  <a:pt x="126" y="352"/>
                  <a:pt x="126" y="352"/>
                  <a:pt x="126" y="352"/>
                </a:cubicBezTo>
                <a:cubicBezTo>
                  <a:pt x="153" y="352"/>
                  <a:pt x="153" y="352"/>
                  <a:pt x="153" y="352"/>
                </a:cubicBezTo>
                <a:cubicBezTo>
                  <a:pt x="178" y="352"/>
                  <a:pt x="178" y="352"/>
                  <a:pt x="178" y="352"/>
                </a:cubicBezTo>
                <a:lnTo>
                  <a:pt x="169" y="3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id-ID"/>
          </a:p>
        </p:txBody>
      </p:sp>
      <p:sp>
        <p:nvSpPr>
          <p:cNvPr id="13" name="TextBox 23"/>
          <p:cNvSpPr txBox="1"/>
          <p:nvPr/>
        </p:nvSpPr>
        <p:spPr>
          <a:xfrm>
            <a:off x="3385616" y="3667119"/>
            <a:ext cx="2087563" cy="400110"/>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latin typeface="+mj-lt"/>
              </a:rPr>
              <a:t>Twitter</a:t>
            </a:r>
            <a:endParaRPr lang="id-ID" sz="2000" b="1" dirty="0">
              <a:latin typeface="+mj-lt"/>
            </a:endParaRPr>
          </a:p>
        </p:txBody>
      </p:sp>
      <p:sp>
        <p:nvSpPr>
          <p:cNvPr id="14" name="TextBox 23"/>
          <p:cNvSpPr txBox="1"/>
          <p:nvPr/>
        </p:nvSpPr>
        <p:spPr>
          <a:xfrm>
            <a:off x="3385616" y="4021504"/>
            <a:ext cx="2087563" cy="307777"/>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d-ID" sz="1400" dirty="0">
                <a:solidFill>
                  <a:schemeClr val="tx2"/>
                </a:solidFill>
              </a:rPr>
              <a:t>twitter.com/AZUGFR</a:t>
            </a:r>
          </a:p>
        </p:txBody>
      </p:sp>
      <p:sp>
        <p:nvSpPr>
          <p:cNvPr id="15" name="Freeform 9"/>
          <p:cNvSpPr>
            <a:spLocks noEditPoints="1"/>
          </p:cNvSpPr>
          <p:nvPr/>
        </p:nvSpPr>
        <p:spPr bwMode="auto">
          <a:xfrm>
            <a:off x="2752238" y="4625780"/>
            <a:ext cx="602606" cy="828066"/>
          </a:xfrm>
          <a:custGeom>
            <a:avLst/>
            <a:gdLst>
              <a:gd name="T0" fmla="*/ 153 w 305"/>
              <a:gd name="T1" fmla="*/ 0 h 420"/>
              <a:gd name="T2" fmla="*/ 152 w 305"/>
              <a:gd name="T3" fmla="*/ 0 h 420"/>
              <a:gd name="T4" fmla="*/ 0 w 305"/>
              <a:gd name="T5" fmla="*/ 153 h 420"/>
              <a:gd name="T6" fmla="*/ 108 w 305"/>
              <a:gd name="T7" fmla="*/ 352 h 420"/>
              <a:gd name="T8" fmla="*/ 108 w 305"/>
              <a:gd name="T9" fmla="*/ 352 h 420"/>
              <a:gd name="T10" fmla="*/ 111 w 305"/>
              <a:gd name="T11" fmla="*/ 352 h 420"/>
              <a:gd name="T12" fmla="*/ 120 w 305"/>
              <a:gd name="T13" fmla="*/ 377 h 420"/>
              <a:gd name="T14" fmla="*/ 113 w 305"/>
              <a:gd name="T15" fmla="*/ 385 h 420"/>
              <a:gd name="T16" fmla="*/ 113 w 305"/>
              <a:gd name="T17" fmla="*/ 412 h 420"/>
              <a:gd name="T18" fmla="*/ 121 w 305"/>
              <a:gd name="T19" fmla="*/ 420 h 420"/>
              <a:gd name="T20" fmla="*/ 153 w 305"/>
              <a:gd name="T21" fmla="*/ 420 h 420"/>
              <a:gd name="T22" fmla="*/ 185 w 305"/>
              <a:gd name="T23" fmla="*/ 420 h 420"/>
              <a:gd name="T24" fmla="*/ 193 w 305"/>
              <a:gd name="T25" fmla="*/ 412 h 420"/>
              <a:gd name="T26" fmla="*/ 193 w 305"/>
              <a:gd name="T27" fmla="*/ 385 h 420"/>
              <a:gd name="T28" fmla="*/ 185 w 305"/>
              <a:gd name="T29" fmla="*/ 377 h 420"/>
              <a:gd name="T30" fmla="*/ 184 w 305"/>
              <a:gd name="T31" fmla="*/ 377 h 420"/>
              <a:gd name="T32" fmla="*/ 192 w 305"/>
              <a:gd name="T33" fmla="*/ 353 h 420"/>
              <a:gd name="T34" fmla="*/ 196 w 305"/>
              <a:gd name="T35" fmla="*/ 353 h 420"/>
              <a:gd name="T36" fmla="*/ 198 w 305"/>
              <a:gd name="T37" fmla="*/ 351 h 420"/>
              <a:gd name="T38" fmla="*/ 305 w 305"/>
              <a:gd name="T39" fmla="*/ 152 h 420"/>
              <a:gd name="T40" fmla="*/ 153 w 305"/>
              <a:gd name="T41" fmla="*/ 0 h 420"/>
              <a:gd name="T42" fmla="*/ 169 w 305"/>
              <a:gd name="T43" fmla="*/ 377 h 420"/>
              <a:gd name="T44" fmla="*/ 153 w 305"/>
              <a:gd name="T45" fmla="*/ 377 h 420"/>
              <a:gd name="T46" fmla="*/ 135 w 305"/>
              <a:gd name="T47" fmla="*/ 377 h 420"/>
              <a:gd name="T48" fmla="*/ 126 w 305"/>
              <a:gd name="T49" fmla="*/ 352 h 420"/>
              <a:gd name="T50" fmla="*/ 153 w 305"/>
              <a:gd name="T51" fmla="*/ 352 h 420"/>
              <a:gd name="T52" fmla="*/ 178 w 305"/>
              <a:gd name="T53" fmla="*/ 352 h 420"/>
              <a:gd name="T54" fmla="*/ 169 w 305"/>
              <a:gd name="T55" fmla="*/ 37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5" h="420">
                <a:moveTo>
                  <a:pt x="153" y="0"/>
                </a:moveTo>
                <a:cubicBezTo>
                  <a:pt x="153" y="0"/>
                  <a:pt x="153" y="0"/>
                  <a:pt x="152" y="0"/>
                </a:cubicBezTo>
                <a:cubicBezTo>
                  <a:pt x="68" y="0"/>
                  <a:pt x="0" y="68"/>
                  <a:pt x="0" y="153"/>
                </a:cubicBezTo>
                <a:cubicBezTo>
                  <a:pt x="0" y="208"/>
                  <a:pt x="64" y="325"/>
                  <a:pt x="108" y="352"/>
                </a:cubicBezTo>
                <a:cubicBezTo>
                  <a:pt x="108" y="352"/>
                  <a:pt x="108" y="352"/>
                  <a:pt x="108" y="352"/>
                </a:cubicBezTo>
                <a:cubicBezTo>
                  <a:pt x="111" y="352"/>
                  <a:pt x="111" y="352"/>
                  <a:pt x="111" y="352"/>
                </a:cubicBezTo>
                <a:cubicBezTo>
                  <a:pt x="120" y="377"/>
                  <a:pt x="120" y="377"/>
                  <a:pt x="120" y="377"/>
                </a:cubicBezTo>
                <a:cubicBezTo>
                  <a:pt x="116" y="378"/>
                  <a:pt x="113" y="381"/>
                  <a:pt x="113" y="385"/>
                </a:cubicBezTo>
                <a:cubicBezTo>
                  <a:pt x="113" y="412"/>
                  <a:pt x="113" y="412"/>
                  <a:pt x="113" y="412"/>
                </a:cubicBezTo>
                <a:cubicBezTo>
                  <a:pt x="113" y="416"/>
                  <a:pt x="117" y="420"/>
                  <a:pt x="121" y="420"/>
                </a:cubicBezTo>
                <a:cubicBezTo>
                  <a:pt x="153" y="420"/>
                  <a:pt x="153" y="420"/>
                  <a:pt x="153" y="420"/>
                </a:cubicBezTo>
                <a:cubicBezTo>
                  <a:pt x="185" y="420"/>
                  <a:pt x="185" y="420"/>
                  <a:pt x="185" y="420"/>
                </a:cubicBezTo>
                <a:cubicBezTo>
                  <a:pt x="189" y="420"/>
                  <a:pt x="193" y="416"/>
                  <a:pt x="193" y="412"/>
                </a:cubicBezTo>
                <a:cubicBezTo>
                  <a:pt x="193" y="385"/>
                  <a:pt x="193" y="385"/>
                  <a:pt x="193" y="385"/>
                </a:cubicBezTo>
                <a:cubicBezTo>
                  <a:pt x="193" y="380"/>
                  <a:pt x="189" y="377"/>
                  <a:pt x="185" y="377"/>
                </a:cubicBezTo>
                <a:cubicBezTo>
                  <a:pt x="184" y="377"/>
                  <a:pt x="184" y="377"/>
                  <a:pt x="184" y="377"/>
                </a:cubicBezTo>
                <a:cubicBezTo>
                  <a:pt x="192" y="353"/>
                  <a:pt x="192" y="353"/>
                  <a:pt x="192" y="353"/>
                </a:cubicBezTo>
                <a:cubicBezTo>
                  <a:pt x="196" y="353"/>
                  <a:pt x="196" y="353"/>
                  <a:pt x="196" y="353"/>
                </a:cubicBezTo>
                <a:cubicBezTo>
                  <a:pt x="197" y="352"/>
                  <a:pt x="197" y="352"/>
                  <a:pt x="198" y="351"/>
                </a:cubicBezTo>
                <a:cubicBezTo>
                  <a:pt x="246" y="324"/>
                  <a:pt x="305" y="210"/>
                  <a:pt x="305" y="152"/>
                </a:cubicBezTo>
                <a:cubicBezTo>
                  <a:pt x="305" y="68"/>
                  <a:pt x="237" y="0"/>
                  <a:pt x="153" y="0"/>
                </a:cubicBezTo>
                <a:close/>
                <a:moveTo>
                  <a:pt x="169" y="377"/>
                </a:moveTo>
                <a:cubicBezTo>
                  <a:pt x="153" y="377"/>
                  <a:pt x="153" y="377"/>
                  <a:pt x="153" y="377"/>
                </a:cubicBezTo>
                <a:cubicBezTo>
                  <a:pt x="135" y="377"/>
                  <a:pt x="135" y="377"/>
                  <a:pt x="135" y="377"/>
                </a:cubicBezTo>
                <a:cubicBezTo>
                  <a:pt x="126" y="352"/>
                  <a:pt x="126" y="352"/>
                  <a:pt x="126" y="352"/>
                </a:cubicBezTo>
                <a:cubicBezTo>
                  <a:pt x="153" y="352"/>
                  <a:pt x="153" y="352"/>
                  <a:pt x="153" y="352"/>
                </a:cubicBezTo>
                <a:cubicBezTo>
                  <a:pt x="178" y="352"/>
                  <a:pt x="178" y="352"/>
                  <a:pt x="178" y="352"/>
                </a:cubicBezTo>
                <a:lnTo>
                  <a:pt x="169" y="37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id-ID"/>
          </a:p>
        </p:txBody>
      </p:sp>
      <p:sp>
        <p:nvSpPr>
          <p:cNvPr id="17" name="TextBox 23"/>
          <p:cNvSpPr txBox="1"/>
          <p:nvPr/>
        </p:nvSpPr>
        <p:spPr>
          <a:xfrm>
            <a:off x="3395141" y="4785497"/>
            <a:ext cx="2087563" cy="400110"/>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latin typeface="+mj-lt"/>
              </a:rPr>
              <a:t>Meetup</a:t>
            </a:r>
            <a:endParaRPr lang="id-ID" sz="2000" b="1" dirty="0">
              <a:latin typeface="+mj-lt"/>
            </a:endParaRPr>
          </a:p>
        </p:txBody>
      </p:sp>
      <p:sp>
        <p:nvSpPr>
          <p:cNvPr id="18" name="TextBox 23"/>
          <p:cNvSpPr txBox="1"/>
          <p:nvPr/>
        </p:nvSpPr>
        <p:spPr>
          <a:xfrm>
            <a:off x="3395141" y="5139882"/>
            <a:ext cx="2361633" cy="307777"/>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d-ID" sz="1400" dirty="0">
                <a:solidFill>
                  <a:schemeClr val="tx2"/>
                </a:solidFill>
              </a:rPr>
              <a:t>meetup.com/AZUG-FR/</a:t>
            </a:r>
          </a:p>
        </p:txBody>
      </p:sp>
      <p:sp>
        <p:nvSpPr>
          <p:cNvPr id="23" name="Freeform 9"/>
          <p:cNvSpPr>
            <a:spLocks noEditPoints="1"/>
          </p:cNvSpPr>
          <p:nvPr/>
        </p:nvSpPr>
        <p:spPr bwMode="auto">
          <a:xfrm>
            <a:off x="7354740" y="2326215"/>
            <a:ext cx="602606" cy="828066"/>
          </a:xfrm>
          <a:custGeom>
            <a:avLst/>
            <a:gdLst>
              <a:gd name="T0" fmla="*/ 153 w 305"/>
              <a:gd name="T1" fmla="*/ 0 h 420"/>
              <a:gd name="T2" fmla="*/ 152 w 305"/>
              <a:gd name="T3" fmla="*/ 0 h 420"/>
              <a:gd name="T4" fmla="*/ 0 w 305"/>
              <a:gd name="T5" fmla="*/ 153 h 420"/>
              <a:gd name="T6" fmla="*/ 108 w 305"/>
              <a:gd name="T7" fmla="*/ 352 h 420"/>
              <a:gd name="T8" fmla="*/ 108 w 305"/>
              <a:gd name="T9" fmla="*/ 352 h 420"/>
              <a:gd name="T10" fmla="*/ 111 w 305"/>
              <a:gd name="T11" fmla="*/ 352 h 420"/>
              <a:gd name="T12" fmla="*/ 120 w 305"/>
              <a:gd name="T13" fmla="*/ 377 h 420"/>
              <a:gd name="T14" fmla="*/ 113 w 305"/>
              <a:gd name="T15" fmla="*/ 385 h 420"/>
              <a:gd name="T16" fmla="*/ 113 w 305"/>
              <a:gd name="T17" fmla="*/ 412 h 420"/>
              <a:gd name="T18" fmla="*/ 121 w 305"/>
              <a:gd name="T19" fmla="*/ 420 h 420"/>
              <a:gd name="T20" fmla="*/ 153 w 305"/>
              <a:gd name="T21" fmla="*/ 420 h 420"/>
              <a:gd name="T22" fmla="*/ 185 w 305"/>
              <a:gd name="T23" fmla="*/ 420 h 420"/>
              <a:gd name="T24" fmla="*/ 193 w 305"/>
              <a:gd name="T25" fmla="*/ 412 h 420"/>
              <a:gd name="T26" fmla="*/ 193 w 305"/>
              <a:gd name="T27" fmla="*/ 385 h 420"/>
              <a:gd name="T28" fmla="*/ 185 w 305"/>
              <a:gd name="T29" fmla="*/ 377 h 420"/>
              <a:gd name="T30" fmla="*/ 184 w 305"/>
              <a:gd name="T31" fmla="*/ 377 h 420"/>
              <a:gd name="T32" fmla="*/ 192 w 305"/>
              <a:gd name="T33" fmla="*/ 353 h 420"/>
              <a:gd name="T34" fmla="*/ 196 w 305"/>
              <a:gd name="T35" fmla="*/ 353 h 420"/>
              <a:gd name="T36" fmla="*/ 198 w 305"/>
              <a:gd name="T37" fmla="*/ 351 h 420"/>
              <a:gd name="T38" fmla="*/ 305 w 305"/>
              <a:gd name="T39" fmla="*/ 152 h 420"/>
              <a:gd name="T40" fmla="*/ 153 w 305"/>
              <a:gd name="T41" fmla="*/ 0 h 420"/>
              <a:gd name="T42" fmla="*/ 169 w 305"/>
              <a:gd name="T43" fmla="*/ 377 h 420"/>
              <a:gd name="T44" fmla="*/ 153 w 305"/>
              <a:gd name="T45" fmla="*/ 377 h 420"/>
              <a:gd name="T46" fmla="*/ 135 w 305"/>
              <a:gd name="T47" fmla="*/ 377 h 420"/>
              <a:gd name="T48" fmla="*/ 126 w 305"/>
              <a:gd name="T49" fmla="*/ 352 h 420"/>
              <a:gd name="T50" fmla="*/ 153 w 305"/>
              <a:gd name="T51" fmla="*/ 352 h 420"/>
              <a:gd name="T52" fmla="*/ 178 w 305"/>
              <a:gd name="T53" fmla="*/ 352 h 420"/>
              <a:gd name="T54" fmla="*/ 169 w 305"/>
              <a:gd name="T55" fmla="*/ 37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5" h="420">
                <a:moveTo>
                  <a:pt x="153" y="0"/>
                </a:moveTo>
                <a:cubicBezTo>
                  <a:pt x="153" y="0"/>
                  <a:pt x="153" y="0"/>
                  <a:pt x="152" y="0"/>
                </a:cubicBezTo>
                <a:cubicBezTo>
                  <a:pt x="68" y="0"/>
                  <a:pt x="0" y="68"/>
                  <a:pt x="0" y="153"/>
                </a:cubicBezTo>
                <a:cubicBezTo>
                  <a:pt x="0" y="208"/>
                  <a:pt x="64" y="325"/>
                  <a:pt x="108" y="352"/>
                </a:cubicBezTo>
                <a:cubicBezTo>
                  <a:pt x="108" y="352"/>
                  <a:pt x="108" y="352"/>
                  <a:pt x="108" y="352"/>
                </a:cubicBezTo>
                <a:cubicBezTo>
                  <a:pt x="111" y="352"/>
                  <a:pt x="111" y="352"/>
                  <a:pt x="111" y="352"/>
                </a:cubicBezTo>
                <a:cubicBezTo>
                  <a:pt x="120" y="377"/>
                  <a:pt x="120" y="377"/>
                  <a:pt x="120" y="377"/>
                </a:cubicBezTo>
                <a:cubicBezTo>
                  <a:pt x="116" y="378"/>
                  <a:pt x="113" y="381"/>
                  <a:pt x="113" y="385"/>
                </a:cubicBezTo>
                <a:cubicBezTo>
                  <a:pt x="113" y="412"/>
                  <a:pt x="113" y="412"/>
                  <a:pt x="113" y="412"/>
                </a:cubicBezTo>
                <a:cubicBezTo>
                  <a:pt x="113" y="416"/>
                  <a:pt x="117" y="420"/>
                  <a:pt x="121" y="420"/>
                </a:cubicBezTo>
                <a:cubicBezTo>
                  <a:pt x="153" y="420"/>
                  <a:pt x="153" y="420"/>
                  <a:pt x="153" y="420"/>
                </a:cubicBezTo>
                <a:cubicBezTo>
                  <a:pt x="185" y="420"/>
                  <a:pt x="185" y="420"/>
                  <a:pt x="185" y="420"/>
                </a:cubicBezTo>
                <a:cubicBezTo>
                  <a:pt x="189" y="420"/>
                  <a:pt x="193" y="416"/>
                  <a:pt x="193" y="412"/>
                </a:cubicBezTo>
                <a:cubicBezTo>
                  <a:pt x="193" y="385"/>
                  <a:pt x="193" y="385"/>
                  <a:pt x="193" y="385"/>
                </a:cubicBezTo>
                <a:cubicBezTo>
                  <a:pt x="193" y="380"/>
                  <a:pt x="189" y="377"/>
                  <a:pt x="185" y="377"/>
                </a:cubicBezTo>
                <a:cubicBezTo>
                  <a:pt x="184" y="377"/>
                  <a:pt x="184" y="377"/>
                  <a:pt x="184" y="377"/>
                </a:cubicBezTo>
                <a:cubicBezTo>
                  <a:pt x="192" y="353"/>
                  <a:pt x="192" y="353"/>
                  <a:pt x="192" y="353"/>
                </a:cubicBezTo>
                <a:cubicBezTo>
                  <a:pt x="196" y="353"/>
                  <a:pt x="196" y="353"/>
                  <a:pt x="196" y="353"/>
                </a:cubicBezTo>
                <a:cubicBezTo>
                  <a:pt x="197" y="352"/>
                  <a:pt x="197" y="352"/>
                  <a:pt x="198" y="351"/>
                </a:cubicBezTo>
                <a:cubicBezTo>
                  <a:pt x="246" y="324"/>
                  <a:pt x="305" y="210"/>
                  <a:pt x="305" y="152"/>
                </a:cubicBezTo>
                <a:cubicBezTo>
                  <a:pt x="305" y="68"/>
                  <a:pt x="237" y="0"/>
                  <a:pt x="153" y="0"/>
                </a:cubicBezTo>
                <a:close/>
                <a:moveTo>
                  <a:pt x="169" y="377"/>
                </a:moveTo>
                <a:cubicBezTo>
                  <a:pt x="153" y="377"/>
                  <a:pt x="153" y="377"/>
                  <a:pt x="153" y="377"/>
                </a:cubicBezTo>
                <a:cubicBezTo>
                  <a:pt x="135" y="377"/>
                  <a:pt x="135" y="377"/>
                  <a:pt x="135" y="377"/>
                </a:cubicBezTo>
                <a:cubicBezTo>
                  <a:pt x="126" y="352"/>
                  <a:pt x="126" y="352"/>
                  <a:pt x="126" y="352"/>
                </a:cubicBezTo>
                <a:cubicBezTo>
                  <a:pt x="153" y="352"/>
                  <a:pt x="153" y="352"/>
                  <a:pt x="153" y="352"/>
                </a:cubicBezTo>
                <a:cubicBezTo>
                  <a:pt x="178" y="352"/>
                  <a:pt x="178" y="352"/>
                  <a:pt x="178" y="352"/>
                </a:cubicBezTo>
                <a:lnTo>
                  <a:pt x="169" y="377"/>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id-ID"/>
          </a:p>
        </p:txBody>
      </p:sp>
      <p:sp>
        <p:nvSpPr>
          <p:cNvPr id="25" name="TextBox 23"/>
          <p:cNvSpPr txBox="1"/>
          <p:nvPr/>
        </p:nvSpPr>
        <p:spPr>
          <a:xfrm>
            <a:off x="7966165" y="2503863"/>
            <a:ext cx="2087563" cy="400110"/>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d-ID" sz="2000" b="1" dirty="0">
                <a:latin typeface="+mj-lt"/>
              </a:rPr>
              <a:t>Linke</a:t>
            </a:r>
            <a:r>
              <a:rPr lang="en-US" sz="2000" b="1" dirty="0" err="1">
                <a:latin typeface="+mj-lt"/>
              </a:rPr>
              <a:t>dI</a:t>
            </a:r>
            <a:r>
              <a:rPr lang="id-ID" sz="2000" b="1" dirty="0">
                <a:latin typeface="+mj-lt"/>
              </a:rPr>
              <a:t>n</a:t>
            </a:r>
          </a:p>
        </p:txBody>
      </p:sp>
      <p:sp>
        <p:nvSpPr>
          <p:cNvPr id="26" name="TextBox 23"/>
          <p:cNvSpPr txBox="1"/>
          <p:nvPr/>
        </p:nvSpPr>
        <p:spPr>
          <a:xfrm>
            <a:off x="7966165" y="2858248"/>
            <a:ext cx="2087563" cy="307777"/>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d-ID" sz="1400" dirty="0">
                <a:solidFill>
                  <a:schemeClr val="tx2"/>
                </a:solidFill>
              </a:rPr>
              <a:t>Linkedin.com/inspirasign</a:t>
            </a:r>
          </a:p>
        </p:txBody>
      </p:sp>
      <p:sp>
        <p:nvSpPr>
          <p:cNvPr id="32" name="Freeform 31"/>
          <p:cNvSpPr>
            <a:spLocks/>
          </p:cNvSpPr>
          <p:nvPr/>
        </p:nvSpPr>
        <p:spPr bwMode="auto">
          <a:xfrm>
            <a:off x="2967816" y="2492913"/>
            <a:ext cx="152400" cy="323850"/>
          </a:xfrm>
          <a:custGeom>
            <a:avLst/>
            <a:gdLst>
              <a:gd name="T0" fmla="*/ 90 w 90"/>
              <a:gd name="T1" fmla="*/ 62 h 193"/>
              <a:gd name="T2" fmla="*/ 60 w 90"/>
              <a:gd name="T3" fmla="*/ 62 h 193"/>
              <a:gd name="T4" fmla="*/ 60 w 90"/>
              <a:gd name="T5" fmla="*/ 42 h 193"/>
              <a:gd name="T6" fmla="*/ 68 w 90"/>
              <a:gd name="T7" fmla="*/ 33 h 193"/>
              <a:gd name="T8" fmla="*/ 90 w 90"/>
              <a:gd name="T9" fmla="*/ 33 h 193"/>
              <a:gd name="T10" fmla="*/ 90 w 90"/>
              <a:gd name="T11" fmla="*/ 0 h 193"/>
              <a:gd name="T12" fmla="*/ 60 w 90"/>
              <a:gd name="T13" fmla="*/ 0 h 193"/>
              <a:gd name="T14" fmla="*/ 20 w 90"/>
              <a:gd name="T15" fmla="*/ 40 h 193"/>
              <a:gd name="T16" fmla="*/ 20 w 90"/>
              <a:gd name="T17" fmla="*/ 62 h 193"/>
              <a:gd name="T18" fmla="*/ 0 w 90"/>
              <a:gd name="T19" fmla="*/ 62 h 193"/>
              <a:gd name="T20" fmla="*/ 0 w 90"/>
              <a:gd name="T21" fmla="*/ 96 h 193"/>
              <a:gd name="T22" fmla="*/ 20 w 90"/>
              <a:gd name="T23" fmla="*/ 96 h 193"/>
              <a:gd name="T24" fmla="*/ 20 w 90"/>
              <a:gd name="T25" fmla="*/ 193 h 193"/>
              <a:gd name="T26" fmla="*/ 60 w 90"/>
              <a:gd name="T27" fmla="*/ 193 h 193"/>
              <a:gd name="T28" fmla="*/ 60 w 90"/>
              <a:gd name="T29" fmla="*/ 96 h 193"/>
              <a:gd name="T30" fmla="*/ 87 w 90"/>
              <a:gd name="T31" fmla="*/ 96 h 193"/>
              <a:gd name="T32" fmla="*/ 90 w 90"/>
              <a:gd name="T33" fmla="*/ 6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90" y="62"/>
                </a:moveTo>
                <a:cubicBezTo>
                  <a:pt x="60" y="62"/>
                  <a:pt x="60" y="62"/>
                  <a:pt x="60" y="62"/>
                </a:cubicBezTo>
                <a:cubicBezTo>
                  <a:pt x="60" y="42"/>
                  <a:pt x="60" y="42"/>
                  <a:pt x="60" y="42"/>
                </a:cubicBezTo>
                <a:cubicBezTo>
                  <a:pt x="60" y="35"/>
                  <a:pt x="65" y="33"/>
                  <a:pt x="68" y="33"/>
                </a:cubicBezTo>
                <a:cubicBezTo>
                  <a:pt x="72" y="33"/>
                  <a:pt x="90" y="33"/>
                  <a:pt x="90" y="33"/>
                </a:cubicBezTo>
                <a:cubicBezTo>
                  <a:pt x="90" y="0"/>
                  <a:pt x="90" y="0"/>
                  <a:pt x="90" y="0"/>
                </a:cubicBezTo>
                <a:cubicBezTo>
                  <a:pt x="60" y="0"/>
                  <a:pt x="60" y="0"/>
                  <a:pt x="60" y="0"/>
                </a:cubicBezTo>
                <a:cubicBezTo>
                  <a:pt x="27" y="0"/>
                  <a:pt x="20" y="24"/>
                  <a:pt x="20" y="40"/>
                </a:cubicBezTo>
                <a:cubicBezTo>
                  <a:pt x="20" y="62"/>
                  <a:pt x="20" y="62"/>
                  <a:pt x="20" y="62"/>
                </a:cubicBezTo>
                <a:cubicBezTo>
                  <a:pt x="0" y="62"/>
                  <a:pt x="0" y="62"/>
                  <a:pt x="0" y="62"/>
                </a:cubicBezTo>
                <a:cubicBezTo>
                  <a:pt x="0" y="96"/>
                  <a:pt x="0" y="96"/>
                  <a:pt x="0" y="96"/>
                </a:cubicBezTo>
                <a:cubicBezTo>
                  <a:pt x="20" y="96"/>
                  <a:pt x="20" y="96"/>
                  <a:pt x="20" y="96"/>
                </a:cubicBezTo>
                <a:cubicBezTo>
                  <a:pt x="20" y="140"/>
                  <a:pt x="20" y="193"/>
                  <a:pt x="20" y="193"/>
                </a:cubicBezTo>
                <a:cubicBezTo>
                  <a:pt x="60" y="193"/>
                  <a:pt x="60" y="193"/>
                  <a:pt x="60" y="193"/>
                </a:cubicBezTo>
                <a:cubicBezTo>
                  <a:pt x="60" y="193"/>
                  <a:pt x="60" y="139"/>
                  <a:pt x="60" y="96"/>
                </a:cubicBezTo>
                <a:cubicBezTo>
                  <a:pt x="87" y="96"/>
                  <a:pt x="87" y="96"/>
                  <a:pt x="87" y="96"/>
                </a:cubicBezTo>
                <a:lnTo>
                  <a:pt x="90"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41" name="Freeform 40"/>
          <p:cNvSpPr>
            <a:spLocks noEditPoints="1"/>
          </p:cNvSpPr>
          <p:nvPr/>
        </p:nvSpPr>
        <p:spPr bwMode="auto">
          <a:xfrm>
            <a:off x="7490149" y="2492913"/>
            <a:ext cx="331788" cy="333375"/>
          </a:xfrm>
          <a:custGeom>
            <a:avLst/>
            <a:gdLst>
              <a:gd name="T0" fmla="*/ 183 w 198"/>
              <a:gd name="T1" fmla="*/ 0 h 199"/>
              <a:gd name="T2" fmla="*/ 15 w 198"/>
              <a:gd name="T3" fmla="*/ 0 h 199"/>
              <a:gd name="T4" fmla="*/ 0 w 198"/>
              <a:gd name="T5" fmla="*/ 14 h 199"/>
              <a:gd name="T6" fmla="*/ 0 w 198"/>
              <a:gd name="T7" fmla="*/ 185 h 199"/>
              <a:gd name="T8" fmla="*/ 15 w 198"/>
              <a:gd name="T9" fmla="*/ 199 h 199"/>
              <a:gd name="T10" fmla="*/ 183 w 198"/>
              <a:gd name="T11" fmla="*/ 199 h 199"/>
              <a:gd name="T12" fmla="*/ 198 w 198"/>
              <a:gd name="T13" fmla="*/ 185 h 199"/>
              <a:gd name="T14" fmla="*/ 198 w 198"/>
              <a:gd name="T15" fmla="*/ 14 h 199"/>
              <a:gd name="T16" fmla="*/ 183 w 198"/>
              <a:gd name="T17" fmla="*/ 0 h 199"/>
              <a:gd name="T18" fmla="*/ 60 w 198"/>
              <a:gd name="T19" fmla="*/ 166 h 199"/>
              <a:gd name="T20" fmla="*/ 30 w 198"/>
              <a:gd name="T21" fmla="*/ 166 h 199"/>
              <a:gd name="T22" fmla="*/ 30 w 198"/>
              <a:gd name="T23" fmla="*/ 77 h 199"/>
              <a:gd name="T24" fmla="*/ 60 w 198"/>
              <a:gd name="T25" fmla="*/ 77 h 199"/>
              <a:gd name="T26" fmla="*/ 60 w 198"/>
              <a:gd name="T27" fmla="*/ 166 h 199"/>
              <a:gd name="T28" fmla="*/ 45 w 198"/>
              <a:gd name="T29" fmla="*/ 64 h 199"/>
              <a:gd name="T30" fmla="*/ 45 w 198"/>
              <a:gd name="T31" fmla="*/ 64 h 199"/>
              <a:gd name="T32" fmla="*/ 29 w 198"/>
              <a:gd name="T33" fmla="*/ 49 h 199"/>
              <a:gd name="T34" fmla="*/ 45 w 198"/>
              <a:gd name="T35" fmla="*/ 33 h 199"/>
              <a:gd name="T36" fmla="*/ 62 w 198"/>
              <a:gd name="T37" fmla="*/ 49 h 199"/>
              <a:gd name="T38" fmla="*/ 45 w 198"/>
              <a:gd name="T39" fmla="*/ 64 h 199"/>
              <a:gd name="T40" fmla="*/ 168 w 198"/>
              <a:gd name="T41" fmla="*/ 166 h 199"/>
              <a:gd name="T42" fmla="*/ 138 w 198"/>
              <a:gd name="T43" fmla="*/ 166 h 199"/>
              <a:gd name="T44" fmla="*/ 138 w 198"/>
              <a:gd name="T45" fmla="*/ 118 h 199"/>
              <a:gd name="T46" fmla="*/ 123 w 198"/>
              <a:gd name="T47" fmla="*/ 98 h 199"/>
              <a:gd name="T48" fmla="*/ 108 w 198"/>
              <a:gd name="T49" fmla="*/ 109 h 199"/>
              <a:gd name="T50" fmla="*/ 107 w 198"/>
              <a:gd name="T51" fmla="*/ 116 h 199"/>
              <a:gd name="T52" fmla="*/ 107 w 198"/>
              <a:gd name="T53" fmla="*/ 166 h 199"/>
              <a:gd name="T54" fmla="*/ 77 w 198"/>
              <a:gd name="T55" fmla="*/ 166 h 199"/>
              <a:gd name="T56" fmla="*/ 77 w 198"/>
              <a:gd name="T57" fmla="*/ 77 h 199"/>
              <a:gd name="T58" fmla="*/ 107 w 198"/>
              <a:gd name="T59" fmla="*/ 77 h 199"/>
              <a:gd name="T60" fmla="*/ 107 w 198"/>
              <a:gd name="T61" fmla="*/ 89 h 199"/>
              <a:gd name="T62" fmla="*/ 134 w 198"/>
              <a:gd name="T63" fmla="*/ 74 h 199"/>
              <a:gd name="T64" fmla="*/ 168 w 198"/>
              <a:gd name="T65" fmla="*/ 115 h 199"/>
              <a:gd name="T66" fmla="*/ 168 w 198"/>
              <a:gd name="T67" fmla="*/ 1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199">
                <a:moveTo>
                  <a:pt x="183" y="0"/>
                </a:moveTo>
                <a:cubicBezTo>
                  <a:pt x="15" y="0"/>
                  <a:pt x="15" y="0"/>
                  <a:pt x="15" y="0"/>
                </a:cubicBezTo>
                <a:cubicBezTo>
                  <a:pt x="7" y="0"/>
                  <a:pt x="0" y="6"/>
                  <a:pt x="0" y="14"/>
                </a:cubicBezTo>
                <a:cubicBezTo>
                  <a:pt x="0" y="185"/>
                  <a:pt x="0" y="185"/>
                  <a:pt x="0" y="185"/>
                </a:cubicBezTo>
                <a:cubicBezTo>
                  <a:pt x="0" y="192"/>
                  <a:pt x="7" y="199"/>
                  <a:pt x="15" y="199"/>
                </a:cubicBezTo>
                <a:cubicBezTo>
                  <a:pt x="183" y="199"/>
                  <a:pt x="183" y="199"/>
                  <a:pt x="183" y="199"/>
                </a:cubicBezTo>
                <a:cubicBezTo>
                  <a:pt x="191" y="199"/>
                  <a:pt x="198" y="192"/>
                  <a:pt x="198" y="185"/>
                </a:cubicBezTo>
                <a:cubicBezTo>
                  <a:pt x="198" y="14"/>
                  <a:pt x="198" y="14"/>
                  <a:pt x="198" y="14"/>
                </a:cubicBezTo>
                <a:cubicBezTo>
                  <a:pt x="198" y="6"/>
                  <a:pt x="191" y="0"/>
                  <a:pt x="183" y="0"/>
                </a:cubicBezTo>
                <a:close/>
                <a:moveTo>
                  <a:pt x="60" y="166"/>
                </a:moveTo>
                <a:cubicBezTo>
                  <a:pt x="30" y="166"/>
                  <a:pt x="30" y="166"/>
                  <a:pt x="30" y="166"/>
                </a:cubicBezTo>
                <a:cubicBezTo>
                  <a:pt x="30" y="77"/>
                  <a:pt x="30" y="77"/>
                  <a:pt x="30" y="77"/>
                </a:cubicBezTo>
                <a:cubicBezTo>
                  <a:pt x="60" y="77"/>
                  <a:pt x="60" y="77"/>
                  <a:pt x="60" y="77"/>
                </a:cubicBezTo>
                <a:lnTo>
                  <a:pt x="60" y="166"/>
                </a:lnTo>
                <a:close/>
                <a:moveTo>
                  <a:pt x="45" y="64"/>
                </a:moveTo>
                <a:cubicBezTo>
                  <a:pt x="45" y="64"/>
                  <a:pt x="45" y="64"/>
                  <a:pt x="45" y="64"/>
                </a:cubicBezTo>
                <a:cubicBezTo>
                  <a:pt x="35" y="64"/>
                  <a:pt x="29" y="57"/>
                  <a:pt x="29" y="49"/>
                </a:cubicBezTo>
                <a:cubicBezTo>
                  <a:pt x="29" y="40"/>
                  <a:pt x="35" y="33"/>
                  <a:pt x="45" y="33"/>
                </a:cubicBezTo>
                <a:cubicBezTo>
                  <a:pt x="56" y="33"/>
                  <a:pt x="62" y="40"/>
                  <a:pt x="62" y="49"/>
                </a:cubicBezTo>
                <a:cubicBezTo>
                  <a:pt x="62" y="57"/>
                  <a:pt x="56" y="64"/>
                  <a:pt x="45" y="64"/>
                </a:cubicBezTo>
                <a:close/>
                <a:moveTo>
                  <a:pt x="168" y="166"/>
                </a:moveTo>
                <a:cubicBezTo>
                  <a:pt x="138" y="166"/>
                  <a:pt x="138" y="166"/>
                  <a:pt x="138" y="166"/>
                </a:cubicBezTo>
                <a:cubicBezTo>
                  <a:pt x="138" y="118"/>
                  <a:pt x="138" y="118"/>
                  <a:pt x="138" y="118"/>
                </a:cubicBezTo>
                <a:cubicBezTo>
                  <a:pt x="138" y="106"/>
                  <a:pt x="134" y="98"/>
                  <a:pt x="123" y="98"/>
                </a:cubicBezTo>
                <a:cubicBezTo>
                  <a:pt x="115" y="98"/>
                  <a:pt x="110" y="104"/>
                  <a:pt x="108" y="109"/>
                </a:cubicBezTo>
                <a:cubicBezTo>
                  <a:pt x="107" y="111"/>
                  <a:pt x="107" y="114"/>
                  <a:pt x="107" y="116"/>
                </a:cubicBezTo>
                <a:cubicBezTo>
                  <a:pt x="107" y="166"/>
                  <a:pt x="107" y="166"/>
                  <a:pt x="107" y="166"/>
                </a:cubicBezTo>
                <a:cubicBezTo>
                  <a:pt x="77" y="166"/>
                  <a:pt x="77" y="166"/>
                  <a:pt x="77" y="166"/>
                </a:cubicBezTo>
                <a:cubicBezTo>
                  <a:pt x="77" y="166"/>
                  <a:pt x="77" y="85"/>
                  <a:pt x="77" y="77"/>
                </a:cubicBezTo>
                <a:cubicBezTo>
                  <a:pt x="107" y="77"/>
                  <a:pt x="107" y="77"/>
                  <a:pt x="107" y="77"/>
                </a:cubicBezTo>
                <a:cubicBezTo>
                  <a:pt x="107" y="89"/>
                  <a:pt x="107" y="89"/>
                  <a:pt x="107" y="89"/>
                </a:cubicBezTo>
                <a:cubicBezTo>
                  <a:pt x="111" y="83"/>
                  <a:pt x="118" y="74"/>
                  <a:pt x="134" y="74"/>
                </a:cubicBezTo>
                <a:cubicBezTo>
                  <a:pt x="153" y="74"/>
                  <a:pt x="168" y="87"/>
                  <a:pt x="168" y="115"/>
                </a:cubicBezTo>
                <a:lnTo>
                  <a:pt x="168" y="16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id-ID"/>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407381" y="351330"/>
            <a:ext cx="1646347" cy="1456599"/>
          </a:xfrm>
          <a:prstGeom prst="rect">
            <a:avLst/>
          </a:prstGeom>
        </p:spPr>
      </p:pic>
      <p:sp>
        <p:nvSpPr>
          <p:cNvPr id="35" name="Freeform 32"/>
          <p:cNvSpPr>
            <a:spLocks/>
          </p:cNvSpPr>
          <p:nvPr/>
        </p:nvSpPr>
        <p:spPr bwMode="auto">
          <a:xfrm>
            <a:off x="2877616" y="3705849"/>
            <a:ext cx="330200" cy="269875"/>
          </a:xfrm>
          <a:custGeom>
            <a:avLst/>
            <a:gdLst>
              <a:gd name="T0" fmla="*/ 197 w 197"/>
              <a:gd name="T1" fmla="*/ 19 h 160"/>
              <a:gd name="T2" fmla="*/ 174 w 197"/>
              <a:gd name="T3" fmla="*/ 26 h 160"/>
              <a:gd name="T4" fmla="*/ 192 w 197"/>
              <a:gd name="T5" fmla="*/ 3 h 160"/>
              <a:gd name="T6" fmla="*/ 166 w 197"/>
              <a:gd name="T7" fmla="*/ 13 h 160"/>
              <a:gd name="T8" fmla="*/ 137 w 197"/>
              <a:gd name="T9" fmla="*/ 0 h 160"/>
              <a:gd name="T10" fmla="*/ 96 w 197"/>
              <a:gd name="T11" fmla="*/ 41 h 160"/>
              <a:gd name="T12" fmla="*/ 97 w 197"/>
              <a:gd name="T13" fmla="*/ 50 h 160"/>
              <a:gd name="T14" fmla="*/ 14 w 197"/>
              <a:gd name="T15" fmla="*/ 8 h 160"/>
              <a:gd name="T16" fmla="*/ 8 w 197"/>
              <a:gd name="T17" fmla="*/ 28 h 160"/>
              <a:gd name="T18" fmla="*/ 26 w 197"/>
              <a:gd name="T19" fmla="*/ 62 h 160"/>
              <a:gd name="T20" fmla="*/ 8 w 197"/>
              <a:gd name="T21" fmla="*/ 57 h 160"/>
              <a:gd name="T22" fmla="*/ 8 w 197"/>
              <a:gd name="T23" fmla="*/ 57 h 160"/>
              <a:gd name="T24" fmla="*/ 41 w 197"/>
              <a:gd name="T25" fmla="*/ 97 h 160"/>
              <a:gd name="T26" fmla="*/ 30 w 197"/>
              <a:gd name="T27" fmla="*/ 98 h 160"/>
              <a:gd name="T28" fmla="*/ 22 w 197"/>
              <a:gd name="T29" fmla="*/ 97 h 160"/>
              <a:gd name="T30" fmla="*/ 60 w 197"/>
              <a:gd name="T31" fmla="*/ 125 h 160"/>
              <a:gd name="T32" fmla="*/ 10 w 197"/>
              <a:gd name="T33" fmla="*/ 143 h 160"/>
              <a:gd name="T34" fmla="*/ 0 w 197"/>
              <a:gd name="T35" fmla="*/ 142 h 160"/>
              <a:gd name="T36" fmla="*/ 62 w 197"/>
              <a:gd name="T37" fmla="*/ 160 h 160"/>
              <a:gd name="T38" fmla="*/ 177 w 197"/>
              <a:gd name="T39" fmla="*/ 45 h 160"/>
              <a:gd name="T40" fmla="*/ 177 w 197"/>
              <a:gd name="T41" fmla="*/ 40 h 160"/>
              <a:gd name="T42" fmla="*/ 197 w 197"/>
              <a:gd name="T43" fmla="*/ 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60">
                <a:moveTo>
                  <a:pt x="197" y="19"/>
                </a:moveTo>
                <a:cubicBezTo>
                  <a:pt x="190" y="22"/>
                  <a:pt x="182" y="25"/>
                  <a:pt x="174" y="26"/>
                </a:cubicBezTo>
                <a:cubicBezTo>
                  <a:pt x="182" y="21"/>
                  <a:pt x="189" y="13"/>
                  <a:pt x="192" y="3"/>
                </a:cubicBezTo>
                <a:cubicBezTo>
                  <a:pt x="184" y="8"/>
                  <a:pt x="175" y="11"/>
                  <a:pt x="166" y="13"/>
                </a:cubicBezTo>
                <a:cubicBezTo>
                  <a:pt x="159" y="5"/>
                  <a:pt x="148" y="0"/>
                  <a:pt x="137" y="0"/>
                </a:cubicBezTo>
                <a:cubicBezTo>
                  <a:pt x="114" y="0"/>
                  <a:pt x="96" y="18"/>
                  <a:pt x="96" y="41"/>
                </a:cubicBezTo>
                <a:cubicBezTo>
                  <a:pt x="96" y="44"/>
                  <a:pt x="97" y="47"/>
                  <a:pt x="97" y="50"/>
                </a:cubicBezTo>
                <a:cubicBezTo>
                  <a:pt x="64" y="48"/>
                  <a:pt x="34" y="32"/>
                  <a:pt x="14" y="8"/>
                </a:cubicBezTo>
                <a:cubicBezTo>
                  <a:pt x="10" y="14"/>
                  <a:pt x="8" y="21"/>
                  <a:pt x="8" y="28"/>
                </a:cubicBezTo>
                <a:cubicBezTo>
                  <a:pt x="8" y="42"/>
                  <a:pt x="16" y="54"/>
                  <a:pt x="26" y="62"/>
                </a:cubicBezTo>
                <a:cubicBezTo>
                  <a:pt x="20" y="61"/>
                  <a:pt x="14" y="60"/>
                  <a:pt x="8" y="57"/>
                </a:cubicBezTo>
                <a:cubicBezTo>
                  <a:pt x="8" y="57"/>
                  <a:pt x="8" y="57"/>
                  <a:pt x="8" y="57"/>
                </a:cubicBezTo>
                <a:cubicBezTo>
                  <a:pt x="8" y="77"/>
                  <a:pt x="22" y="93"/>
                  <a:pt x="41" y="97"/>
                </a:cubicBezTo>
                <a:cubicBezTo>
                  <a:pt x="37" y="98"/>
                  <a:pt x="34" y="98"/>
                  <a:pt x="30" y="98"/>
                </a:cubicBezTo>
                <a:cubicBezTo>
                  <a:pt x="27" y="98"/>
                  <a:pt x="25" y="98"/>
                  <a:pt x="22" y="97"/>
                </a:cubicBezTo>
                <a:cubicBezTo>
                  <a:pt x="27" y="113"/>
                  <a:pt x="42" y="125"/>
                  <a:pt x="60" y="125"/>
                </a:cubicBezTo>
                <a:cubicBezTo>
                  <a:pt x="46" y="136"/>
                  <a:pt x="29" y="143"/>
                  <a:pt x="10" y="143"/>
                </a:cubicBezTo>
                <a:cubicBezTo>
                  <a:pt x="7" y="143"/>
                  <a:pt x="3" y="143"/>
                  <a:pt x="0" y="142"/>
                </a:cubicBezTo>
                <a:cubicBezTo>
                  <a:pt x="18" y="154"/>
                  <a:pt x="39" y="160"/>
                  <a:pt x="62" y="160"/>
                </a:cubicBezTo>
                <a:cubicBezTo>
                  <a:pt x="137" y="160"/>
                  <a:pt x="177" y="99"/>
                  <a:pt x="177" y="45"/>
                </a:cubicBezTo>
                <a:cubicBezTo>
                  <a:pt x="177" y="44"/>
                  <a:pt x="177" y="42"/>
                  <a:pt x="177" y="40"/>
                </a:cubicBezTo>
                <a:cubicBezTo>
                  <a:pt x="185" y="34"/>
                  <a:pt x="192" y="27"/>
                  <a:pt x="197" y="1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id-ID"/>
          </a:p>
        </p:txBody>
      </p:sp>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83716" y="4625780"/>
            <a:ext cx="539650" cy="582823"/>
          </a:xfrm>
          <a:prstGeom prst="rect">
            <a:avLst/>
          </a:prstGeom>
        </p:spPr>
      </p:pic>
      <p:sp>
        <p:nvSpPr>
          <p:cNvPr id="46" name="Freeform 9"/>
          <p:cNvSpPr>
            <a:spLocks noEditPoints="1"/>
          </p:cNvSpPr>
          <p:nvPr/>
        </p:nvSpPr>
        <p:spPr bwMode="auto">
          <a:xfrm>
            <a:off x="7354740" y="3511967"/>
            <a:ext cx="602606" cy="828066"/>
          </a:xfrm>
          <a:custGeom>
            <a:avLst/>
            <a:gdLst>
              <a:gd name="T0" fmla="*/ 153 w 305"/>
              <a:gd name="T1" fmla="*/ 0 h 420"/>
              <a:gd name="T2" fmla="*/ 152 w 305"/>
              <a:gd name="T3" fmla="*/ 0 h 420"/>
              <a:gd name="T4" fmla="*/ 0 w 305"/>
              <a:gd name="T5" fmla="*/ 153 h 420"/>
              <a:gd name="T6" fmla="*/ 108 w 305"/>
              <a:gd name="T7" fmla="*/ 352 h 420"/>
              <a:gd name="T8" fmla="*/ 108 w 305"/>
              <a:gd name="T9" fmla="*/ 352 h 420"/>
              <a:gd name="T10" fmla="*/ 111 w 305"/>
              <a:gd name="T11" fmla="*/ 352 h 420"/>
              <a:gd name="T12" fmla="*/ 120 w 305"/>
              <a:gd name="T13" fmla="*/ 377 h 420"/>
              <a:gd name="T14" fmla="*/ 113 w 305"/>
              <a:gd name="T15" fmla="*/ 385 h 420"/>
              <a:gd name="T16" fmla="*/ 113 w 305"/>
              <a:gd name="T17" fmla="*/ 412 h 420"/>
              <a:gd name="T18" fmla="*/ 121 w 305"/>
              <a:gd name="T19" fmla="*/ 420 h 420"/>
              <a:gd name="T20" fmla="*/ 153 w 305"/>
              <a:gd name="T21" fmla="*/ 420 h 420"/>
              <a:gd name="T22" fmla="*/ 185 w 305"/>
              <a:gd name="T23" fmla="*/ 420 h 420"/>
              <a:gd name="T24" fmla="*/ 193 w 305"/>
              <a:gd name="T25" fmla="*/ 412 h 420"/>
              <a:gd name="T26" fmla="*/ 193 w 305"/>
              <a:gd name="T27" fmla="*/ 385 h 420"/>
              <a:gd name="T28" fmla="*/ 185 w 305"/>
              <a:gd name="T29" fmla="*/ 377 h 420"/>
              <a:gd name="T30" fmla="*/ 184 w 305"/>
              <a:gd name="T31" fmla="*/ 377 h 420"/>
              <a:gd name="T32" fmla="*/ 192 w 305"/>
              <a:gd name="T33" fmla="*/ 353 h 420"/>
              <a:gd name="T34" fmla="*/ 196 w 305"/>
              <a:gd name="T35" fmla="*/ 353 h 420"/>
              <a:gd name="T36" fmla="*/ 198 w 305"/>
              <a:gd name="T37" fmla="*/ 351 h 420"/>
              <a:gd name="T38" fmla="*/ 305 w 305"/>
              <a:gd name="T39" fmla="*/ 152 h 420"/>
              <a:gd name="T40" fmla="*/ 153 w 305"/>
              <a:gd name="T41" fmla="*/ 0 h 420"/>
              <a:gd name="T42" fmla="*/ 169 w 305"/>
              <a:gd name="T43" fmla="*/ 377 h 420"/>
              <a:gd name="T44" fmla="*/ 153 w 305"/>
              <a:gd name="T45" fmla="*/ 377 h 420"/>
              <a:gd name="T46" fmla="*/ 135 w 305"/>
              <a:gd name="T47" fmla="*/ 377 h 420"/>
              <a:gd name="T48" fmla="*/ 126 w 305"/>
              <a:gd name="T49" fmla="*/ 352 h 420"/>
              <a:gd name="T50" fmla="*/ 153 w 305"/>
              <a:gd name="T51" fmla="*/ 352 h 420"/>
              <a:gd name="T52" fmla="*/ 178 w 305"/>
              <a:gd name="T53" fmla="*/ 352 h 420"/>
              <a:gd name="T54" fmla="*/ 169 w 305"/>
              <a:gd name="T55" fmla="*/ 37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5" h="420">
                <a:moveTo>
                  <a:pt x="153" y="0"/>
                </a:moveTo>
                <a:cubicBezTo>
                  <a:pt x="153" y="0"/>
                  <a:pt x="153" y="0"/>
                  <a:pt x="152" y="0"/>
                </a:cubicBezTo>
                <a:cubicBezTo>
                  <a:pt x="68" y="0"/>
                  <a:pt x="0" y="68"/>
                  <a:pt x="0" y="153"/>
                </a:cubicBezTo>
                <a:cubicBezTo>
                  <a:pt x="0" y="208"/>
                  <a:pt x="64" y="325"/>
                  <a:pt x="108" y="352"/>
                </a:cubicBezTo>
                <a:cubicBezTo>
                  <a:pt x="108" y="352"/>
                  <a:pt x="108" y="352"/>
                  <a:pt x="108" y="352"/>
                </a:cubicBezTo>
                <a:cubicBezTo>
                  <a:pt x="111" y="352"/>
                  <a:pt x="111" y="352"/>
                  <a:pt x="111" y="352"/>
                </a:cubicBezTo>
                <a:cubicBezTo>
                  <a:pt x="120" y="377"/>
                  <a:pt x="120" y="377"/>
                  <a:pt x="120" y="377"/>
                </a:cubicBezTo>
                <a:cubicBezTo>
                  <a:pt x="116" y="378"/>
                  <a:pt x="113" y="381"/>
                  <a:pt x="113" y="385"/>
                </a:cubicBezTo>
                <a:cubicBezTo>
                  <a:pt x="113" y="412"/>
                  <a:pt x="113" y="412"/>
                  <a:pt x="113" y="412"/>
                </a:cubicBezTo>
                <a:cubicBezTo>
                  <a:pt x="113" y="416"/>
                  <a:pt x="117" y="420"/>
                  <a:pt x="121" y="420"/>
                </a:cubicBezTo>
                <a:cubicBezTo>
                  <a:pt x="153" y="420"/>
                  <a:pt x="153" y="420"/>
                  <a:pt x="153" y="420"/>
                </a:cubicBezTo>
                <a:cubicBezTo>
                  <a:pt x="185" y="420"/>
                  <a:pt x="185" y="420"/>
                  <a:pt x="185" y="420"/>
                </a:cubicBezTo>
                <a:cubicBezTo>
                  <a:pt x="189" y="420"/>
                  <a:pt x="193" y="416"/>
                  <a:pt x="193" y="412"/>
                </a:cubicBezTo>
                <a:cubicBezTo>
                  <a:pt x="193" y="385"/>
                  <a:pt x="193" y="385"/>
                  <a:pt x="193" y="385"/>
                </a:cubicBezTo>
                <a:cubicBezTo>
                  <a:pt x="193" y="380"/>
                  <a:pt x="189" y="377"/>
                  <a:pt x="185" y="377"/>
                </a:cubicBezTo>
                <a:cubicBezTo>
                  <a:pt x="184" y="377"/>
                  <a:pt x="184" y="377"/>
                  <a:pt x="184" y="377"/>
                </a:cubicBezTo>
                <a:cubicBezTo>
                  <a:pt x="192" y="353"/>
                  <a:pt x="192" y="353"/>
                  <a:pt x="192" y="353"/>
                </a:cubicBezTo>
                <a:cubicBezTo>
                  <a:pt x="196" y="353"/>
                  <a:pt x="196" y="353"/>
                  <a:pt x="196" y="353"/>
                </a:cubicBezTo>
                <a:cubicBezTo>
                  <a:pt x="197" y="352"/>
                  <a:pt x="197" y="352"/>
                  <a:pt x="198" y="351"/>
                </a:cubicBezTo>
                <a:cubicBezTo>
                  <a:pt x="246" y="324"/>
                  <a:pt x="305" y="210"/>
                  <a:pt x="305" y="152"/>
                </a:cubicBezTo>
                <a:cubicBezTo>
                  <a:pt x="305" y="68"/>
                  <a:pt x="237" y="0"/>
                  <a:pt x="153" y="0"/>
                </a:cubicBezTo>
                <a:close/>
                <a:moveTo>
                  <a:pt x="169" y="377"/>
                </a:moveTo>
                <a:cubicBezTo>
                  <a:pt x="153" y="377"/>
                  <a:pt x="153" y="377"/>
                  <a:pt x="153" y="377"/>
                </a:cubicBezTo>
                <a:cubicBezTo>
                  <a:pt x="135" y="377"/>
                  <a:pt x="135" y="377"/>
                  <a:pt x="135" y="377"/>
                </a:cubicBezTo>
                <a:cubicBezTo>
                  <a:pt x="126" y="352"/>
                  <a:pt x="126" y="352"/>
                  <a:pt x="126" y="352"/>
                </a:cubicBezTo>
                <a:cubicBezTo>
                  <a:pt x="153" y="352"/>
                  <a:pt x="153" y="352"/>
                  <a:pt x="153" y="352"/>
                </a:cubicBezTo>
                <a:cubicBezTo>
                  <a:pt x="178" y="352"/>
                  <a:pt x="178" y="352"/>
                  <a:pt x="178" y="352"/>
                </a:cubicBezTo>
                <a:lnTo>
                  <a:pt x="169" y="37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p>
        </p:txBody>
      </p:sp>
      <p:sp>
        <p:nvSpPr>
          <p:cNvPr id="47" name="TextBox 23"/>
          <p:cNvSpPr txBox="1"/>
          <p:nvPr/>
        </p:nvSpPr>
        <p:spPr>
          <a:xfrm>
            <a:off x="7957345" y="3671684"/>
            <a:ext cx="2087563" cy="400110"/>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a:latin typeface="+mj-lt"/>
              </a:rPr>
              <a:t>Web</a:t>
            </a:r>
            <a:endParaRPr lang="id-ID" sz="2000" b="1" dirty="0">
              <a:latin typeface="+mj-lt"/>
            </a:endParaRPr>
          </a:p>
        </p:txBody>
      </p:sp>
      <p:sp>
        <p:nvSpPr>
          <p:cNvPr id="48" name="TextBox 23"/>
          <p:cNvSpPr txBox="1"/>
          <p:nvPr/>
        </p:nvSpPr>
        <p:spPr>
          <a:xfrm>
            <a:off x="7957345" y="4026069"/>
            <a:ext cx="2087563" cy="307777"/>
          </a:xfrm>
          <a:prstGeom prst="rect">
            <a:avLst/>
          </a:prstGeom>
          <a:noFill/>
        </p:spPr>
        <p:txBody>
          <a:bodyPr wrap="square" rtlCol="0">
            <a:spAutoFit/>
          </a:bodyPr>
          <a:lst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chemeClr val="tx2"/>
                </a:solidFill>
              </a:rPr>
              <a:t>www.azug.fr</a:t>
            </a:r>
            <a:endParaRPr lang="id-ID" sz="1400" dirty="0">
              <a:solidFill>
                <a:schemeClr val="tx2"/>
              </a:solidFill>
            </a:endParaRPr>
          </a:p>
        </p:txBody>
      </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6572" y="3601348"/>
            <a:ext cx="378941" cy="378941"/>
          </a:xfrm>
          <a:prstGeom prst="rect">
            <a:avLst/>
          </a:prstGeom>
        </p:spPr>
      </p:pic>
    </p:spTree>
    <p:extLst>
      <p:ext uri="{BB962C8B-B14F-4D97-AF65-F5344CB8AC3E}">
        <p14:creationId xmlns:p14="http://schemas.microsoft.com/office/powerpoint/2010/main" val="1069940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p:tgtEl>
                                          <p:spTgt spid="15"/>
                                        </p:tgtEl>
                                        <p:attrNameLst>
                                          <p:attrName>ppt_y</p:attrName>
                                        </p:attrNameLst>
                                      </p:cBhvr>
                                      <p:tavLst>
                                        <p:tav tm="0">
                                          <p:val>
                                            <p:strVal val="#ppt_y+#ppt_h*1.125000"/>
                                          </p:val>
                                        </p:tav>
                                        <p:tav tm="100000">
                                          <p:val>
                                            <p:strVal val="#ppt_y"/>
                                          </p:val>
                                        </p:tav>
                                      </p:tavLst>
                                    </p:anim>
                                    <p:animEffect transition="in" filter="wipe(up)">
                                      <p:cBhvr>
                                        <p:cTn id="8" dur="500"/>
                                        <p:tgtEl>
                                          <p:spTgt spid="15"/>
                                        </p:tgtEl>
                                      </p:cBhvr>
                                    </p:animEffect>
                                  </p:childTnLst>
                                </p:cTn>
                              </p:par>
                              <p:par>
                                <p:cTn id="9" presetID="12" presetClass="entr" presetSubtype="4" fill="hold" grpId="0" nodeType="withEffect">
                                  <p:stCondLst>
                                    <p:cond delay="25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p:tgtEl>
                                          <p:spTgt spid="11"/>
                                        </p:tgtEl>
                                        <p:attrNameLst>
                                          <p:attrName>ppt_y</p:attrName>
                                        </p:attrNameLst>
                                      </p:cBhvr>
                                      <p:tavLst>
                                        <p:tav tm="0">
                                          <p:val>
                                            <p:strVal val="#ppt_y+#ppt_h*1.125000"/>
                                          </p:val>
                                        </p:tav>
                                        <p:tav tm="100000">
                                          <p:val>
                                            <p:strVal val="#ppt_y"/>
                                          </p:val>
                                        </p:tav>
                                      </p:tavLst>
                                    </p:anim>
                                    <p:animEffect transition="in" filter="wipe(up)">
                                      <p:cBhvr>
                                        <p:cTn id="12" dur="500"/>
                                        <p:tgtEl>
                                          <p:spTgt spid="11"/>
                                        </p:tgtEl>
                                      </p:cBhvr>
                                    </p:animEffect>
                                  </p:childTnLst>
                                </p:cTn>
                              </p:par>
                              <p:par>
                                <p:cTn id="13" presetID="12" presetClass="entr" presetSubtype="4" fill="hold" grpId="0" nodeType="withEffect">
                                  <p:stCondLst>
                                    <p:cond delay="50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p:tgtEl>
                                          <p:spTgt spid="7"/>
                                        </p:tgtEl>
                                        <p:attrNameLst>
                                          <p:attrName>ppt_y</p:attrName>
                                        </p:attrNameLst>
                                      </p:cBhvr>
                                      <p:tavLst>
                                        <p:tav tm="0">
                                          <p:val>
                                            <p:strVal val="#ppt_y+#ppt_h*1.125000"/>
                                          </p:val>
                                        </p:tav>
                                        <p:tav tm="100000">
                                          <p:val>
                                            <p:strVal val="#ppt_y"/>
                                          </p:val>
                                        </p:tav>
                                      </p:tavLst>
                                    </p:anim>
                                    <p:animEffect transition="in" filter="wipe(up)">
                                      <p:cBhvr>
                                        <p:cTn id="16" dur="500"/>
                                        <p:tgtEl>
                                          <p:spTgt spid="7"/>
                                        </p:tgtEl>
                                      </p:cBhvr>
                                    </p:animEffect>
                                  </p:childTnLst>
                                </p:cTn>
                              </p:par>
                              <p:par>
                                <p:cTn id="17" presetID="12" presetClass="entr" presetSubtype="4" fill="hold" grpId="0" nodeType="withEffect">
                                  <p:stCondLst>
                                    <p:cond delay="100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p:tgtEl>
                                          <p:spTgt spid="23"/>
                                        </p:tgtEl>
                                        <p:attrNameLst>
                                          <p:attrName>ppt_y</p:attrName>
                                        </p:attrNameLst>
                                      </p:cBhvr>
                                      <p:tavLst>
                                        <p:tav tm="0">
                                          <p:val>
                                            <p:strVal val="#ppt_y+#ppt_h*1.125000"/>
                                          </p:val>
                                        </p:tav>
                                        <p:tav tm="100000">
                                          <p:val>
                                            <p:strVal val="#ppt_y"/>
                                          </p:val>
                                        </p:tav>
                                      </p:tavLst>
                                    </p:anim>
                                    <p:animEffect transition="in" filter="wipe(up)">
                                      <p:cBhvr>
                                        <p:cTn id="20" dur="500"/>
                                        <p:tgtEl>
                                          <p:spTgt spid="23"/>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500"/>
                                        <p:tgtEl>
                                          <p:spTgt spid="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500"/>
                                        <p:tgtEl>
                                          <p:spTgt spid="2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fade">
                                      <p:cBhvr>
                                        <p:cTn id="55" dur="500"/>
                                        <p:tgtEl>
                                          <p:spTgt spid="35"/>
                                        </p:tgtEl>
                                      </p:cBhvr>
                                    </p:animEffect>
                                  </p:childTnLst>
                                </p:cTn>
                              </p:par>
                              <p:par>
                                <p:cTn id="56" presetID="12" presetClass="entr" presetSubtype="4" fill="hold" grpId="0" nodeType="withEffect">
                                  <p:stCondLst>
                                    <p:cond delay="1250"/>
                                  </p:stCondLst>
                                  <p:childTnLst>
                                    <p:set>
                                      <p:cBhvr>
                                        <p:cTn id="57" dur="1" fill="hold">
                                          <p:stCondLst>
                                            <p:cond delay="0"/>
                                          </p:stCondLst>
                                        </p:cTn>
                                        <p:tgtEl>
                                          <p:spTgt spid="46"/>
                                        </p:tgtEl>
                                        <p:attrNameLst>
                                          <p:attrName>style.visibility</p:attrName>
                                        </p:attrNameLst>
                                      </p:cBhvr>
                                      <p:to>
                                        <p:strVal val="visible"/>
                                      </p:to>
                                    </p:set>
                                    <p:anim calcmode="lin" valueType="num">
                                      <p:cBhvr additive="base">
                                        <p:cTn id="58" dur="500"/>
                                        <p:tgtEl>
                                          <p:spTgt spid="46"/>
                                        </p:tgtEl>
                                        <p:attrNameLst>
                                          <p:attrName>ppt_y</p:attrName>
                                        </p:attrNameLst>
                                      </p:cBhvr>
                                      <p:tavLst>
                                        <p:tav tm="0">
                                          <p:val>
                                            <p:strVal val="#ppt_y+#ppt_h*1.125000"/>
                                          </p:val>
                                        </p:tav>
                                        <p:tav tm="100000">
                                          <p:val>
                                            <p:strVal val="#ppt_y"/>
                                          </p:val>
                                        </p:tav>
                                      </p:tavLst>
                                    </p:anim>
                                    <p:animEffect transition="in" filter="wipe(up)">
                                      <p:cBhvr>
                                        <p:cTn id="59" dur="500"/>
                                        <p:tgtEl>
                                          <p:spTgt spid="4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7"/>
                                        </p:tgtEl>
                                        <p:attrNameLst>
                                          <p:attrName>style.visibility</p:attrName>
                                        </p:attrNameLst>
                                      </p:cBhvr>
                                      <p:to>
                                        <p:strVal val="visible"/>
                                      </p:to>
                                    </p:set>
                                    <p:animEffect transition="in" filter="fade">
                                      <p:cBhvr>
                                        <p:cTn id="62" dur="500"/>
                                        <p:tgtEl>
                                          <p:spTgt spid="4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8"/>
                                        </p:tgtEl>
                                        <p:attrNameLst>
                                          <p:attrName>style.visibility</p:attrName>
                                        </p:attrNameLst>
                                      </p:cBhvr>
                                      <p:to>
                                        <p:strVal val="visible"/>
                                      </p:to>
                                    </p:set>
                                    <p:animEffect transition="in" filter="fade">
                                      <p:cBhvr>
                                        <p:cTn id="6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p:bldP spid="11" grpId="0" animBg="1"/>
      <p:bldP spid="13" grpId="0"/>
      <p:bldP spid="14" grpId="0"/>
      <p:bldP spid="15" grpId="0" animBg="1"/>
      <p:bldP spid="17" grpId="0"/>
      <p:bldP spid="18" grpId="0"/>
      <p:bldP spid="23" grpId="0" animBg="1"/>
      <p:bldP spid="25" grpId="0"/>
      <p:bldP spid="26" grpId="0"/>
      <p:bldP spid="32" grpId="0" animBg="1"/>
      <p:bldP spid="41" grpId="0" animBg="1"/>
      <p:bldP spid="35" grpId="0" animBg="1"/>
      <p:bldP spid="46" grpId="0" animBg="1"/>
      <p:bldP spid="47" grpId="0"/>
      <p:bldP spid="4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idx="4294967295"/>
          </p:nvPr>
        </p:nvSpPr>
        <p:spPr>
          <a:xfrm>
            <a:off x="1676400" y="623888"/>
            <a:ext cx="10515600" cy="911225"/>
          </a:xfrm>
        </p:spPr>
        <p:txBody>
          <a:bodyPr/>
          <a:lstStyle/>
          <a:p>
            <a:r>
              <a:rPr lang="en-US" dirty="0"/>
              <a:t>Harnessing the IoT Revolution</a:t>
            </a:r>
          </a:p>
        </p:txBody>
      </p:sp>
      <p:sp>
        <p:nvSpPr>
          <p:cNvPr id="7" name="Rectangle 6"/>
          <p:cNvSpPr/>
          <p:nvPr/>
        </p:nvSpPr>
        <p:spPr>
          <a:xfrm>
            <a:off x="2286194" y="6013488"/>
            <a:ext cx="8259408" cy="706066"/>
          </a:xfrm>
          <a:prstGeom prst="rect">
            <a:avLst/>
          </a:prstGeom>
        </p:spPr>
        <p:txBody>
          <a:bodyPr wrap="square" lIns="89639" tIns="44819" rIns="89639" bIns="44819">
            <a:spAutoFit/>
          </a:bodyPr>
          <a:lstStyle/>
          <a:p>
            <a:pPr marL="457183" lvl="1" defTabSz="914367">
              <a:defRPr/>
            </a:pPr>
            <a:r>
              <a:rPr lang="en-US" sz="2000" dirty="0">
                <a:solidFill>
                  <a:srgbClr val="505050"/>
                </a:solidFill>
                <a:latin typeface="Segoe UI"/>
              </a:rPr>
              <a:t>What if I could tell when it’s the best time for my things to _______ ?</a:t>
            </a:r>
          </a:p>
        </p:txBody>
      </p:sp>
      <p:sp>
        <p:nvSpPr>
          <p:cNvPr id="8" name="Rectangle 7"/>
          <p:cNvSpPr/>
          <p:nvPr/>
        </p:nvSpPr>
        <p:spPr>
          <a:xfrm>
            <a:off x="3461100" y="1425738"/>
            <a:ext cx="8665440" cy="706066"/>
          </a:xfrm>
          <a:prstGeom prst="rect">
            <a:avLst/>
          </a:prstGeom>
        </p:spPr>
        <p:txBody>
          <a:bodyPr wrap="square" lIns="89639" tIns="44819" rIns="89639" bIns="44819">
            <a:spAutoFit/>
          </a:bodyPr>
          <a:lstStyle/>
          <a:p>
            <a:pPr marL="457183" lvl="1" defTabSz="914367">
              <a:defRPr/>
            </a:pPr>
            <a:r>
              <a:rPr lang="en-US" sz="2000" dirty="0">
                <a:solidFill>
                  <a:srgbClr val="505050"/>
                </a:solidFill>
                <a:latin typeface="Segoe UI"/>
              </a:rPr>
              <a:t>What if my things could tell me when they go someplace they shouldn’t?</a:t>
            </a:r>
          </a:p>
        </p:txBody>
      </p:sp>
      <p:sp>
        <p:nvSpPr>
          <p:cNvPr id="9" name="Rectangle 8"/>
          <p:cNvSpPr/>
          <p:nvPr/>
        </p:nvSpPr>
        <p:spPr>
          <a:xfrm>
            <a:off x="5958915" y="5147419"/>
            <a:ext cx="5826761" cy="398290"/>
          </a:xfrm>
          <a:prstGeom prst="rect">
            <a:avLst/>
          </a:prstGeom>
        </p:spPr>
        <p:txBody>
          <a:bodyPr wrap="square" lIns="89639" tIns="44819" rIns="89639" bIns="44819">
            <a:spAutoFit/>
          </a:bodyPr>
          <a:lstStyle/>
          <a:p>
            <a:pPr marL="457183" lvl="1" defTabSz="914367">
              <a:defRPr/>
            </a:pPr>
            <a:r>
              <a:rPr lang="en-US" sz="2000" dirty="0">
                <a:solidFill>
                  <a:srgbClr val="505050"/>
                </a:solidFill>
                <a:latin typeface="Segoe UI"/>
              </a:rPr>
              <a:t>What if I simply knew where my things were?</a:t>
            </a:r>
          </a:p>
        </p:txBody>
      </p:sp>
      <p:sp>
        <p:nvSpPr>
          <p:cNvPr id="10" name="Rectangle 9"/>
          <p:cNvSpPr/>
          <p:nvPr/>
        </p:nvSpPr>
        <p:spPr>
          <a:xfrm>
            <a:off x="1700899" y="3889050"/>
            <a:ext cx="8516035" cy="398290"/>
          </a:xfrm>
          <a:prstGeom prst="rect">
            <a:avLst/>
          </a:prstGeom>
        </p:spPr>
        <p:txBody>
          <a:bodyPr wrap="square" lIns="89639" tIns="44819" rIns="89639" bIns="44819">
            <a:spAutoFit/>
          </a:bodyPr>
          <a:lstStyle/>
          <a:p>
            <a:pPr marL="457183" lvl="1" defTabSz="914367">
              <a:defRPr/>
            </a:pPr>
            <a:r>
              <a:rPr lang="en-US" sz="2000" dirty="0">
                <a:solidFill>
                  <a:srgbClr val="505050"/>
                </a:solidFill>
                <a:latin typeface="Segoe UI"/>
              </a:rPr>
              <a:t>What if I knew when my things were going to break before they did?</a:t>
            </a:r>
          </a:p>
        </p:txBody>
      </p:sp>
      <p:sp>
        <p:nvSpPr>
          <p:cNvPr id="12" name="Rectangle 11"/>
          <p:cNvSpPr/>
          <p:nvPr/>
        </p:nvSpPr>
        <p:spPr>
          <a:xfrm>
            <a:off x="-357950" y="2188705"/>
            <a:ext cx="12633730" cy="398290"/>
          </a:xfrm>
          <a:prstGeom prst="rect">
            <a:avLst/>
          </a:prstGeom>
        </p:spPr>
        <p:txBody>
          <a:bodyPr wrap="square" lIns="89639" tIns="44819" rIns="89639" bIns="44819">
            <a:spAutoFit/>
          </a:bodyPr>
          <a:lstStyle/>
          <a:p>
            <a:pPr marL="457183" lvl="1" defTabSz="914367">
              <a:defRPr/>
            </a:pPr>
            <a:r>
              <a:rPr lang="en-US" sz="2000" dirty="0">
                <a:solidFill>
                  <a:srgbClr val="505050"/>
                </a:solidFill>
                <a:latin typeface="Segoe UI"/>
              </a:rPr>
              <a:t>What if I could use device telemetry to improve next generation devices?</a:t>
            </a:r>
          </a:p>
        </p:txBody>
      </p:sp>
      <p:sp>
        <p:nvSpPr>
          <p:cNvPr id="13" name="Rectangle 12"/>
          <p:cNvSpPr/>
          <p:nvPr/>
        </p:nvSpPr>
        <p:spPr>
          <a:xfrm>
            <a:off x="-220788" y="4734005"/>
            <a:ext cx="6349676" cy="398290"/>
          </a:xfrm>
          <a:prstGeom prst="rect">
            <a:avLst/>
          </a:prstGeom>
        </p:spPr>
        <p:txBody>
          <a:bodyPr wrap="square" lIns="89639" tIns="44819" rIns="89639" bIns="44819">
            <a:spAutoFit/>
          </a:bodyPr>
          <a:lstStyle/>
          <a:p>
            <a:pPr marL="457183" lvl="1" defTabSz="914367">
              <a:defRPr/>
            </a:pPr>
            <a:r>
              <a:rPr lang="en-US" sz="2000" dirty="0">
                <a:solidFill>
                  <a:srgbClr val="505050"/>
                </a:solidFill>
                <a:latin typeface="Segoe UI"/>
              </a:rPr>
              <a:t>What insights could I find from </a:t>
            </a:r>
            <a:r>
              <a:rPr lang="en-US" sz="2000" i="1" dirty="0">
                <a:solidFill>
                  <a:srgbClr val="505050"/>
                </a:solidFill>
                <a:latin typeface="Segoe UI"/>
              </a:rPr>
              <a:t>all</a:t>
            </a:r>
            <a:r>
              <a:rPr lang="en-US" sz="2000" dirty="0">
                <a:solidFill>
                  <a:srgbClr val="505050"/>
                </a:solidFill>
                <a:latin typeface="Segoe UI"/>
              </a:rPr>
              <a:t> of my devices?</a:t>
            </a:r>
          </a:p>
        </p:txBody>
      </p:sp>
      <p:sp>
        <p:nvSpPr>
          <p:cNvPr id="15" name="Rectangle 14"/>
          <p:cNvSpPr/>
          <p:nvPr/>
        </p:nvSpPr>
        <p:spPr>
          <a:xfrm>
            <a:off x="-328378" y="2980724"/>
            <a:ext cx="12520378" cy="513007"/>
          </a:xfrm>
          <a:prstGeom prst="rect">
            <a:avLst/>
          </a:prstGeom>
        </p:spPr>
        <p:txBody>
          <a:bodyPr wrap="square" lIns="89639" tIns="44819" rIns="89639" bIns="44819">
            <a:spAutoFit/>
          </a:bodyPr>
          <a:lstStyle/>
          <a:p>
            <a:pPr marL="457183" lvl="1" algn="ctr" defTabSz="914367">
              <a:defRPr/>
            </a:pPr>
            <a:r>
              <a:rPr lang="en-US" sz="2700" b="1" dirty="0">
                <a:solidFill>
                  <a:srgbClr val="505050"/>
                </a:solidFill>
                <a:latin typeface="Segoe UI"/>
              </a:rPr>
              <a:t>It all starts with a great idea…</a:t>
            </a:r>
          </a:p>
        </p:txBody>
      </p:sp>
    </p:spTree>
    <p:extLst>
      <p:ext uri="{BB962C8B-B14F-4D97-AF65-F5344CB8AC3E}">
        <p14:creationId xmlns:p14="http://schemas.microsoft.com/office/powerpoint/2010/main" val="367016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0" grpId="0"/>
      <p:bldP spid="12" grpId="0"/>
      <p:bldP spid="13" grpId="0"/>
    </p:bldLst>
  </p:timing>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Oval 3"/>
          <p:cNvSpPr/>
          <p:nvPr/>
        </p:nvSpPr>
        <p:spPr>
          <a:xfrm>
            <a:off x="1060922" y="2063849"/>
            <a:ext cx="3739694" cy="3739693"/>
          </a:xfrm>
          <a:prstGeom prst="ellipse">
            <a:avLst/>
          </a:prstGeom>
          <a:solidFill>
            <a:schemeClr val="accent1">
              <a:lumMod val="75000"/>
            </a:schemeClr>
          </a:solid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dirty="0"/>
          </a:p>
        </p:txBody>
      </p:sp>
      <p:sp>
        <p:nvSpPr>
          <p:cNvPr id="36" name="TextBox 35"/>
          <p:cNvSpPr txBox="1"/>
          <p:nvPr/>
        </p:nvSpPr>
        <p:spPr>
          <a:xfrm>
            <a:off x="1128544" y="3333530"/>
            <a:ext cx="3604450" cy="1200329"/>
          </a:xfrm>
          <a:prstGeom prst="rect">
            <a:avLst/>
          </a:prstGeom>
          <a:noFill/>
        </p:spPr>
        <p:txBody>
          <a:bodyPr wrap="square" rtlCol="0">
            <a:spAutoFit/>
          </a:bodyPr>
          <a:lstStyle/>
          <a:p>
            <a:pPr algn="ctr"/>
            <a:r>
              <a:rPr lang="en-US" sz="3600" b="1" dirty="0">
                <a:solidFill>
                  <a:schemeClr val="bg1"/>
                </a:solidFill>
                <a:latin typeface="+mj-lt"/>
              </a:rPr>
              <a:t>Merci</a:t>
            </a:r>
          </a:p>
          <a:p>
            <a:pPr algn="ctr"/>
            <a:r>
              <a:rPr lang="en-US" sz="3600" b="1" dirty="0">
                <a:solidFill>
                  <a:schemeClr val="bg1"/>
                </a:solidFill>
                <a:latin typeface="+mj-lt"/>
              </a:rPr>
              <a:t>d’être </a:t>
            </a:r>
            <a:r>
              <a:rPr lang="en-US" sz="3600" b="1" dirty="0" err="1">
                <a:solidFill>
                  <a:schemeClr val="bg1"/>
                </a:solidFill>
                <a:latin typeface="+mj-lt"/>
              </a:rPr>
              <a:t>venus</a:t>
            </a:r>
            <a:endParaRPr lang="en-US" sz="3600" b="1" dirty="0">
              <a:solidFill>
                <a:schemeClr val="bg1"/>
              </a:solidFill>
              <a:latin typeface="+mj-lt"/>
            </a:endParaRPr>
          </a:p>
        </p:txBody>
      </p:sp>
      <p:grpSp>
        <p:nvGrpSpPr>
          <p:cNvPr id="37" name="Group 36"/>
          <p:cNvGrpSpPr/>
          <p:nvPr/>
        </p:nvGrpSpPr>
        <p:grpSpPr>
          <a:xfrm>
            <a:off x="242842" y="5276490"/>
            <a:ext cx="5375855" cy="1054100"/>
            <a:chOff x="4076513" y="5044551"/>
            <a:chExt cx="4131718" cy="982509"/>
          </a:xfrm>
        </p:grpSpPr>
        <p:sp>
          <p:nvSpPr>
            <p:cNvPr id="29" name="Freeform 5"/>
            <p:cNvSpPr>
              <a:spLocks/>
            </p:cNvSpPr>
            <p:nvPr/>
          </p:nvSpPr>
          <p:spPr bwMode="auto">
            <a:xfrm>
              <a:off x="4076513" y="5364371"/>
              <a:ext cx="700146" cy="662689"/>
            </a:xfrm>
            <a:custGeom>
              <a:avLst/>
              <a:gdLst>
                <a:gd name="T0" fmla="*/ 16 w 243"/>
                <a:gd name="T1" fmla="*/ 111 h 230"/>
                <a:gd name="T2" fmla="*/ 0 w 243"/>
                <a:gd name="T3" fmla="*/ 230 h 230"/>
                <a:gd name="T4" fmla="*/ 243 w 243"/>
                <a:gd name="T5" fmla="*/ 230 h 230"/>
                <a:gd name="T6" fmla="*/ 243 w 243"/>
                <a:gd name="T7" fmla="*/ 0 h 230"/>
                <a:gd name="T8" fmla="*/ 0 w 243"/>
                <a:gd name="T9" fmla="*/ 0 h 230"/>
                <a:gd name="T10" fmla="*/ 16 w 243"/>
                <a:gd name="T11" fmla="*/ 111 h 230"/>
              </a:gdLst>
              <a:ahLst/>
              <a:cxnLst>
                <a:cxn ang="0">
                  <a:pos x="T0" y="T1"/>
                </a:cxn>
                <a:cxn ang="0">
                  <a:pos x="T2" y="T3"/>
                </a:cxn>
                <a:cxn ang="0">
                  <a:pos x="T4" y="T5"/>
                </a:cxn>
                <a:cxn ang="0">
                  <a:pos x="T6" y="T7"/>
                </a:cxn>
                <a:cxn ang="0">
                  <a:pos x="T8" y="T9"/>
                </a:cxn>
                <a:cxn ang="0">
                  <a:pos x="T10" y="T11"/>
                </a:cxn>
              </a:cxnLst>
              <a:rect l="0" t="0" r="r" b="b"/>
              <a:pathLst>
                <a:path w="243" h="230">
                  <a:moveTo>
                    <a:pt x="16" y="111"/>
                  </a:moveTo>
                  <a:lnTo>
                    <a:pt x="0" y="230"/>
                  </a:lnTo>
                  <a:lnTo>
                    <a:pt x="243" y="230"/>
                  </a:lnTo>
                  <a:lnTo>
                    <a:pt x="243" y="0"/>
                  </a:lnTo>
                  <a:lnTo>
                    <a:pt x="0" y="0"/>
                  </a:lnTo>
                  <a:lnTo>
                    <a:pt x="16" y="11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sp>
          <p:nvSpPr>
            <p:cNvPr id="30" name="Freeform 6"/>
            <p:cNvSpPr>
              <a:spLocks/>
            </p:cNvSpPr>
            <p:nvPr/>
          </p:nvSpPr>
          <p:spPr bwMode="auto">
            <a:xfrm>
              <a:off x="4341588" y="5312509"/>
              <a:ext cx="437951" cy="714551"/>
            </a:xfrm>
            <a:custGeom>
              <a:avLst/>
              <a:gdLst>
                <a:gd name="T0" fmla="*/ 152 w 152"/>
                <a:gd name="T1" fmla="*/ 248 h 248"/>
                <a:gd name="T2" fmla="*/ 0 w 152"/>
                <a:gd name="T3" fmla="*/ 139 h 248"/>
                <a:gd name="T4" fmla="*/ 66 w 152"/>
                <a:gd name="T5" fmla="*/ 0 h 248"/>
                <a:gd name="T6" fmla="*/ 152 w 152"/>
                <a:gd name="T7" fmla="*/ 85 h 248"/>
                <a:gd name="T8" fmla="*/ 152 w 152"/>
                <a:gd name="T9" fmla="*/ 248 h 248"/>
              </a:gdLst>
              <a:ahLst/>
              <a:cxnLst>
                <a:cxn ang="0">
                  <a:pos x="T0" y="T1"/>
                </a:cxn>
                <a:cxn ang="0">
                  <a:pos x="T2" y="T3"/>
                </a:cxn>
                <a:cxn ang="0">
                  <a:pos x="T4" y="T5"/>
                </a:cxn>
                <a:cxn ang="0">
                  <a:pos x="T6" y="T7"/>
                </a:cxn>
                <a:cxn ang="0">
                  <a:pos x="T8" y="T9"/>
                </a:cxn>
              </a:cxnLst>
              <a:rect l="0" t="0" r="r" b="b"/>
              <a:pathLst>
                <a:path w="152" h="248">
                  <a:moveTo>
                    <a:pt x="152" y="248"/>
                  </a:moveTo>
                  <a:lnTo>
                    <a:pt x="0" y="139"/>
                  </a:lnTo>
                  <a:lnTo>
                    <a:pt x="66" y="0"/>
                  </a:lnTo>
                  <a:lnTo>
                    <a:pt x="152" y="85"/>
                  </a:lnTo>
                  <a:lnTo>
                    <a:pt x="152" y="248"/>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1" name="Freeform 7"/>
            <p:cNvSpPr>
              <a:spLocks/>
            </p:cNvSpPr>
            <p:nvPr/>
          </p:nvSpPr>
          <p:spPr bwMode="auto">
            <a:xfrm>
              <a:off x="7510968" y="5364371"/>
              <a:ext cx="697263" cy="662689"/>
            </a:xfrm>
            <a:custGeom>
              <a:avLst/>
              <a:gdLst>
                <a:gd name="T0" fmla="*/ 226 w 242"/>
                <a:gd name="T1" fmla="*/ 111 h 230"/>
                <a:gd name="T2" fmla="*/ 242 w 242"/>
                <a:gd name="T3" fmla="*/ 230 h 230"/>
                <a:gd name="T4" fmla="*/ 0 w 242"/>
                <a:gd name="T5" fmla="*/ 230 h 230"/>
                <a:gd name="T6" fmla="*/ 0 w 242"/>
                <a:gd name="T7" fmla="*/ 0 h 230"/>
                <a:gd name="T8" fmla="*/ 242 w 242"/>
                <a:gd name="T9" fmla="*/ 0 h 230"/>
                <a:gd name="T10" fmla="*/ 226 w 242"/>
                <a:gd name="T11" fmla="*/ 111 h 230"/>
              </a:gdLst>
              <a:ahLst/>
              <a:cxnLst>
                <a:cxn ang="0">
                  <a:pos x="T0" y="T1"/>
                </a:cxn>
                <a:cxn ang="0">
                  <a:pos x="T2" y="T3"/>
                </a:cxn>
                <a:cxn ang="0">
                  <a:pos x="T4" y="T5"/>
                </a:cxn>
                <a:cxn ang="0">
                  <a:pos x="T6" y="T7"/>
                </a:cxn>
                <a:cxn ang="0">
                  <a:pos x="T8" y="T9"/>
                </a:cxn>
                <a:cxn ang="0">
                  <a:pos x="T10" y="T11"/>
                </a:cxn>
              </a:cxnLst>
              <a:rect l="0" t="0" r="r" b="b"/>
              <a:pathLst>
                <a:path w="242" h="230">
                  <a:moveTo>
                    <a:pt x="226" y="111"/>
                  </a:moveTo>
                  <a:lnTo>
                    <a:pt x="242" y="230"/>
                  </a:lnTo>
                  <a:lnTo>
                    <a:pt x="0" y="230"/>
                  </a:lnTo>
                  <a:lnTo>
                    <a:pt x="0" y="0"/>
                  </a:lnTo>
                  <a:lnTo>
                    <a:pt x="242" y="0"/>
                  </a:lnTo>
                  <a:lnTo>
                    <a:pt x="226" y="11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sp>
          <p:nvSpPr>
            <p:cNvPr id="32" name="Freeform 8"/>
            <p:cNvSpPr>
              <a:spLocks/>
            </p:cNvSpPr>
            <p:nvPr/>
          </p:nvSpPr>
          <p:spPr bwMode="auto">
            <a:xfrm>
              <a:off x="7508087" y="5312509"/>
              <a:ext cx="437951" cy="714551"/>
            </a:xfrm>
            <a:custGeom>
              <a:avLst/>
              <a:gdLst>
                <a:gd name="T0" fmla="*/ 0 w 152"/>
                <a:gd name="T1" fmla="*/ 248 h 248"/>
                <a:gd name="T2" fmla="*/ 152 w 152"/>
                <a:gd name="T3" fmla="*/ 139 h 248"/>
                <a:gd name="T4" fmla="*/ 86 w 152"/>
                <a:gd name="T5" fmla="*/ 0 h 248"/>
                <a:gd name="T6" fmla="*/ 0 w 152"/>
                <a:gd name="T7" fmla="*/ 85 h 248"/>
                <a:gd name="T8" fmla="*/ 0 w 152"/>
                <a:gd name="T9" fmla="*/ 248 h 248"/>
              </a:gdLst>
              <a:ahLst/>
              <a:cxnLst>
                <a:cxn ang="0">
                  <a:pos x="T0" y="T1"/>
                </a:cxn>
                <a:cxn ang="0">
                  <a:pos x="T2" y="T3"/>
                </a:cxn>
                <a:cxn ang="0">
                  <a:pos x="T4" y="T5"/>
                </a:cxn>
                <a:cxn ang="0">
                  <a:pos x="T6" y="T7"/>
                </a:cxn>
                <a:cxn ang="0">
                  <a:pos x="T8" y="T9"/>
                </a:cxn>
              </a:cxnLst>
              <a:rect l="0" t="0" r="r" b="b"/>
              <a:pathLst>
                <a:path w="152" h="248">
                  <a:moveTo>
                    <a:pt x="0" y="248"/>
                  </a:moveTo>
                  <a:lnTo>
                    <a:pt x="152" y="139"/>
                  </a:lnTo>
                  <a:lnTo>
                    <a:pt x="86" y="0"/>
                  </a:lnTo>
                  <a:lnTo>
                    <a:pt x="0" y="85"/>
                  </a:lnTo>
                  <a:lnTo>
                    <a:pt x="0" y="248"/>
                  </a:ln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33" name="Rectangle 9"/>
            <p:cNvSpPr>
              <a:spLocks noChangeArrowheads="1"/>
            </p:cNvSpPr>
            <p:nvPr/>
          </p:nvSpPr>
          <p:spPr bwMode="auto">
            <a:xfrm>
              <a:off x="4341588" y="5044551"/>
              <a:ext cx="3598687" cy="66845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id-ID"/>
            </a:p>
          </p:txBody>
        </p:sp>
      </p:grpSp>
      <p:sp>
        <p:nvSpPr>
          <p:cNvPr id="34" name="TextBox 33"/>
          <p:cNvSpPr txBox="1"/>
          <p:nvPr/>
        </p:nvSpPr>
        <p:spPr>
          <a:xfrm>
            <a:off x="659635" y="5325280"/>
            <a:ext cx="4557136" cy="584775"/>
          </a:xfrm>
          <a:prstGeom prst="rect">
            <a:avLst/>
          </a:prstGeom>
          <a:noFill/>
        </p:spPr>
        <p:txBody>
          <a:bodyPr wrap="square" rtlCol="0">
            <a:spAutoFit/>
          </a:bodyPr>
          <a:lstStyle/>
          <a:p>
            <a:pPr algn="ctr"/>
            <a:r>
              <a:rPr lang="en-US" sz="3200" b="1" dirty="0">
                <a:solidFill>
                  <a:schemeClr val="bg1"/>
                </a:solidFill>
                <a:latin typeface="+mj-lt"/>
              </a:rPr>
              <a:t>A </a:t>
            </a:r>
            <a:r>
              <a:rPr lang="en-US" sz="3200" b="1" dirty="0" err="1">
                <a:solidFill>
                  <a:schemeClr val="bg1"/>
                </a:solidFill>
                <a:latin typeface="+mj-lt"/>
              </a:rPr>
              <a:t>bientôt</a:t>
            </a:r>
            <a:r>
              <a:rPr lang="en-US" sz="3200" b="1" dirty="0">
                <a:solidFill>
                  <a:schemeClr val="bg1"/>
                </a:solidFill>
                <a:latin typeface="+mj-lt"/>
              </a:rPr>
              <a:t> !</a:t>
            </a:r>
          </a:p>
        </p:txBody>
      </p:sp>
    </p:spTree>
    <p:extLst>
      <p:ext uri="{BB962C8B-B14F-4D97-AF65-F5344CB8AC3E}">
        <p14:creationId xmlns:p14="http://schemas.microsoft.com/office/powerpoint/2010/main" val="125599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36"/>
                                        </p:tgtEl>
                                        <p:attrNameLst>
                                          <p:attrName>style.visibility</p:attrName>
                                        </p:attrNameLst>
                                      </p:cBhvr>
                                      <p:to>
                                        <p:strVal val="visible"/>
                                      </p:to>
                                    </p:set>
                                    <p:animEffect transition="in" filter="fade">
                                      <p:cBhvr>
                                        <p:cTn id="13" dur="500"/>
                                        <p:tgtEl>
                                          <p:spTgt spid="36"/>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37"/>
                                        </p:tgtEl>
                                        <p:attrNameLst>
                                          <p:attrName>style.visibility</p:attrName>
                                        </p:attrNameLst>
                                      </p:cBhvr>
                                      <p:to>
                                        <p:strVal val="visible"/>
                                      </p:to>
                                    </p:set>
                                    <p:anim calcmode="lin" valueType="num">
                                      <p:cBhvr>
                                        <p:cTn id="17" dur="500" fill="hold"/>
                                        <p:tgtEl>
                                          <p:spTgt spid="37"/>
                                        </p:tgtEl>
                                        <p:attrNameLst>
                                          <p:attrName>ppt_w</p:attrName>
                                        </p:attrNameLst>
                                      </p:cBhvr>
                                      <p:tavLst>
                                        <p:tav tm="0">
                                          <p:val>
                                            <p:fltVal val="0"/>
                                          </p:val>
                                        </p:tav>
                                        <p:tav tm="100000">
                                          <p:val>
                                            <p:strVal val="#ppt_w"/>
                                          </p:val>
                                        </p:tav>
                                      </p:tavLst>
                                    </p:anim>
                                    <p:anim calcmode="lin" valueType="num">
                                      <p:cBhvr>
                                        <p:cTn id="18" dur="500" fill="hold"/>
                                        <p:tgtEl>
                                          <p:spTgt spid="37"/>
                                        </p:tgtEl>
                                        <p:attrNameLst>
                                          <p:attrName>ppt_h</p:attrName>
                                        </p:attrNameLst>
                                      </p:cBhvr>
                                      <p:tavLst>
                                        <p:tav tm="0">
                                          <p:val>
                                            <p:fltVal val="0"/>
                                          </p:val>
                                        </p:tav>
                                        <p:tav tm="100000">
                                          <p:val>
                                            <p:strVal val="#ppt_h"/>
                                          </p:val>
                                        </p:tav>
                                      </p:tavLst>
                                    </p:anim>
                                    <p:animEffect transition="in" filter="fade">
                                      <p:cBhvr>
                                        <p:cTn id="19" dur="500"/>
                                        <p:tgtEl>
                                          <p:spTgt spid="37"/>
                                        </p:tgtEl>
                                      </p:cBhvr>
                                    </p:animEffect>
                                  </p:childTnLst>
                                </p:cTn>
                              </p:par>
                            </p:childTnLst>
                          </p:cTn>
                        </p:par>
                        <p:par>
                          <p:cTn id="20" fill="hold">
                            <p:stCondLst>
                              <p:cond delay="1500"/>
                            </p:stCondLst>
                            <p:childTnLst>
                              <p:par>
                                <p:cTn id="21" presetID="10" presetClass="entr" presetSubtype="0" fill="hold" grpId="0" nodeType="afterEffect">
                                  <p:stCondLst>
                                    <p:cond delay="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6" grpId="0"/>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10" name="Rectangle 9"/>
          <p:cNvSpPr/>
          <p:nvPr/>
        </p:nvSpPr>
        <p:spPr>
          <a:xfrm>
            <a:off x="-4401" y="0"/>
            <a:ext cx="12192000" cy="68580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30" name="Group 29"/>
          <p:cNvGrpSpPr/>
          <p:nvPr/>
        </p:nvGrpSpPr>
        <p:grpSpPr>
          <a:xfrm>
            <a:off x="6349" y="0"/>
            <a:ext cx="12181249" cy="6858000"/>
            <a:chOff x="6350" y="0"/>
            <a:chExt cx="7194550" cy="3600450"/>
          </a:xfrm>
          <a:gradFill>
            <a:gsLst>
              <a:gs pos="100000">
                <a:schemeClr val="bg1">
                  <a:alpha val="15000"/>
                </a:schemeClr>
              </a:gs>
              <a:gs pos="0">
                <a:schemeClr val="bg1">
                  <a:alpha val="0"/>
                </a:schemeClr>
              </a:gs>
            </a:gsLst>
            <a:path path="circle">
              <a:fillToRect l="50000" t="50000" r="50000" b="50000"/>
            </a:path>
          </a:gradFill>
        </p:grpSpPr>
        <p:sp>
          <p:nvSpPr>
            <p:cNvPr id="31" name="Freeform 23"/>
            <p:cNvSpPr>
              <a:spLocks/>
            </p:cNvSpPr>
            <p:nvPr/>
          </p:nvSpPr>
          <p:spPr bwMode="auto">
            <a:xfrm>
              <a:off x="2968625" y="1800225"/>
              <a:ext cx="635000" cy="1800225"/>
            </a:xfrm>
            <a:custGeom>
              <a:avLst/>
              <a:gdLst>
                <a:gd name="T0" fmla="*/ 0 w 400"/>
                <a:gd name="T1" fmla="*/ 1134 h 1134"/>
                <a:gd name="T2" fmla="*/ 201 w 400"/>
                <a:gd name="T3" fmla="*/ 1134 h 1134"/>
                <a:gd name="T4" fmla="*/ 400 w 400"/>
                <a:gd name="T5" fmla="*/ 1134 h 1134"/>
                <a:gd name="T6" fmla="*/ 400 w 400"/>
                <a:gd name="T7" fmla="*/ 0 h 1134"/>
                <a:gd name="T8" fmla="*/ 201 w 400"/>
                <a:gd name="T9" fmla="*/ 567 h 1134"/>
                <a:gd name="T10" fmla="*/ 0 w 400"/>
                <a:gd name="T11" fmla="*/ 1134 h 1134"/>
              </a:gdLst>
              <a:ahLst/>
              <a:cxnLst>
                <a:cxn ang="0">
                  <a:pos x="T0" y="T1"/>
                </a:cxn>
                <a:cxn ang="0">
                  <a:pos x="T2" y="T3"/>
                </a:cxn>
                <a:cxn ang="0">
                  <a:pos x="T4" y="T5"/>
                </a:cxn>
                <a:cxn ang="0">
                  <a:pos x="T6" y="T7"/>
                </a:cxn>
                <a:cxn ang="0">
                  <a:pos x="T8" y="T9"/>
                </a:cxn>
                <a:cxn ang="0">
                  <a:pos x="T10" y="T11"/>
                </a:cxn>
              </a:cxnLst>
              <a:rect l="0" t="0" r="r" b="b"/>
              <a:pathLst>
                <a:path w="400" h="1134">
                  <a:moveTo>
                    <a:pt x="0" y="1134"/>
                  </a:moveTo>
                  <a:lnTo>
                    <a:pt x="201" y="1134"/>
                  </a:lnTo>
                  <a:lnTo>
                    <a:pt x="400" y="1134"/>
                  </a:lnTo>
                  <a:lnTo>
                    <a:pt x="400" y="0"/>
                  </a:lnTo>
                  <a:lnTo>
                    <a:pt x="201" y="567"/>
                  </a:lnTo>
                  <a:lnTo>
                    <a:pt x="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24"/>
            <p:cNvSpPr>
              <a:spLocks/>
            </p:cNvSpPr>
            <p:nvPr/>
          </p:nvSpPr>
          <p:spPr bwMode="auto">
            <a:xfrm>
              <a:off x="3603625" y="1800225"/>
              <a:ext cx="1309688" cy="1800225"/>
            </a:xfrm>
            <a:custGeom>
              <a:avLst/>
              <a:gdLst>
                <a:gd name="T0" fmla="*/ 400 w 825"/>
                <a:gd name="T1" fmla="*/ 1134 h 1134"/>
                <a:gd name="T2" fmla="*/ 825 w 825"/>
                <a:gd name="T3" fmla="*/ 1134 h 1134"/>
                <a:gd name="T4" fmla="*/ 199 w 825"/>
                <a:gd name="T5" fmla="*/ 274 h 1134"/>
                <a:gd name="T6" fmla="*/ 0 w 825"/>
                <a:gd name="T7" fmla="*/ 0 h 1134"/>
                <a:gd name="T8" fmla="*/ 199 w 825"/>
                <a:gd name="T9" fmla="*/ 567 h 1134"/>
                <a:gd name="T10" fmla="*/ 400 w 825"/>
                <a:gd name="T11" fmla="*/ 1134 h 1134"/>
              </a:gdLst>
              <a:ahLst/>
              <a:cxnLst>
                <a:cxn ang="0">
                  <a:pos x="T0" y="T1"/>
                </a:cxn>
                <a:cxn ang="0">
                  <a:pos x="T2" y="T3"/>
                </a:cxn>
                <a:cxn ang="0">
                  <a:pos x="T4" y="T5"/>
                </a:cxn>
                <a:cxn ang="0">
                  <a:pos x="T6" y="T7"/>
                </a:cxn>
                <a:cxn ang="0">
                  <a:pos x="T8" y="T9"/>
                </a:cxn>
                <a:cxn ang="0">
                  <a:pos x="T10" y="T11"/>
                </a:cxn>
              </a:cxnLst>
              <a:rect l="0" t="0" r="r" b="b"/>
              <a:pathLst>
                <a:path w="825" h="1134">
                  <a:moveTo>
                    <a:pt x="400" y="1134"/>
                  </a:moveTo>
                  <a:lnTo>
                    <a:pt x="825" y="1134"/>
                  </a:lnTo>
                  <a:lnTo>
                    <a:pt x="199" y="274"/>
                  </a:lnTo>
                  <a:lnTo>
                    <a:pt x="0" y="0"/>
                  </a:lnTo>
                  <a:lnTo>
                    <a:pt x="199" y="567"/>
                  </a:lnTo>
                  <a:lnTo>
                    <a:pt x="400"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5"/>
            <p:cNvSpPr>
              <a:spLocks/>
            </p:cNvSpPr>
            <p:nvPr/>
          </p:nvSpPr>
          <p:spPr bwMode="auto">
            <a:xfrm>
              <a:off x="6350" y="1800225"/>
              <a:ext cx="3597275" cy="1800225"/>
            </a:xfrm>
            <a:custGeom>
              <a:avLst/>
              <a:gdLst>
                <a:gd name="T0" fmla="*/ 1854 w 2266"/>
                <a:gd name="T1" fmla="*/ 173 h 1134"/>
                <a:gd name="T2" fmla="*/ 0 w 2266"/>
                <a:gd name="T3" fmla="*/ 951 h 1134"/>
                <a:gd name="T4" fmla="*/ 0 w 2266"/>
                <a:gd name="T5" fmla="*/ 1134 h 1134"/>
                <a:gd name="T6" fmla="*/ 365 w 2266"/>
                <a:gd name="T7" fmla="*/ 1134 h 1134"/>
                <a:gd name="T8" fmla="*/ 1854 w 2266"/>
                <a:gd name="T9" fmla="*/ 246 h 1134"/>
                <a:gd name="T10" fmla="*/ 2067 w 2266"/>
                <a:gd name="T11" fmla="*/ 119 h 1134"/>
                <a:gd name="T12" fmla="*/ 2266 w 2266"/>
                <a:gd name="T13" fmla="*/ 0 h 1134"/>
                <a:gd name="T14" fmla="*/ 2067 w 2266"/>
                <a:gd name="T15" fmla="*/ 84 h 1134"/>
                <a:gd name="T16" fmla="*/ 1854 w 2266"/>
                <a:gd name="T17" fmla="*/ 173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6" h="1134">
                  <a:moveTo>
                    <a:pt x="1854" y="173"/>
                  </a:moveTo>
                  <a:lnTo>
                    <a:pt x="0" y="951"/>
                  </a:lnTo>
                  <a:lnTo>
                    <a:pt x="0" y="1134"/>
                  </a:lnTo>
                  <a:lnTo>
                    <a:pt x="365" y="1134"/>
                  </a:lnTo>
                  <a:lnTo>
                    <a:pt x="1854" y="246"/>
                  </a:lnTo>
                  <a:lnTo>
                    <a:pt x="2067" y="119"/>
                  </a:lnTo>
                  <a:lnTo>
                    <a:pt x="2266" y="0"/>
                  </a:lnTo>
                  <a:lnTo>
                    <a:pt x="2067" y="84"/>
                  </a:lnTo>
                  <a:lnTo>
                    <a:pt x="1854"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6"/>
            <p:cNvSpPr>
              <a:spLocks/>
            </p:cNvSpPr>
            <p:nvPr/>
          </p:nvSpPr>
          <p:spPr bwMode="auto">
            <a:xfrm>
              <a:off x="3603625" y="1800225"/>
              <a:ext cx="3017838" cy="1800225"/>
            </a:xfrm>
            <a:custGeom>
              <a:avLst/>
              <a:gdLst>
                <a:gd name="T0" fmla="*/ 1309 w 1901"/>
                <a:gd name="T1" fmla="*/ 1134 h 1134"/>
                <a:gd name="T2" fmla="*/ 1901 w 1901"/>
                <a:gd name="T3" fmla="*/ 1134 h 1134"/>
                <a:gd name="T4" fmla="*/ 199 w 1901"/>
                <a:gd name="T5" fmla="*/ 119 h 1134"/>
                <a:gd name="T6" fmla="*/ 0 w 1901"/>
                <a:gd name="T7" fmla="*/ 0 h 1134"/>
                <a:gd name="T8" fmla="*/ 199 w 1901"/>
                <a:gd name="T9" fmla="*/ 173 h 1134"/>
                <a:gd name="T10" fmla="*/ 1309 w 1901"/>
                <a:gd name="T11" fmla="*/ 1134 h 1134"/>
              </a:gdLst>
              <a:ahLst/>
              <a:cxnLst>
                <a:cxn ang="0">
                  <a:pos x="T0" y="T1"/>
                </a:cxn>
                <a:cxn ang="0">
                  <a:pos x="T2" y="T3"/>
                </a:cxn>
                <a:cxn ang="0">
                  <a:pos x="T4" y="T5"/>
                </a:cxn>
                <a:cxn ang="0">
                  <a:pos x="T6" y="T7"/>
                </a:cxn>
                <a:cxn ang="0">
                  <a:pos x="T8" y="T9"/>
                </a:cxn>
                <a:cxn ang="0">
                  <a:pos x="T10" y="T11"/>
                </a:cxn>
              </a:cxnLst>
              <a:rect l="0" t="0" r="r" b="b"/>
              <a:pathLst>
                <a:path w="1901" h="1134">
                  <a:moveTo>
                    <a:pt x="1309" y="1134"/>
                  </a:moveTo>
                  <a:lnTo>
                    <a:pt x="1901" y="1134"/>
                  </a:lnTo>
                  <a:lnTo>
                    <a:pt x="199" y="119"/>
                  </a:lnTo>
                  <a:lnTo>
                    <a:pt x="0" y="0"/>
                  </a:lnTo>
                  <a:lnTo>
                    <a:pt x="199" y="173"/>
                  </a:lnTo>
                  <a:lnTo>
                    <a:pt x="1309" y="1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7"/>
            <p:cNvSpPr>
              <a:spLocks/>
            </p:cNvSpPr>
            <p:nvPr/>
          </p:nvSpPr>
          <p:spPr bwMode="auto">
            <a:xfrm>
              <a:off x="1525588" y="1800225"/>
              <a:ext cx="2078038" cy="1800225"/>
            </a:xfrm>
            <a:custGeom>
              <a:avLst/>
              <a:gdLst>
                <a:gd name="T0" fmla="*/ 897 w 1309"/>
                <a:gd name="T1" fmla="*/ 357 h 1134"/>
                <a:gd name="T2" fmla="*/ 0 w 1309"/>
                <a:gd name="T3" fmla="*/ 1134 h 1134"/>
                <a:gd name="T4" fmla="*/ 484 w 1309"/>
                <a:gd name="T5" fmla="*/ 1134 h 1134"/>
                <a:gd name="T6" fmla="*/ 897 w 1309"/>
                <a:gd name="T7" fmla="*/ 567 h 1134"/>
                <a:gd name="T8" fmla="*/ 1110 w 1309"/>
                <a:gd name="T9" fmla="*/ 274 h 1134"/>
                <a:gd name="T10" fmla="*/ 1309 w 1309"/>
                <a:gd name="T11" fmla="*/ 0 h 1134"/>
                <a:gd name="T12" fmla="*/ 1110 w 1309"/>
                <a:gd name="T13" fmla="*/ 173 h 1134"/>
                <a:gd name="T14" fmla="*/ 897 w 1309"/>
                <a:gd name="T15" fmla="*/ 35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9" h="1134">
                  <a:moveTo>
                    <a:pt x="897" y="357"/>
                  </a:moveTo>
                  <a:lnTo>
                    <a:pt x="0" y="1134"/>
                  </a:lnTo>
                  <a:lnTo>
                    <a:pt x="484" y="1134"/>
                  </a:lnTo>
                  <a:lnTo>
                    <a:pt x="897" y="567"/>
                  </a:lnTo>
                  <a:lnTo>
                    <a:pt x="1110" y="274"/>
                  </a:lnTo>
                  <a:lnTo>
                    <a:pt x="1309" y="0"/>
                  </a:lnTo>
                  <a:lnTo>
                    <a:pt x="1110" y="173"/>
                  </a:lnTo>
                  <a:lnTo>
                    <a:pt x="897" y="3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28"/>
            <p:cNvSpPr>
              <a:spLocks/>
            </p:cNvSpPr>
            <p:nvPr/>
          </p:nvSpPr>
          <p:spPr bwMode="auto">
            <a:xfrm>
              <a:off x="3603625" y="1482725"/>
              <a:ext cx="3597275" cy="317500"/>
            </a:xfrm>
            <a:custGeom>
              <a:avLst/>
              <a:gdLst>
                <a:gd name="T0" fmla="*/ 2266 w 2266"/>
                <a:gd name="T1" fmla="*/ 200 h 200"/>
                <a:gd name="T2" fmla="*/ 2266 w 2266"/>
                <a:gd name="T3" fmla="*/ 0 h 200"/>
                <a:gd name="T4" fmla="*/ 199 w 2266"/>
                <a:gd name="T5" fmla="*/ 182 h 200"/>
                <a:gd name="T6" fmla="*/ 0 w 2266"/>
                <a:gd name="T7" fmla="*/ 200 h 200"/>
                <a:gd name="T8" fmla="*/ 199 w 2266"/>
                <a:gd name="T9" fmla="*/ 200 h 200"/>
                <a:gd name="T10" fmla="*/ 2266 w 2266"/>
                <a:gd name="T11" fmla="*/ 200 h 200"/>
              </a:gdLst>
              <a:ahLst/>
              <a:cxnLst>
                <a:cxn ang="0">
                  <a:pos x="T0" y="T1"/>
                </a:cxn>
                <a:cxn ang="0">
                  <a:pos x="T2" y="T3"/>
                </a:cxn>
                <a:cxn ang="0">
                  <a:pos x="T4" y="T5"/>
                </a:cxn>
                <a:cxn ang="0">
                  <a:pos x="T6" y="T7"/>
                </a:cxn>
                <a:cxn ang="0">
                  <a:pos x="T8" y="T9"/>
                </a:cxn>
                <a:cxn ang="0">
                  <a:pos x="T10" y="T11"/>
                </a:cxn>
              </a:cxnLst>
              <a:rect l="0" t="0" r="r" b="b"/>
              <a:pathLst>
                <a:path w="2266" h="200">
                  <a:moveTo>
                    <a:pt x="2266" y="200"/>
                  </a:moveTo>
                  <a:lnTo>
                    <a:pt x="2266" y="0"/>
                  </a:lnTo>
                  <a:lnTo>
                    <a:pt x="199" y="182"/>
                  </a:lnTo>
                  <a:lnTo>
                    <a:pt x="0" y="200"/>
                  </a:lnTo>
                  <a:lnTo>
                    <a:pt x="199" y="200"/>
                  </a:lnTo>
                  <a:lnTo>
                    <a:pt x="2266"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9"/>
            <p:cNvSpPr>
              <a:spLocks/>
            </p:cNvSpPr>
            <p:nvPr/>
          </p:nvSpPr>
          <p:spPr bwMode="auto">
            <a:xfrm>
              <a:off x="3603625" y="762000"/>
              <a:ext cx="3597275" cy="1038225"/>
            </a:xfrm>
            <a:custGeom>
              <a:avLst/>
              <a:gdLst>
                <a:gd name="T0" fmla="*/ 2266 w 2266"/>
                <a:gd name="T1" fmla="*/ 241 h 654"/>
                <a:gd name="T2" fmla="*/ 2266 w 2266"/>
                <a:gd name="T3" fmla="*/ 0 h 654"/>
                <a:gd name="T4" fmla="*/ 199 w 2266"/>
                <a:gd name="T5" fmla="*/ 596 h 654"/>
                <a:gd name="T6" fmla="*/ 0 w 2266"/>
                <a:gd name="T7" fmla="*/ 654 h 654"/>
                <a:gd name="T8" fmla="*/ 199 w 2266"/>
                <a:gd name="T9" fmla="*/ 618 h 654"/>
                <a:gd name="T10" fmla="*/ 2266 w 2266"/>
                <a:gd name="T11" fmla="*/ 241 h 654"/>
              </a:gdLst>
              <a:ahLst/>
              <a:cxnLst>
                <a:cxn ang="0">
                  <a:pos x="T0" y="T1"/>
                </a:cxn>
                <a:cxn ang="0">
                  <a:pos x="T2" y="T3"/>
                </a:cxn>
                <a:cxn ang="0">
                  <a:pos x="T4" y="T5"/>
                </a:cxn>
                <a:cxn ang="0">
                  <a:pos x="T6" y="T7"/>
                </a:cxn>
                <a:cxn ang="0">
                  <a:pos x="T8" y="T9"/>
                </a:cxn>
                <a:cxn ang="0">
                  <a:pos x="T10" y="T11"/>
                </a:cxn>
              </a:cxnLst>
              <a:rect l="0" t="0" r="r" b="b"/>
              <a:pathLst>
                <a:path w="2266" h="654">
                  <a:moveTo>
                    <a:pt x="2266" y="241"/>
                  </a:moveTo>
                  <a:lnTo>
                    <a:pt x="2266" y="0"/>
                  </a:lnTo>
                  <a:lnTo>
                    <a:pt x="199" y="596"/>
                  </a:lnTo>
                  <a:lnTo>
                    <a:pt x="0" y="654"/>
                  </a:lnTo>
                  <a:lnTo>
                    <a:pt x="199" y="618"/>
                  </a:lnTo>
                  <a:lnTo>
                    <a:pt x="2266"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0"/>
            <p:cNvSpPr>
              <a:spLocks/>
            </p:cNvSpPr>
            <p:nvPr/>
          </p:nvSpPr>
          <p:spPr bwMode="auto">
            <a:xfrm>
              <a:off x="3603625" y="1800225"/>
              <a:ext cx="3597275" cy="655638"/>
            </a:xfrm>
            <a:custGeom>
              <a:avLst/>
              <a:gdLst>
                <a:gd name="T0" fmla="*/ 2266 w 2266"/>
                <a:gd name="T1" fmla="*/ 413 h 413"/>
                <a:gd name="T2" fmla="*/ 2266 w 2266"/>
                <a:gd name="T3" fmla="*/ 199 h 413"/>
                <a:gd name="T4" fmla="*/ 199 w 2266"/>
                <a:gd name="T5" fmla="*/ 18 h 413"/>
                <a:gd name="T6" fmla="*/ 0 w 2266"/>
                <a:gd name="T7" fmla="*/ 0 h 413"/>
                <a:gd name="T8" fmla="*/ 199 w 2266"/>
                <a:gd name="T9" fmla="*/ 36 h 413"/>
                <a:gd name="T10" fmla="*/ 2266 w 2266"/>
                <a:gd name="T11" fmla="*/ 413 h 413"/>
              </a:gdLst>
              <a:ahLst/>
              <a:cxnLst>
                <a:cxn ang="0">
                  <a:pos x="T0" y="T1"/>
                </a:cxn>
                <a:cxn ang="0">
                  <a:pos x="T2" y="T3"/>
                </a:cxn>
                <a:cxn ang="0">
                  <a:pos x="T4" y="T5"/>
                </a:cxn>
                <a:cxn ang="0">
                  <a:pos x="T6" y="T7"/>
                </a:cxn>
                <a:cxn ang="0">
                  <a:pos x="T8" y="T9"/>
                </a:cxn>
                <a:cxn ang="0">
                  <a:pos x="T10" y="T11"/>
                </a:cxn>
              </a:cxnLst>
              <a:rect l="0" t="0" r="r" b="b"/>
              <a:pathLst>
                <a:path w="2266" h="413">
                  <a:moveTo>
                    <a:pt x="2266" y="413"/>
                  </a:moveTo>
                  <a:lnTo>
                    <a:pt x="2266" y="199"/>
                  </a:lnTo>
                  <a:lnTo>
                    <a:pt x="199" y="18"/>
                  </a:lnTo>
                  <a:lnTo>
                    <a:pt x="0" y="0"/>
                  </a:lnTo>
                  <a:lnTo>
                    <a:pt x="199" y="36"/>
                  </a:lnTo>
                  <a:lnTo>
                    <a:pt x="2266" y="4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1"/>
            <p:cNvSpPr>
              <a:spLocks/>
            </p:cNvSpPr>
            <p:nvPr/>
          </p:nvSpPr>
          <p:spPr bwMode="auto">
            <a:xfrm>
              <a:off x="3603625" y="1800225"/>
              <a:ext cx="3597275" cy="1509713"/>
            </a:xfrm>
            <a:custGeom>
              <a:avLst/>
              <a:gdLst>
                <a:gd name="T0" fmla="*/ 2266 w 2266"/>
                <a:gd name="T1" fmla="*/ 951 h 951"/>
                <a:gd name="T2" fmla="*/ 2266 w 2266"/>
                <a:gd name="T3" fmla="*/ 654 h 951"/>
                <a:gd name="T4" fmla="*/ 199 w 2266"/>
                <a:gd name="T5" fmla="*/ 58 h 951"/>
                <a:gd name="T6" fmla="*/ 0 w 2266"/>
                <a:gd name="T7" fmla="*/ 0 h 951"/>
                <a:gd name="T8" fmla="*/ 199 w 2266"/>
                <a:gd name="T9" fmla="*/ 84 h 951"/>
                <a:gd name="T10" fmla="*/ 2266 w 2266"/>
                <a:gd name="T11" fmla="*/ 951 h 951"/>
              </a:gdLst>
              <a:ahLst/>
              <a:cxnLst>
                <a:cxn ang="0">
                  <a:pos x="T0" y="T1"/>
                </a:cxn>
                <a:cxn ang="0">
                  <a:pos x="T2" y="T3"/>
                </a:cxn>
                <a:cxn ang="0">
                  <a:pos x="T4" y="T5"/>
                </a:cxn>
                <a:cxn ang="0">
                  <a:pos x="T6" y="T7"/>
                </a:cxn>
                <a:cxn ang="0">
                  <a:pos x="T8" y="T9"/>
                </a:cxn>
                <a:cxn ang="0">
                  <a:pos x="T10" y="T11"/>
                </a:cxn>
              </a:cxnLst>
              <a:rect l="0" t="0" r="r" b="b"/>
              <a:pathLst>
                <a:path w="2266" h="951">
                  <a:moveTo>
                    <a:pt x="2266" y="951"/>
                  </a:moveTo>
                  <a:lnTo>
                    <a:pt x="2266" y="654"/>
                  </a:lnTo>
                  <a:lnTo>
                    <a:pt x="199" y="58"/>
                  </a:lnTo>
                  <a:lnTo>
                    <a:pt x="0" y="0"/>
                  </a:lnTo>
                  <a:lnTo>
                    <a:pt x="199" y="84"/>
                  </a:lnTo>
                  <a:lnTo>
                    <a:pt x="2266" y="9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2"/>
            <p:cNvSpPr>
              <a:spLocks/>
            </p:cNvSpPr>
            <p:nvPr/>
          </p:nvSpPr>
          <p:spPr bwMode="auto">
            <a:xfrm>
              <a:off x="3603625" y="0"/>
              <a:ext cx="2078038" cy="1800225"/>
            </a:xfrm>
            <a:custGeom>
              <a:avLst/>
              <a:gdLst>
                <a:gd name="T0" fmla="*/ 1309 w 1309"/>
                <a:gd name="T1" fmla="*/ 0 h 1134"/>
                <a:gd name="T2" fmla="*/ 825 w 1309"/>
                <a:gd name="T3" fmla="*/ 0 h 1134"/>
                <a:gd name="T4" fmla="*/ 199 w 1309"/>
                <a:gd name="T5" fmla="*/ 860 h 1134"/>
                <a:gd name="T6" fmla="*/ 0 w 1309"/>
                <a:gd name="T7" fmla="*/ 1134 h 1134"/>
                <a:gd name="T8" fmla="*/ 199 w 1309"/>
                <a:gd name="T9" fmla="*/ 960 h 1134"/>
                <a:gd name="T10" fmla="*/ 1309 w 1309"/>
                <a:gd name="T11" fmla="*/ 0 h 1134"/>
              </a:gdLst>
              <a:ahLst/>
              <a:cxnLst>
                <a:cxn ang="0">
                  <a:pos x="T0" y="T1"/>
                </a:cxn>
                <a:cxn ang="0">
                  <a:pos x="T2" y="T3"/>
                </a:cxn>
                <a:cxn ang="0">
                  <a:pos x="T4" y="T5"/>
                </a:cxn>
                <a:cxn ang="0">
                  <a:pos x="T6" y="T7"/>
                </a:cxn>
                <a:cxn ang="0">
                  <a:pos x="T8" y="T9"/>
                </a:cxn>
                <a:cxn ang="0">
                  <a:pos x="T10" y="T11"/>
                </a:cxn>
              </a:cxnLst>
              <a:rect l="0" t="0" r="r" b="b"/>
              <a:pathLst>
                <a:path w="1309" h="1134">
                  <a:moveTo>
                    <a:pt x="1309" y="0"/>
                  </a:moveTo>
                  <a:lnTo>
                    <a:pt x="825" y="0"/>
                  </a:lnTo>
                  <a:lnTo>
                    <a:pt x="199" y="860"/>
                  </a:lnTo>
                  <a:lnTo>
                    <a:pt x="0" y="1134"/>
                  </a:lnTo>
                  <a:lnTo>
                    <a:pt x="199" y="960"/>
                  </a:lnTo>
                  <a:lnTo>
                    <a:pt x="1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3"/>
            <p:cNvSpPr>
              <a:spLocks/>
            </p:cNvSpPr>
            <p:nvPr/>
          </p:nvSpPr>
          <p:spPr bwMode="auto">
            <a:xfrm>
              <a:off x="585788" y="0"/>
              <a:ext cx="3017838" cy="1800225"/>
            </a:xfrm>
            <a:custGeom>
              <a:avLst/>
              <a:gdLst>
                <a:gd name="T0" fmla="*/ 1489 w 1901"/>
                <a:gd name="T1" fmla="*/ 777 h 1134"/>
                <a:gd name="T2" fmla="*/ 592 w 1901"/>
                <a:gd name="T3" fmla="*/ 0 h 1134"/>
                <a:gd name="T4" fmla="*/ 0 w 1901"/>
                <a:gd name="T5" fmla="*/ 0 h 1134"/>
                <a:gd name="T6" fmla="*/ 1489 w 1901"/>
                <a:gd name="T7" fmla="*/ 888 h 1134"/>
                <a:gd name="T8" fmla="*/ 1702 w 1901"/>
                <a:gd name="T9" fmla="*/ 1015 h 1134"/>
                <a:gd name="T10" fmla="*/ 1901 w 1901"/>
                <a:gd name="T11" fmla="*/ 1134 h 1134"/>
                <a:gd name="T12" fmla="*/ 1702 w 1901"/>
                <a:gd name="T13" fmla="*/ 960 h 1134"/>
                <a:gd name="T14" fmla="*/ 1489 w 1901"/>
                <a:gd name="T15" fmla="*/ 777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1" h="1134">
                  <a:moveTo>
                    <a:pt x="1489" y="777"/>
                  </a:moveTo>
                  <a:lnTo>
                    <a:pt x="592" y="0"/>
                  </a:lnTo>
                  <a:lnTo>
                    <a:pt x="0" y="0"/>
                  </a:lnTo>
                  <a:lnTo>
                    <a:pt x="1489" y="888"/>
                  </a:lnTo>
                  <a:lnTo>
                    <a:pt x="1702" y="1015"/>
                  </a:lnTo>
                  <a:lnTo>
                    <a:pt x="1901" y="1134"/>
                  </a:lnTo>
                  <a:lnTo>
                    <a:pt x="1702" y="960"/>
                  </a:lnTo>
                  <a:lnTo>
                    <a:pt x="1489"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34"/>
            <p:cNvSpPr>
              <a:spLocks/>
            </p:cNvSpPr>
            <p:nvPr/>
          </p:nvSpPr>
          <p:spPr bwMode="auto">
            <a:xfrm>
              <a:off x="3603625" y="0"/>
              <a:ext cx="635000" cy="1800225"/>
            </a:xfrm>
            <a:custGeom>
              <a:avLst/>
              <a:gdLst>
                <a:gd name="T0" fmla="*/ 400 w 400"/>
                <a:gd name="T1" fmla="*/ 0 h 1134"/>
                <a:gd name="T2" fmla="*/ 199 w 400"/>
                <a:gd name="T3" fmla="*/ 0 h 1134"/>
                <a:gd name="T4" fmla="*/ 0 w 400"/>
                <a:gd name="T5" fmla="*/ 0 h 1134"/>
                <a:gd name="T6" fmla="*/ 0 w 400"/>
                <a:gd name="T7" fmla="*/ 1134 h 1134"/>
                <a:gd name="T8" fmla="*/ 199 w 400"/>
                <a:gd name="T9" fmla="*/ 567 h 1134"/>
                <a:gd name="T10" fmla="*/ 400 w 400"/>
                <a:gd name="T11" fmla="*/ 0 h 1134"/>
              </a:gdLst>
              <a:ahLst/>
              <a:cxnLst>
                <a:cxn ang="0">
                  <a:pos x="T0" y="T1"/>
                </a:cxn>
                <a:cxn ang="0">
                  <a:pos x="T2" y="T3"/>
                </a:cxn>
                <a:cxn ang="0">
                  <a:pos x="T4" y="T5"/>
                </a:cxn>
                <a:cxn ang="0">
                  <a:pos x="T6" y="T7"/>
                </a:cxn>
                <a:cxn ang="0">
                  <a:pos x="T8" y="T9"/>
                </a:cxn>
                <a:cxn ang="0">
                  <a:pos x="T10" y="T11"/>
                </a:cxn>
              </a:cxnLst>
              <a:rect l="0" t="0" r="r" b="b"/>
              <a:pathLst>
                <a:path w="400" h="1134">
                  <a:moveTo>
                    <a:pt x="400" y="0"/>
                  </a:moveTo>
                  <a:lnTo>
                    <a:pt x="199" y="0"/>
                  </a:lnTo>
                  <a:lnTo>
                    <a:pt x="0" y="0"/>
                  </a:lnTo>
                  <a:lnTo>
                    <a:pt x="0" y="1134"/>
                  </a:lnTo>
                  <a:lnTo>
                    <a:pt x="199" y="567"/>
                  </a:lnTo>
                  <a:lnTo>
                    <a:pt x="40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35"/>
            <p:cNvSpPr>
              <a:spLocks/>
            </p:cNvSpPr>
            <p:nvPr/>
          </p:nvSpPr>
          <p:spPr bwMode="auto">
            <a:xfrm>
              <a:off x="2293938" y="0"/>
              <a:ext cx="1309688" cy="1800225"/>
            </a:xfrm>
            <a:custGeom>
              <a:avLst/>
              <a:gdLst>
                <a:gd name="T0" fmla="*/ 425 w 825"/>
                <a:gd name="T1" fmla="*/ 0 h 1134"/>
                <a:gd name="T2" fmla="*/ 413 w 825"/>
                <a:gd name="T3" fmla="*/ 0 h 1134"/>
                <a:gd name="T4" fmla="*/ 0 w 825"/>
                <a:gd name="T5" fmla="*/ 0 h 1134"/>
                <a:gd name="T6" fmla="*/ 413 w 825"/>
                <a:gd name="T7" fmla="*/ 567 h 1134"/>
                <a:gd name="T8" fmla="*/ 626 w 825"/>
                <a:gd name="T9" fmla="*/ 860 h 1134"/>
                <a:gd name="T10" fmla="*/ 825 w 825"/>
                <a:gd name="T11" fmla="*/ 1134 h 1134"/>
                <a:gd name="T12" fmla="*/ 626 w 825"/>
                <a:gd name="T13" fmla="*/ 567 h 1134"/>
                <a:gd name="T14" fmla="*/ 425 w 825"/>
                <a:gd name="T15" fmla="*/ 0 h 1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5" h="1134">
                  <a:moveTo>
                    <a:pt x="425" y="0"/>
                  </a:moveTo>
                  <a:lnTo>
                    <a:pt x="413" y="0"/>
                  </a:lnTo>
                  <a:lnTo>
                    <a:pt x="0" y="0"/>
                  </a:lnTo>
                  <a:lnTo>
                    <a:pt x="413" y="567"/>
                  </a:lnTo>
                  <a:lnTo>
                    <a:pt x="626" y="860"/>
                  </a:lnTo>
                  <a:lnTo>
                    <a:pt x="825" y="1134"/>
                  </a:lnTo>
                  <a:lnTo>
                    <a:pt x="626" y="567"/>
                  </a:lnTo>
                  <a:lnTo>
                    <a:pt x="4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36"/>
            <p:cNvSpPr>
              <a:spLocks/>
            </p:cNvSpPr>
            <p:nvPr/>
          </p:nvSpPr>
          <p:spPr bwMode="auto">
            <a:xfrm>
              <a:off x="3603625" y="0"/>
              <a:ext cx="3597275" cy="1800225"/>
            </a:xfrm>
            <a:custGeom>
              <a:avLst/>
              <a:gdLst>
                <a:gd name="T0" fmla="*/ 2266 w 2266"/>
                <a:gd name="T1" fmla="*/ 183 h 1134"/>
                <a:gd name="T2" fmla="*/ 2266 w 2266"/>
                <a:gd name="T3" fmla="*/ 0 h 1134"/>
                <a:gd name="T4" fmla="*/ 1901 w 2266"/>
                <a:gd name="T5" fmla="*/ 0 h 1134"/>
                <a:gd name="T6" fmla="*/ 199 w 2266"/>
                <a:gd name="T7" fmla="*/ 1015 h 1134"/>
                <a:gd name="T8" fmla="*/ 0 w 2266"/>
                <a:gd name="T9" fmla="*/ 1134 h 1134"/>
                <a:gd name="T10" fmla="*/ 199 w 2266"/>
                <a:gd name="T11" fmla="*/ 1050 h 1134"/>
                <a:gd name="T12" fmla="*/ 2266 w 2266"/>
                <a:gd name="T13" fmla="*/ 183 h 1134"/>
              </a:gdLst>
              <a:ahLst/>
              <a:cxnLst>
                <a:cxn ang="0">
                  <a:pos x="T0" y="T1"/>
                </a:cxn>
                <a:cxn ang="0">
                  <a:pos x="T2" y="T3"/>
                </a:cxn>
                <a:cxn ang="0">
                  <a:pos x="T4" y="T5"/>
                </a:cxn>
                <a:cxn ang="0">
                  <a:pos x="T6" y="T7"/>
                </a:cxn>
                <a:cxn ang="0">
                  <a:pos x="T8" y="T9"/>
                </a:cxn>
                <a:cxn ang="0">
                  <a:pos x="T10" y="T11"/>
                </a:cxn>
                <a:cxn ang="0">
                  <a:pos x="T12" y="T13"/>
                </a:cxn>
              </a:cxnLst>
              <a:rect l="0" t="0" r="r" b="b"/>
              <a:pathLst>
                <a:path w="2266" h="1134">
                  <a:moveTo>
                    <a:pt x="2266" y="183"/>
                  </a:moveTo>
                  <a:lnTo>
                    <a:pt x="2266" y="0"/>
                  </a:lnTo>
                  <a:lnTo>
                    <a:pt x="1901" y="0"/>
                  </a:lnTo>
                  <a:lnTo>
                    <a:pt x="199" y="1015"/>
                  </a:lnTo>
                  <a:lnTo>
                    <a:pt x="0" y="1134"/>
                  </a:lnTo>
                  <a:lnTo>
                    <a:pt x="199" y="1050"/>
                  </a:lnTo>
                  <a:lnTo>
                    <a:pt x="2266"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37"/>
            <p:cNvSpPr>
              <a:spLocks/>
            </p:cNvSpPr>
            <p:nvPr/>
          </p:nvSpPr>
          <p:spPr bwMode="auto">
            <a:xfrm>
              <a:off x="6350" y="1144588"/>
              <a:ext cx="3597275" cy="655638"/>
            </a:xfrm>
            <a:custGeom>
              <a:avLst/>
              <a:gdLst>
                <a:gd name="T0" fmla="*/ 1854 w 2266"/>
                <a:gd name="T1" fmla="*/ 338 h 413"/>
                <a:gd name="T2" fmla="*/ 0 w 2266"/>
                <a:gd name="T3" fmla="*/ 0 h 413"/>
                <a:gd name="T4" fmla="*/ 0 w 2266"/>
                <a:gd name="T5" fmla="*/ 213 h 413"/>
                <a:gd name="T6" fmla="*/ 1854 w 2266"/>
                <a:gd name="T7" fmla="*/ 377 h 413"/>
                <a:gd name="T8" fmla="*/ 2067 w 2266"/>
                <a:gd name="T9" fmla="*/ 395 h 413"/>
                <a:gd name="T10" fmla="*/ 2266 w 2266"/>
                <a:gd name="T11" fmla="*/ 413 h 413"/>
                <a:gd name="T12" fmla="*/ 2067 w 2266"/>
                <a:gd name="T13" fmla="*/ 377 h 413"/>
                <a:gd name="T14" fmla="*/ 1854 w 2266"/>
                <a:gd name="T15" fmla="*/ 338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413">
                  <a:moveTo>
                    <a:pt x="1854" y="338"/>
                  </a:moveTo>
                  <a:lnTo>
                    <a:pt x="0" y="0"/>
                  </a:lnTo>
                  <a:lnTo>
                    <a:pt x="0" y="213"/>
                  </a:lnTo>
                  <a:lnTo>
                    <a:pt x="1854" y="377"/>
                  </a:lnTo>
                  <a:lnTo>
                    <a:pt x="2067" y="395"/>
                  </a:lnTo>
                  <a:lnTo>
                    <a:pt x="2266" y="413"/>
                  </a:lnTo>
                  <a:lnTo>
                    <a:pt x="2067" y="377"/>
                  </a:lnTo>
                  <a:lnTo>
                    <a:pt x="185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38"/>
            <p:cNvSpPr>
              <a:spLocks/>
            </p:cNvSpPr>
            <p:nvPr/>
          </p:nvSpPr>
          <p:spPr bwMode="auto">
            <a:xfrm>
              <a:off x="6350" y="1800225"/>
              <a:ext cx="3597275" cy="315913"/>
            </a:xfrm>
            <a:custGeom>
              <a:avLst/>
              <a:gdLst>
                <a:gd name="T0" fmla="*/ 1854 w 2266"/>
                <a:gd name="T1" fmla="*/ 0 h 199"/>
                <a:gd name="T2" fmla="*/ 0 w 2266"/>
                <a:gd name="T3" fmla="*/ 0 h 199"/>
                <a:gd name="T4" fmla="*/ 0 w 2266"/>
                <a:gd name="T5" fmla="*/ 199 h 199"/>
                <a:gd name="T6" fmla="*/ 1854 w 2266"/>
                <a:gd name="T7" fmla="*/ 36 h 199"/>
                <a:gd name="T8" fmla="*/ 2067 w 2266"/>
                <a:gd name="T9" fmla="*/ 18 h 199"/>
                <a:gd name="T10" fmla="*/ 2266 w 2266"/>
                <a:gd name="T11" fmla="*/ 0 h 199"/>
                <a:gd name="T12" fmla="*/ 2067 w 2266"/>
                <a:gd name="T13" fmla="*/ 0 h 199"/>
                <a:gd name="T14" fmla="*/ 1854 w 2266"/>
                <a:gd name="T15" fmla="*/ 0 h 1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199">
                  <a:moveTo>
                    <a:pt x="1854" y="0"/>
                  </a:moveTo>
                  <a:lnTo>
                    <a:pt x="0" y="0"/>
                  </a:lnTo>
                  <a:lnTo>
                    <a:pt x="0" y="199"/>
                  </a:lnTo>
                  <a:lnTo>
                    <a:pt x="1854" y="36"/>
                  </a:lnTo>
                  <a:lnTo>
                    <a:pt x="2067" y="18"/>
                  </a:lnTo>
                  <a:lnTo>
                    <a:pt x="2266" y="0"/>
                  </a:lnTo>
                  <a:lnTo>
                    <a:pt x="2067" y="0"/>
                  </a:lnTo>
                  <a:lnTo>
                    <a:pt x="18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39"/>
            <p:cNvSpPr>
              <a:spLocks/>
            </p:cNvSpPr>
            <p:nvPr/>
          </p:nvSpPr>
          <p:spPr bwMode="auto">
            <a:xfrm>
              <a:off x="6350" y="290513"/>
              <a:ext cx="3597275" cy="1509713"/>
            </a:xfrm>
            <a:custGeom>
              <a:avLst/>
              <a:gdLst>
                <a:gd name="T0" fmla="*/ 1854 w 2266"/>
                <a:gd name="T1" fmla="*/ 777 h 951"/>
                <a:gd name="T2" fmla="*/ 0 w 2266"/>
                <a:gd name="T3" fmla="*/ 0 h 951"/>
                <a:gd name="T4" fmla="*/ 0 w 2266"/>
                <a:gd name="T5" fmla="*/ 297 h 951"/>
                <a:gd name="T6" fmla="*/ 1854 w 2266"/>
                <a:gd name="T7" fmla="*/ 832 h 951"/>
                <a:gd name="T8" fmla="*/ 2067 w 2266"/>
                <a:gd name="T9" fmla="*/ 893 h 951"/>
                <a:gd name="T10" fmla="*/ 2266 w 2266"/>
                <a:gd name="T11" fmla="*/ 951 h 951"/>
                <a:gd name="T12" fmla="*/ 2067 w 2266"/>
                <a:gd name="T13" fmla="*/ 867 h 951"/>
                <a:gd name="T14" fmla="*/ 1854 w 2266"/>
                <a:gd name="T15" fmla="*/ 777 h 9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951">
                  <a:moveTo>
                    <a:pt x="1854" y="777"/>
                  </a:moveTo>
                  <a:lnTo>
                    <a:pt x="0" y="0"/>
                  </a:lnTo>
                  <a:lnTo>
                    <a:pt x="0" y="297"/>
                  </a:lnTo>
                  <a:lnTo>
                    <a:pt x="1854" y="832"/>
                  </a:lnTo>
                  <a:lnTo>
                    <a:pt x="2067" y="893"/>
                  </a:lnTo>
                  <a:lnTo>
                    <a:pt x="2266" y="951"/>
                  </a:lnTo>
                  <a:lnTo>
                    <a:pt x="2067" y="867"/>
                  </a:lnTo>
                  <a:lnTo>
                    <a:pt x="1854"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40"/>
            <p:cNvSpPr>
              <a:spLocks/>
            </p:cNvSpPr>
            <p:nvPr/>
          </p:nvSpPr>
          <p:spPr bwMode="auto">
            <a:xfrm>
              <a:off x="6350" y="1800225"/>
              <a:ext cx="3597275" cy="1038225"/>
            </a:xfrm>
            <a:custGeom>
              <a:avLst/>
              <a:gdLst>
                <a:gd name="T0" fmla="*/ 1854 w 2266"/>
                <a:gd name="T1" fmla="*/ 75 h 654"/>
                <a:gd name="T2" fmla="*/ 0 w 2266"/>
                <a:gd name="T3" fmla="*/ 413 h 654"/>
                <a:gd name="T4" fmla="*/ 0 w 2266"/>
                <a:gd name="T5" fmla="*/ 654 h 654"/>
                <a:gd name="T6" fmla="*/ 1854 w 2266"/>
                <a:gd name="T7" fmla="*/ 119 h 654"/>
                <a:gd name="T8" fmla="*/ 2067 w 2266"/>
                <a:gd name="T9" fmla="*/ 58 h 654"/>
                <a:gd name="T10" fmla="*/ 2266 w 2266"/>
                <a:gd name="T11" fmla="*/ 0 h 654"/>
                <a:gd name="T12" fmla="*/ 2067 w 2266"/>
                <a:gd name="T13" fmla="*/ 36 h 654"/>
                <a:gd name="T14" fmla="*/ 1854 w 2266"/>
                <a:gd name="T15" fmla="*/ 75 h 6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66" h="654">
                  <a:moveTo>
                    <a:pt x="1854" y="75"/>
                  </a:moveTo>
                  <a:lnTo>
                    <a:pt x="0" y="413"/>
                  </a:lnTo>
                  <a:lnTo>
                    <a:pt x="0" y="654"/>
                  </a:lnTo>
                  <a:lnTo>
                    <a:pt x="1854" y="119"/>
                  </a:lnTo>
                  <a:lnTo>
                    <a:pt x="2067" y="58"/>
                  </a:lnTo>
                  <a:lnTo>
                    <a:pt x="2266" y="0"/>
                  </a:lnTo>
                  <a:lnTo>
                    <a:pt x="2067" y="36"/>
                  </a:lnTo>
                  <a:lnTo>
                    <a:pt x="1854"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0" name="Freeform 5"/>
          <p:cNvSpPr>
            <a:spLocks/>
          </p:cNvSpPr>
          <p:nvPr/>
        </p:nvSpPr>
        <p:spPr bwMode="auto">
          <a:xfrm>
            <a:off x="2566358" y="3692525"/>
            <a:ext cx="1012825" cy="617537"/>
          </a:xfrm>
          <a:custGeom>
            <a:avLst/>
            <a:gdLst>
              <a:gd name="T0" fmla="*/ 229 w 410"/>
              <a:gd name="T1" fmla="*/ 0 h 250"/>
              <a:gd name="T2" fmla="*/ 163 w 410"/>
              <a:gd name="T3" fmla="*/ 34 h 250"/>
              <a:gd name="T4" fmla="*/ 133 w 410"/>
              <a:gd name="T5" fmla="*/ 28 h 250"/>
              <a:gd name="T6" fmla="*/ 95 w 410"/>
              <a:gd name="T7" fmla="*/ 42 h 250"/>
              <a:gd name="T8" fmla="*/ 72 w 410"/>
              <a:gd name="T9" fmla="*/ 92 h 250"/>
              <a:gd name="T10" fmla="*/ 65 w 410"/>
              <a:gd name="T11" fmla="*/ 92 h 250"/>
              <a:gd name="T12" fmla="*/ 12 w 410"/>
              <a:gd name="T13" fmla="*/ 115 h 250"/>
              <a:gd name="T14" fmla="*/ 10 w 410"/>
              <a:gd name="T15" fmla="*/ 169 h 250"/>
              <a:gd name="T16" fmla="*/ 48 w 410"/>
              <a:gd name="T17" fmla="*/ 197 h 250"/>
              <a:gd name="T18" fmla="*/ 82 w 410"/>
              <a:gd name="T19" fmla="*/ 216 h 250"/>
              <a:gd name="T20" fmla="*/ 100 w 410"/>
              <a:gd name="T21" fmla="*/ 213 h 250"/>
              <a:gd name="T22" fmla="*/ 160 w 410"/>
              <a:gd name="T23" fmla="*/ 250 h 250"/>
              <a:gd name="T24" fmla="*/ 173 w 410"/>
              <a:gd name="T25" fmla="*/ 249 h 250"/>
              <a:gd name="T26" fmla="*/ 228 w 410"/>
              <a:gd name="T27" fmla="*/ 217 h 250"/>
              <a:gd name="T28" fmla="*/ 272 w 410"/>
              <a:gd name="T29" fmla="*/ 238 h 250"/>
              <a:gd name="T30" fmla="*/ 282 w 410"/>
              <a:gd name="T31" fmla="*/ 237 h 250"/>
              <a:gd name="T32" fmla="*/ 321 w 410"/>
              <a:gd name="T33" fmla="*/ 201 h 250"/>
              <a:gd name="T34" fmla="*/ 342 w 410"/>
              <a:gd name="T35" fmla="*/ 203 h 250"/>
              <a:gd name="T36" fmla="*/ 400 w 410"/>
              <a:gd name="T37" fmla="*/ 172 h 250"/>
              <a:gd name="T38" fmla="*/ 398 w 410"/>
              <a:gd name="T39" fmla="*/ 111 h 250"/>
              <a:gd name="T40" fmla="*/ 357 w 410"/>
              <a:gd name="T41" fmla="*/ 84 h 250"/>
              <a:gd name="T42" fmla="*/ 352 w 410"/>
              <a:gd name="T43" fmla="*/ 84 h 250"/>
              <a:gd name="T44" fmla="*/ 313 w 410"/>
              <a:gd name="T45" fmla="*/ 55 h 250"/>
              <a:gd name="T46" fmla="*/ 301 w 410"/>
              <a:gd name="T47" fmla="*/ 57 h 250"/>
              <a:gd name="T48" fmla="*/ 233 w 410"/>
              <a:gd name="T49" fmla="*/ 0 h 250"/>
              <a:gd name="T50" fmla="*/ 229 w 410"/>
              <a:gd name="T51"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0" h="250">
                <a:moveTo>
                  <a:pt x="229" y="0"/>
                </a:moveTo>
                <a:cubicBezTo>
                  <a:pt x="185" y="0"/>
                  <a:pt x="168" y="25"/>
                  <a:pt x="163" y="34"/>
                </a:cubicBezTo>
                <a:cubicBezTo>
                  <a:pt x="158" y="32"/>
                  <a:pt x="146" y="28"/>
                  <a:pt x="133" y="28"/>
                </a:cubicBezTo>
                <a:cubicBezTo>
                  <a:pt x="118" y="28"/>
                  <a:pt x="105" y="33"/>
                  <a:pt x="95" y="42"/>
                </a:cubicBezTo>
                <a:cubicBezTo>
                  <a:pt x="72" y="63"/>
                  <a:pt x="71" y="84"/>
                  <a:pt x="72" y="92"/>
                </a:cubicBezTo>
                <a:cubicBezTo>
                  <a:pt x="70" y="92"/>
                  <a:pt x="68" y="92"/>
                  <a:pt x="65" y="92"/>
                </a:cubicBezTo>
                <a:cubicBezTo>
                  <a:pt x="52" y="92"/>
                  <a:pt x="27" y="95"/>
                  <a:pt x="12" y="115"/>
                </a:cubicBezTo>
                <a:cubicBezTo>
                  <a:pt x="1" y="130"/>
                  <a:pt x="0" y="150"/>
                  <a:pt x="10" y="169"/>
                </a:cubicBezTo>
                <a:cubicBezTo>
                  <a:pt x="18" y="186"/>
                  <a:pt x="33" y="197"/>
                  <a:pt x="48" y="197"/>
                </a:cubicBezTo>
                <a:cubicBezTo>
                  <a:pt x="51" y="202"/>
                  <a:pt x="61" y="216"/>
                  <a:pt x="82" y="216"/>
                </a:cubicBezTo>
                <a:cubicBezTo>
                  <a:pt x="88" y="216"/>
                  <a:pt x="94" y="215"/>
                  <a:pt x="100" y="213"/>
                </a:cubicBezTo>
                <a:cubicBezTo>
                  <a:pt x="105" y="222"/>
                  <a:pt x="121" y="250"/>
                  <a:pt x="160" y="250"/>
                </a:cubicBezTo>
                <a:cubicBezTo>
                  <a:pt x="164" y="250"/>
                  <a:pt x="169" y="249"/>
                  <a:pt x="173" y="249"/>
                </a:cubicBezTo>
                <a:cubicBezTo>
                  <a:pt x="213" y="243"/>
                  <a:pt x="225" y="226"/>
                  <a:pt x="228" y="217"/>
                </a:cubicBezTo>
                <a:cubicBezTo>
                  <a:pt x="235" y="225"/>
                  <a:pt x="250" y="238"/>
                  <a:pt x="272" y="238"/>
                </a:cubicBezTo>
                <a:cubicBezTo>
                  <a:pt x="276" y="238"/>
                  <a:pt x="279" y="238"/>
                  <a:pt x="282" y="237"/>
                </a:cubicBezTo>
                <a:cubicBezTo>
                  <a:pt x="312" y="232"/>
                  <a:pt x="319" y="209"/>
                  <a:pt x="321" y="201"/>
                </a:cubicBezTo>
                <a:cubicBezTo>
                  <a:pt x="325" y="202"/>
                  <a:pt x="333" y="203"/>
                  <a:pt x="342" y="203"/>
                </a:cubicBezTo>
                <a:cubicBezTo>
                  <a:pt x="361" y="203"/>
                  <a:pt x="385" y="198"/>
                  <a:pt x="400" y="172"/>
                </a:cubicBezTo>
                <a:cubicBezTo>
                  <a:pt x="410" y="153"/>
                  <a:pt x="410" y="130"/>
                  <a:pt x="398" y="111"/>
                </a:cubicBezTo>
                <a:cubicBezTo>
                  <a:pt x="389" y="94"/>
                  <a:pt x="373" y="84"/>
                  <a:pt x="357" y="84"/>
                </a:cubicBezTo>
                <a:cubicBezTo>
                  <a:pt x="355" y="84"/>
                  <a:pt x="354" y="84"/>
                  <a:pt x="352" y="84"/>
                </a:cubicBezTo>
                <a:cubicBezTo>
                  <a:pt x="350" y="77"/>
                  <a:pt x="341" y="55"/>
                  <a:pt x="313" y="55"/>
                </a:cubicBezTo>
                <a:cubicBezTo>
                  <a:pt x="309" y="55"/>
                  <a:pt x="305" y="56"/>
                  <a:pt x="301" y="57"/>
                </a:cubicBezTo>
                <a:cubicBezTo>
                  <a:pt x="299" y="44"/>
                  <a:pt x="287" y="1"/>
                  <a:pt x="233" y="0"/>
                </a:cubicBezTo>
                <a:cubicBezTo>
                  <a:pt x="232" y="0"/>
                  <a:pt x="231" y="0"/>
                  <a:pt x="22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51" name="Freeform 6"/>
          <p:cNvSpPr>
            <a:spLocks/>
          </p:cNvSpPr>
          <p:nvPr/>
        </p:nvSpPr>
        <p:spPr bwMode="auto">
          <a:xfrm>
            <a:off x="8257546" y="4527550"/>
            <a:ext cx="774700" cy="471487"/>
          </a:xfrm>
          <a:custGeom>
            <a:avLst/>
            <a:gdLst>
              <a:gd name="T0" fmla="*/ 139 w 314"/>
              <a:gd name="T1" fmla="*/ 0 h 191"/>
              <a:gd name="T2" fmla="*/ 136 w 314"/>
              <a:gd name="T3" fmla="*/ 0 h 191"/>
              <a:gd name="T4" fmla="*/ 84 w 314"/>
              <a:gd name="T5" fmla="*/ 44 h 191"/>
              <a:gd name="T6" fmla="*/ 74 w 314"/>
              <a:gd name="T7" fmla="*/ 43 h 191"/>
              <a:gd name="T8" fmla="*/ 45 w 314"/>
              <a:gd name="T9" fmla="*/ 65 h 191"/>
              <a:gd name="T10" fmla="*/ 41 w 314"/>
              <a:gd name="T11" fmla="*/ 65 h 191"/>
              <a:gd name="T12" fmla="*/ 10 w 314"/>
              <a:gd name="T13" fmla="*/ 85 h 191"/>
              <a:gd name="T14" fmla="*/ 8 w 314"/>
              <a:gd name="T15" fmla="*/ 132 h 191"/>
              <a:gd name="T16" fmla="*/ 52 w 314"/>
              <a:gd name="T17" fmla="*/ 156 h 191"/>
              <a:gd name="T18" fmla="*/ 69 w 314"/>
              <a:gd name="T19" fmla="*/ 154 h 191"/>
              <a:gd name="T20" fmla="*/ 98 w 314"/>
              <a:gd name="T21" fmla="*/ 181 h 191"/>
              <a:gd name="T22" fmla="*/ 106 w 314"/>
              <a:gd name="T23" fmla="*/ 182 h 191"/>
              <a:gd name="T24" fmla="*/ 139 w 314"/>
              <a:gd name="T25" fmla="*/ 166 h 191"/>
              <a:gd name="T26" fmla="*/ 181 w 314"/>
              <a:gd name="T27" fmla="*/ 190 h 191"/>
              <a:gd name="T28" fmla="*/ 191 w 314"/>
              <a:gd name="T29" fmla="*/ 191 h 191"/>
              <a:gd name="T30" fmla="*/ 237 w 314"/>
              <a:gd name="T31" fmla="*/ 163 h 191"/>
              <a:gd name="T32" fmla="*/ 251 w 314"/>
              <a:gd name="T33" fmla="*/ 165 h 191"/>
              <a:gd name="T34" fmla="*/ 277 w 314"/>
              <a:gd name="T35" fmla="*/ 151 h 191"/>
              <a:gd name="T36" fmla="*/ 306 w 314"/>
              <a:gd name="T37" fmla="*/ 130 h 191"/>
              <a:gd name="T38" fmla="*/ 305 w 314"/>
              <a:gd name="T39" fmla="*/ 89 h 191"/>
              <a:gd name="T40" fmla="*/ 264 w 314"/>
              <a:gd name="T41" fmla="*/ 71 h 191"/>
              <a:gd name="T42" fmla="*/ 258 w 314"/>
              <a:gd name="T43" fmla="*/ 71 h 191"/>
              <a:gd name="T44" fmla="*/ 241 w 314"/>
              <a:gd name="T45" fmla="*/ 33 h 191"/>
              <a:gd name="T46" fmla="*/ 212 w 314"/>
              <a:gd name="T47" fmla="*/ 22 h 191"/>
              <a:gd name="T48" fmla="*/ 189 w 314"/>
              <a:gd name="T49" fmla="*/ 27 h 191"/>
              <a:gd name="T50" fmla="*/ 139 w 314"/>
              <a:gd name="T51"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91">
                <a:moveTo>
                  <a:pt x="139" y="0"/>
                </a:moveTo>
                <a:cubicBezTo>
                  <a:pt x="138" y="0"/>
                  <a:pt x="137" y="0"/>
                  <a:pt x="136" y="0"/>
                </a:cubicBezTo>
                <a:cubicBezTo>
                  <a:pt x="95" y="2"/>
                  <a:pt x="85" y="34"/>
                  <a:pt x="84" y="44"/>
                </a:cubicBezTo>
                <a:cubicBezTo>
                  <a:pt x="80" y="43"/>
                  <a:pt x="77" y="43"/>
                  <a:pt x="74" y="43"/>
                </a:cubicBezTo>
                <a:cubicBezTo>
                  <a:pt x="53" y="43"/>
                  <a:pt x="46" y="59"/>
                  <a:pt x="45" y="65"/>
                </a:cubicBezTo>
                <a:cubicBezTo>
                  <a:pt x="43" y="65"/>
                  <a:pt x="42" y="65"/>
                  <a:pt x="41" y="65"/>
                </a:cubicBezTo>
                <a:cubicBezTo>
                  <a:pt x="29" y="65"/>
                  <a:pt x="17" y="72"/>
                  <a:pt x="10" y="85"/>
                </a:cubicBezTo>
                <a:cubicBezTo>
                  <a:pt x="1" y="100"/>
                  <a:pt x="0" y="117"/>
                  <a:pt x="8" y="132"/>
                </a:cubicBezTo>
                <a:cubicBezTo>
                  <a:pt x="19" y="151"/>
                  <a:pt x="38" y="156"/>
                  <a:pt x="52" y="156"/>
                </a:cubicBezTo>
                <a:cubicBezTo>
                  <a:pt x="59" y="156"/>
                  <a:pt x="65" y="154"/>
                  <a:pt x="69" y="154"/>
                </a:cubicBezTo>
                <a:cubicBezTo>
                  <a:pt x="70" y="160"/>
                  <a:pt x="75" y="177"/>
                  <a:pt x="98" y="181"/>
                </a:cubicBezTo>
                <a:cubicBezTo>
                  <a:pt x="101" y="182"/>
                  <a:pt x="103" y="182"/>
                  <a:pt x="106" y="182"/>
                </a:cubicBezTo>
                <a:cubicBezTo>
                  <a:pt x="123" y="182"/>
                  <a:pt x="134" y="172"/>
                  <a:pt x="139" y="166"/>
                </a:cubicBezTo>
                <a:cubicBezTo>
                  <a:pt x="142" y="173"/>
                  <a:pt x="151" y="186"/>
                  <a:pt x="181" y="190"/>
                </a:cubicBezTo>
                <a:cubicBezTo>
                  <a:pt x="185" y="191"/>
                  <a:pt x="188" y="191"/>
                  <a:pt x="191" y="191"/>
                </a:cubicBezTo>
                <a:cubicBezTo>
                  <a:pt x="221" y="191"/>
                  <a:pt x="234" y="170"/>
                  <a:pt x="237" y="163"/>
                </a:cubicBezTo>
                <a:cubicBezTo>
                  <a:pt x="242" y="165"/>
                  <a:pt x="246" y="165"/>
                  <a:pt x="251" y="165"/>
                </a:cubicBezTo>
                <a:cubicBezTo>
                  <a:pt x="267" y="165"/>
                  <a:pt x="275" y="155"/>
                  <a:pt x="277" y="151"/>
                </a:cubicBezTo>
                <a:cubicBezTo>
                  <a:pt x="289" y="151"/>
                  <a:pt x="300" y="143"/>
                  <a:pt x="306" y="130"/>
                </a:cubicBezTo>
                <a:cubicBezTo>
                  <a:pt x="314" y="115"/>
                  <a:pt x="313" y="100"/>
                  <a:pt x="305" y="89"/>
                </a:cubicBezTo>
                <a:cubicBezTo>
                  <a:pt x="293" y="73"/>
                  <a:pt x="274" y="71"/>
                  <a:pt x="264" y="71"/>
                </a:cubicBezTo>
                <a:cubicBezTo>
                  <a:pt x="262" y="71"/>
                  <a:pt x="260" y="71"/>
                  <a:pt x="258" y="71"/>
                </a:cubicBezTo>
                <a:cubicBezTo>
                  <a:pt x="259" y="64"/>
                  <a:pt x="259" y="48"/>
                  <a:pt x="241" y="33"/>
                </a:cubicBezTo>
                <a:cubicBezTo>
                  <a:pt x="234" y="26"/>
                  <a:pt x="224" y="22"/>
                  <a:pt x="212" y="22"/>
                </a:cubicBezTo>
                <a:cubicBezTo>
                  <a:pt x="202" y="22"/>
                  <a:pt x="193" y="25"/>
                  <a:pt x="189" y="27"/>
                </a:cubicBezTo>
                <a:cubicBezTo>
                  <a:pt x="185" y="20"/>
                  <a:pt x="172" y="0"/>
                  <a:pt x="13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4" name="Freeform 7"/>
          <p:cNvSpPr>
            <a:spLocks/>
          </p:cNvSpPr>
          <p:nvPr/>
        </p:nvSpPr>
        <p:spPr bwMode="auto">
          <a:xfrm>
            <a:off x="8074983" y="5005388"/>
            <a:ext cx="338138" cy="207962"/>
          </a:xfrm>
          <a:custGeom>
            <a:avLst/>
            <a:gdLst>
              <a:gd name="T0" fmla="*/ 77 w 137"/>
              <a:gd name="T1" fmla="*/ 0 h 84"/>
              <a:gd name="T2" fmla="*/ 55 w 137"/>
              <a:gd name="T3" fmla="*/ 12 h 84"/>
              <a:gd name="T4" fmla="*/ 44 w 137"/>
              <a:gd name="T5" fmla="*/ 10 h 84"/>
              <a:gd name="T6" fmla="*/ 32 w 137"/>
              <a:gd name="T7" fmla="*/ 15 h 84"/>
              <a:gd name="T8" fmla="*/ 24 w 137"/>
              <a:gd name="T9" fmla="*/ 31 h 84"/>
              <a:gd name="T10" fmla="*/ 22 w 137"/>
              <a:gd name="T11" fmla="*/ 31 h 84"/>
              <a:gd name="T12" fmla="*/ 4 w 137"/>
              <a:gd name="T13" fmla="*/ 39 h 84"/>
              <a:gd name="T14" fmla="*/ 3 w 137"/>
              <a:gd name="T15" fmla="*/ 57 h 84"/>
              <a:gd name="T16" fmla="*/ 16 w 137"/>
              <a:gd name="T17" fmla="*/ 66 h 84"/>
              <a:gd name="T18" fmla="*/ 28 w 137"/>
              <a:gd name="T19" fmla="*/ 72 h 84"/>
              <a:gd name="T20" fmla="*/ 34 w 137"/>
              <a:gd name="T21" fmla="*/ 71 h 84"/>
              <a:gd name="T22" fmla="*/ 54 w 137"/>
              <a:gd name="T23" fmla="*/ 84 h 84"/>
              <a:gd name="T24" fmla="*/ 58 w 137"/>
              <a:gd name="T25" fmla="*/ 83 h 84"/>
              <a:gd name="T26" fmla="*/ 76 w 137"/>
              <a:gd name="T27" fmla="*/ 73 h 84"/>
              <a:gd name="T28" fmla="*/ 91 w 137"/>
              <a:gd name="T29" fmla="*/ 80 h 84"/>
              <a:gd name="T30" fmla="*/ 94 w 137"/>
              <a:gd name="T31" fmla="*/ 79 h 84"/>
              <a:gd name="T32" fmla="*/ 107 w 137"/>
              <a:gd name="T33" fmla="*/ 67 h 84"/>
              <a:gd name="T34" fmla="*/ 114 w 137"/>
              <a:gd name="T35" fmla="*/ 68 h 84"/>
              <a:gd name="T36" fmla="*/ 133 w 137"/>
              <a:gd name="T37" fmla="*/ 58 h 84"/>
              <a:gd name="T38" fmla="*/ 133 w 137"/>
              <a:gd name="T39" fmla="*/ 37 h 84"/>
              <a:gd name="T40" fmla="*/ 119 w 137"/>
              <a:gd name="T41" fmla="*/ 29 h 84"/>
              <a:gd name="T42" fmla="*/ 117 w 137"/>
              <a:gd name="T43" fmla="*/ 29 h 84"/>
              <a:gd name="T44" fmla="*/ 105 w 137"/>
              <a:gd name="T45" fmla="*/ 19 h 84"/>
              <a:gd name="T46" fmla="*/ 100 w 137"/>
              <a:gd name="T47" fmla="*/ 19 h 84"/>
              <a:gd name="T48" fmla="*/ 78 w 137"/>
              <a:gd name="T49" fmla="*/ 0 h 84"/>
              <a:gd name="T50" fmla="*/ 77 w 137"/>
              <a:gd name="T5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84">
                <a:moveTo>
                  <a:pt x="77" y="0"/>
                </a:moveTo>
                <a:cubicBezTo>
                  <a:pt x="62" y="0"/>
                  <a:pt x="56" y="9"/>
                  <a:pt x="55" y="12"/>
                </a:cubicBezTo>
                <a:cubicBezTo>
                  <a:pt x="53" y="11"/>
                  <a:pt x="49" y="10"/>
                  <a:pt x="44" y="10"/>
                </a:cubicBezTo>
                <a:cubicBezTo>
                  <a:pt x="39" y="10"/>
                  <a:pt x="35" y="11"/>
                  <a:pt x="32" y="15"/>
                </a:cubicBezTo>
                <a:cubicBezTo>
                  <a:pt x="24" y="21"/>
                  <a:pt x="24" y="28"/>
                  <a:pt x="24" y="31"/>
                </a:cubicBezTo>
                <a:cubicBezTo>
                  <a:pt x="24" y="31"/>
                  <a:pt x="23" y="31"/>
                  <a:pt x="22" y="31"/>
                </a:cubicBezTo>
                <a:cubicBezTo>
                  <a:pt x="17" y="31"/>
                  <a:pt x="9" y="32"/>
                  <a:pt x="4" y="39"/>
                </a:cubicBezTo>
                <a:cubicBezTo>
                  <a:pt x="1" y="44"/>
                  <a:pt x="0" y="51"/>
                  <a:pt x="3" y="57"/>
                </a:cubicBezTo>
                <a:cubicBezTo>
                  <a:pt x="6" y="62"/>
                  <a:pt x="11" y="66"/>
                  <a:pt x="16" y="66"/>
                </a:cubicBezTo>
                <a:cubicBezTo>
                  <a:pt x="17" y="68"/>
                  <a:pt x="20" y="72"/>
                  <a:pt x="28" y="72"/>
                </a:cubicBezTo>
                <a:cubicBezTo>
                  <a:pt x="30" y="72"/>
                  <a:pt x="32" y="72"/>
                  <a:pt x="34" y="71"/>
                </a:cubicBezTo>
                <a:cubicBezTo>
                  <a:pt x="35" y="74"/>
                  <a:pt x="41" y="84"/>
                  <a:pt x="54" y="84"/>
                </a:cubicBezTo>
                <a:cubicBezTo>
                  <a:pt x="55" y="84"/>
                  <a:pt x="56" y="83"/>
                  <a:pt x="58" y="83"/>
                </a:cubicBezTo>
                <a:cubicBezTo>
                  <a:pt x="71" y="81"/>
                  <a:pt x="75" y="76"/>
                  <a:pt x="76" y="73"/>
                </a:cubicBezTo>
                <a:cubicBezTo>
                  <a:pt x="78" y="75"/>
                  <a:pt x="83" y="80"/>
                  <a:pt x="91" y="80"/>
                </a:cubicBezTo>
                <a:cubicBezTo>
                  <a:pt x="92" y="80"/>
                  <a:pt x="93" y="80"/>
                  <a:pt x="94" y="79"/>
                </a:cubicBezTo>
                <a:cubicBezTo>
                  <a:pt x="104" y="78"/>
                  <a:pt x="106" y="70"/>
                  <a:pt x="107" y="67"/>
                </a:cubicBezTo>
                <a:cubicBezTo>
                  <a:pt x="108" y="68"/>
                  <a:pt x="111" y="68"/>
                  <a:pt x="114" y="68"/>
                </a:cubicBezTo>
                <a:cubicBezTo>
                  <a:pt x="120" y="68"/>
                  <a:pt x="128" y="66"/>
                  <a:pt x="133" y="58"/>
                </a:cubicBezTo>
                <a:cubicBezTo>
                  <a:pt x="137" y="51"/>
                  <a:pt x="137" y="44"/>
                  <a:pt x="133" y="37"/>
                </a:cubicBezTo>
                <a:cubicBezTo>
                  <a:pt x="130" y="32"/>
                  <a:pt x="124" y="29"/>
                  <a:pt x="119" y="29"/>
                </a:cubicBezTo>
                <a:cubicBezTo>
                  <a:pt x="119" y="29"/>
                  <a:pt x="118" y="29"/>
                  <a:pt x="117" y="29"/>
                </a:cubicBezTo>
                <a:cubicBezTo>
                  <a:pt x="117" y="26"/>
                  <a:pt x="114" y="19"/>
                  <a:pt x="105" y="19"/>
                </a:cubicBezTo>
                <a:cubicBezTo>
                  <a:pt x="103" y="19"/>
                  <a:pt x="102" y="19"/>
                  <a:pt x="100" y="19"/>
                </a:cubicBezTo>
                <a:cubicBezTo>
                  <a:pt x="100" y="15"/>
                  <a:pt x="96" y="1"/>
                  <a:pt x="78" y="0"/>
                </a:cubicBezTo>
                <a:cubicBezTo>
                  <a:pt x="77" y="0"/>
                  <a:pt x="77" y="0"/>
                  <a:pt x="77"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5" name="Freeform 8"/>
          <p:cNvSpPr>
            <a:spLocks/>
          </p:cNvSpPr>
          <p:nvPr/>
        </p:nvSpPr>
        <p:spPr bwMode="auto">
          <a:xfrm>
            <a:off x="3828421" y="1000125"/>
            <a:ext cx="404813" cy="247650"/>
          </a:xfrm>
          <a:custGeom>
            <a:avLst/>
            <a:gdLst>
              <a:gd name="T0" fmla="*/ 73 w 164"/>
              <a:gd name="T1" fmla="*/ 0 h 100"/>
              <a:gd name="T2" fmla="*/ 71 w 164"/>
              <a:gd name="T3" fmla="*/ 0 h 100"/>
              <a:gd name="T4" fmla="*/ 44 w 164"/>
              <a:gd name="T5" fmla="*/ 23 h 100"/>
              <a:gd name="T6" fmla="*/ 39 w 164"/>
              <a:gd name="T7" fmla="*/ 22 h 100"/>
              <a:gd name="T8" fmla="*/ 23 w 164"/>
              <a:gd name="T9" fmla="*/ 34 h 100"/>
              <a:gd name="T10" fmla="*/ 21 w 164"/>
              <a:gd name="T11" fmla="*/ 34 h 100"/>
              <a:gd name="T12" fmla="*/ 5 w 164"/>
              <a:gd name="T13" fmla="*/ 44 h 100"/>
              <a:gd name="T14" fmla="*/ 4 w 164"/>
              <a:gd name="T15" fmla="*/ 69 h 100"/>
              <a:gd name="T16" fmla="*/ 27 w 164"/>
              <a:gd name="T17" fmla="*/ 81 h 100"/>
              <a:gd name="T18" fmla="*/ 36 w 164"/>
              <a:gd name="T19" fmla="*/ 80 h 100"/>
              <a:gd name="T20" fmla="*/ 51 w 164"/>
              <a:gd name="T21" fmla="*/ 95 h 100"/>
              <a:gd name="T22" fmla="*/ 55 w 164"/>
              <a:gd name="T23" fmla="*/ 95 h 100"/>
              <a:gd name="T24" fmla="*/ 73 w 164"/>
              <a:gd name="T25" fmla="*/ 87 h 100"/>
              <a:gd name="T26" fmla="*/ 95 w 164"/>
              <a:gd name="T27" fmla="*/ 99 h 100"/>
              <a:gd name="T28" fmla="*/ 100 w 164"/>
              <a:gd name="T29" fmla="*/ 100 h 100"/>
              <a:gd name="T30" fmla="*/ 124 w 164"/>
              <a:gd name="T31" fmla="*/ 85 h 100"/>
              <a:gd name="T32" fmla="*/ 131 w 164"/>
              <a:gd name="T33" fmla="*/ 86 h 100"/>
              <a:gd name="T34" fmla="*/ 145 w 164"/>
              <a:gd name="T35" fmla="*/ 79 h 100"/>
              <a:gd name="T36" fmla="*/ 160 w 164"/>
              <a:gd name="T37" fmla="*/ 68 h 100"/>
              <a:gd name="T38" fmla="*/ 160 w 164"/>
              <a:gd name="T39" fmla="*/ 46 h 100"/>
              <a:gd name="T40" fmla="*/ 138 w 164"/>
              <a:gd name="T41" fmla="*/ 37 h 100"/>
              <a:gd name="T42" fmla="*/ 135 w 164"/>
              <a:gd name="T43" fmla="*/ 37 h 100"/>
              <a:gd name="T44" fmla="*/ 126 w 164"/>
              <a:gd name="T45" fmla="*/ 17 h 100"/>
              <a:gd name="T46" fmla="*/ 111 w 164"/>
              <a:gd name="T47" fmla="*/ 11 h 100"/>
              <a:gd name="T48" fmla="*/ 99 w 164"/>
              <a:gd name="T49" fmla="*/ 14 h 100"/>
              <a:gd name="T50" fmla="*/ 73 w 164"/>
              <a:gd name="T5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100">
                <a:moveTo>
                  <a:pt x="73" y="0"/>
                </a:moveTo>
                <a:cubicBezTo>
                  <a:pt x="72" y="0"/>
                  <a:pt x="71" y="0"/>
                  <a:pt x="71" y="0"/>
                </a:cubicBezTo>
                <a:cubicBezTo>
                  <a:pt x="49" y="1"/>
                  <a:pt x="45" y="18"/>
                  <a:pt x="44" y="23"/>
                </a:cubicBezTo>
                <a:cubicBezTo>
                  <a:pt x="42" y="22"/>
                  <a:pt x="40" y="22"/>
                  <a:pt x="39" y="22"/>
                </a:cubicBezTo>
                <a:cubicBezTo>
                  <a:pt x="28" y="22"/>
                  <a:pt x="24" y="31"/>
                  <a:pt x="23" y="34"/>
                </a:cubicBezTo>
                <a:cubicBezTo>
                  <a:pt x="23" y="34"/>
                  <a:pt x="22" y="34"/>
                  <a:pt x="21" y="34"/>
                </a:cubicBezTo>
                <a:cubicBezTo>
                  <a:pt x="15" y="34"/>
                  <a:pt x="9" y="38"/>
                  <a:pt x="5" y="44"/>
                </a:cubicBezTo>
                <a:cubicBezTo>
                  <a:pt x="0" y="52"/>
                  <a:pt x="0" y="61"/>
                  <a:pt x="4" y="69"/>
                </a:cubicBezTo>
                <a:cubicBezTo>
                  <a:pt x="10" y="79"/>
                  <a:pt x="20" y="81"/>
                  <a:pt x="27" y="81"/>
                </a:cubicBezTo>
                <a:cubicBezTo>
                  <a:pt x="31" y="81"/>
                  <a:pt x="34" y="81"/>
                  <a:pt x="36" y="80"/>
                </a:cubicBezTo>
                <a:cubicBezTo>
                  <a:pt x="37" y="84"/>
                  <a:pt x="39" y="93"/>
                  <a:pt x="51" y="95"/>
                </a:cubicBezTo>
                <a:cubicBezTo>
                  <a:pt x="53" y="95"/>
                  <a:pt x="54" y="95"/>
                  <a:pt x="55" y="95"/>
                </a:cubicBezTo>
                <a:cubicBezTo>
                  <a:pt x="64" y="95"/>
                  <a:pt x="70" y="90"/>
                  <a:pt x="73" y="87"/>
                </a:cubicBezTo>
                <a:cubicBezTo>
                  <a:pt x="74" y="91"/>
                  <a:pt x="79" y="97"/>
                  <a:pt x="95" y="99"/>
                </a:cubicBezTo>
                <a:cubicBezTo>
                  <a:pt x="97" y="100"/>
                  <a:pt x="98" y="100"/>
                  <a:pt x="100" y="100"/>
                </a:cubicBezTo>
                <a:cubicBezTo>
                  <a:pt x="116" y="100"/>
                  <a:pt x="122" y="89"/>
                  <a:pt x="124" y="85"/>
                </a:cubicBezTo>
                <a:cubicBezTo>
                  <a:pt x="127" y="86"/>
                  <a:pt x="129" y="86"/>
                  <a:pt x="131" y="86"/>
                </a:cubicBezTo>
                <a:cubicBezTo>
                  <a:pt x="140" y="86"/>
                  <a:pt x="144" y="81"/>
                  <a:pt x="145" y="79"/>
                </a:cubicBezTo>
                <a:cubicBezTo>
                  <a:pt x="151" y="79"/>
                  <a:pt x="157" y="75"/>
                  <a:pt x="160" y="68"/>
                </a:cubicBezTo>
                <a:cubicBezTo>
                  <a:pt x="164" y="60"/>
                  <a:pt x="164" y="52"/>
                  <a:pt x="160" y="46"/>
                </a:cubicBezTo>
                <a:cubicBezTo>
                  <a:pt x="153" y="38"/>
                  <a:pt x="144" y="37"/>
                  <a:pt x="138" y="37"/>
                </a:cubicBezTo>
                <a:cubicBezTo>
                  <a:pt x="137" y="37"/>
                  <a:pt x="136" y="37"/>
                  <a:pt x="135" y="37"/>
                </a:cubicBezTo>
                <a:cubicBezTo>
                  <a:pt x="136" y="33"/>
                  <a:pt x="136" y="25"/>
                  <a:pt x="126" y="17"/>
                </a:cubicBezTo>
                <a:cubicBezTo>
                  <a:pt x="122" y="13"/>
                  <a:pt x="117" y="11"/>
                  <a:pt x="111" y="11"/>
                </a:cubicBezTo>
                <a:cubicBezTo>
                  <a:pt x="106" y="11"/>
                  <a:pt x="101" y="13"/>
                  <a:pt x="99" y="14"/>
                </a:cubicBezTo>
                <a:cubicBezTo>
                  <a:pt x="97" y="10"/>
                  <a:pt x="90" y="0"/>
                  <a:pt x="7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6" name="Freeform 9"/>
          <p:cNvSpPr>
            <a:spLocks/>
          </p:cNvSpPr>
          <p:nvPr/>
        </p:nvSpPr>
        <p:spPr bwMode="auto">
          <a:xfrm>
            <a:off x="7100258" y="945669"/>
            <a:ext cx="1577975" cy="960437"/>
          </a:xfrm>
          <a:custGeom>
            <a:avLst/>
            <a:gdLst>
              <a:gd name="T0" fmla="*/ 282 w 639"/>
              <a:gd name="T1" fmla="*/ 0 h 389"/>
              <a:gd name="T2" fmla="*/ 276 w 639"/>
              <a:gd name="T3" fmla="*/ 0 h 389"/>
              <a:gd name="T4" fmla="*/ 170 w 639"/>
              <a:gd name="T5" fmla="*/ 89 h 389"/>
              <a:gd name="T6" fmla="*/ 151 w 639"/>
              <a:gd name="T7" fmla="*/ 87 h 389"/>
              <a:gd name="T8" fmla="*/ 90 w 639"/>
              <a:gd name="T9" fmla="*/ 132 h 389"/>
              <a:gd name="T10" fmla="*/ 83 w 639"/>
              <a:gd name="T11" fmla="*/ 131 h 389"/>
              <a:gd name="T12" fmla="*/ 19 w 639"/>
              <a:gd name="T13" fmla="*/ 173 h 389"/>
              <a:gd name="T14" fmla="*/ 16 w 639"/>
              <a:gd name="T15" fmla="*/ 268 h 389"/>
              <a:gd name="T16" fmla="*/ 105 w 639"/>
              <a:gd name="T17" fmla="*/ 317 h 389"/>
              <a:gd name="T18" fmla="*/ 105 w 639"/>
              <a:gd name="T19" fmla="*/ 317 h 389"/>
              <a:gd name="T20" fmla="*/ 139 w 639"/>
              <a:gd name="T21" fmla="*/ 313 h 389"/>
              <a:gd name="T22" fmla="*/ 199 w 639"/>
              <a:gd name="T23" fmla="*/ 370 h 389"/>
              <a:gd name="T24" fmla="*/ 215 w 639"/>
              <a:gd name="T25" fmla="*/ 371 h 389"/>
              <a:gd name="T26" fmla="*/ 283 w 639"/>
              <a:gd name="T27" fmla="*/ 338 h 389"/>
              <a:gd name="T28" fmla="*/ 369 w 639"/>
              <a:gd name="T29" fmla="*/ 388 h 389"/>
              <a:gd name="T30" fmla="*/ 390 w 639"/>
              <a:gd name="T31" fmla="*/ 389 h 389"/>
              <a:gd name="T32" fmla="*/ 483 w 639"/>
              <a:gd name="T33" fmla="*/ 332 h 389"/>
              <a:gd name="T34" fmla="*/ 511 w 639"/>
              <a:gd name="T35" fmla="*/ 336 h 389"/>
              <a:gd name="T36" fmla="*/ 565 w 639"/>
              <a:gd name="T37" fmla="*/ 307 h 389"/>
              <a:gd name="T38" fmla="*/ 625 w 639"/>
              <a:gd name="T39" fmla="*/ 264 h 389"/>
              <a:gd name="T40" fmla="*/ 621 w 639"/>
              <a:gd name="T41" fmla="*/ 180 h 389"/>
              <a:gd name="T42" fmla="*/ 538 w 639"/>
              <a:gd name="T43" fmla="*/ 144 h 389"/>
              <a:gd name="T44" fmla="*/ 526 w 639"/>
              <a:gd name="T45" fmla="*/ 144 h 389"/>
              <a:gd name="T46" fmla="*/ 492 w 639"/>
              <a:gd name="T47" fmla="*/ 66 h 389"/>
              <a:gd name="T48" fmla="*/ 433 w 639"/>
              <a:gd name="T49" fmla="*/ 44 h 389"/>
              <a:gd name="T50" fmla="*/ 385 w 639"/>
              <a:gd name="T51" fmla="*/ 53 h 389"/>
              <a:gd name="T52" fmla="*/ 282 w 639"/>
              <a:gd name="T53" fmla="*/ 0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9" h="389">
                <a:moveTo>
                  <a:pt x="282" y="0"/>
                </a:moveTo>
                <a:cubicBezTo>
                  <a:pt x="280" y="0"/>
                  <a:pt x="278" y="0"/>
                  <a:pt x="276" y="0"/>
                </a:cubicBezTo>
                <a:cubicBezTo>
                  <a:pt x="192" y="2"/>
                  <a:pt x="174" y="69"/>
                  <a:pt x="170" y="89"/>
                </a:cubicBezTo>
                <a:cubicBezTo>
                  <a:pt x="163" y="87"/>
                  <a:pt x="157" y="87"/>
                  <a:pt x="151" y="87"/>
                </a:cubicBezTo>
                <a:cubicBezTo>
                  <a:pt x="108" y="87"/>
                  <a:pt x="94" y="120"/>
                  <a:pt x="90" y="132"/>
                </a:cubicBezTo>
                <a:cubicBezTo>
                  <a:pt x="88" y="131"/>
                  <a:pt x="85" y="131"/>
                  <a:pt x="83" y="131"/>
                </a:cubicBezTo>
                <a:cubicBezTo>
                  <a:pt x="58" y="131"/>
                  <a:pt x="34" y="147"/>
                  <a:pt x="19" y="173"/>
                </a:cubicBezTo>
                <a:cubicBezTo>
                  <a:pt x="1" y="203"/>
                  <a:pt x="0" y="238"/>
                  <a:pt x="16" y="268"/>
                </a:cubicBezTo>
                <a:cubicBezTo>
                  <a:pt x="39" y="308"/>
                  <a:pt x="77" y="317"/>
                  <a:pt x="105" y="317"/>
                </a:cubicBezTo>
                <a:cubicBezTo>
                  <a:pt x="105" y="317"/>
                  <a:pt x="105" y="317"/>
                  <a:pt x="105" y="317"/>
                </a:cubicBezTo>
                <a:cubicBezTo>
                  <a:pt x="120" y="317"/>
                  <a:pt x="133" y="314"/>
                  <a:pt x="139" y="313"/>
                </a:cubicBezTo>
                <a:cubicBezTo>
                  <a:pt x="142" y="327"/>
                  <a:pt x="152" y="361"/>
                  <a:pt x="199" y="370"/>
                </a:cubicBezTo>
                <a:cubicBezTo>
                  <a:pt x="204" y="371"/>
                  <a:pt x="210" y="371"/>
                  <a:pt x="215" y="371"/>
                </a:cubicBezTo>
                <a:cubicBezTo>
                  <a:pt x="250" y="371"/>
                  <a:pt x="273" y="350"/>
                  <a:pt x="283" y="338"/>
                </a:cubicBezTo>
                <a:cubicBezTo>
                  <a:pt x="289" y="353"/>
                  <a:pt x="307" y="378"/>
                  <a:pt x="369" y="388"/>
                </a:cubicBezTo>
                <a:cubicBezTo>
                  <a:pt x="376" y="389"/>
                  <a:pt x="383" y="389"/>
                  <a:pt x="390" y="389"/>
                </a:cubicBezTo>
                <a:cubicBezTo>
                  <a:pt x="450" y="389"/>
                  <a:pt x="476" y="346"/>
                  <a:pt x="483" y="332"/>
                </a:cubicBezTo>
                <a:cubicBezTo>
                  <a:pt x="493" y="335"/>
                  <a:pt x="502" y="336"/>
                  <a:pt x="511" y="336"/>
                </a:cubicBezTo>
                <a:cubicBezTo>
                  <a:pt x="545" y="336"/>
                  <a:pt x="560" y="315"/>
                  <a:pt x="565" y="307"/>
                </a:cubicBezTo>
                <a:cubicBezTo>
                  <a:pt x="589" y="307"/>
                  <a:pt x="611" y="290"/>
                  <a:pt x="625" y="264"/>
                </a:cubicBezTo>
                <a:cubicBezTo>
                  <a:pt x="639" y="234"/>
                  <a:pt x="638" y="202"/>
                  <a:pt x="621" y="180"/>
                </a:cubicBezTo>
                <a:cubicBezTo>
                  <a:pt x="598" y="148"/>
                  <a:pt x="559" y="144"/>
                  <a:pt x="538" y="144"/>
                </a:cubicBezTo>
                <a:cubicBezTo>
                  <a:pt x="534" y="144"/>
                  <a:pt x="530" y="144"/>
                  <a:pt x="526" y="144"/>
                </a:cubicBezTo>
                <a:cubicBezTo>
                  <a:pt x="528" y="130"/>
                  <a:pt x="528" y="98"/>
                  <a:pt x="492" y="66"/>
                </a:cubicBezTo>
                <a:cubicBezTo>
                  <a:pt x="476" y="51"/>
                  <a:pt x="456" y="44"/>
                  <a:pt x="433" y="44"/>
                </a:cubicBezTo>
                <a:cubicBezTo>
                  <a:pt x="411" y="44"/>
                  <a:pt x="393" y="50"/>
                  <a:pt x="385" y="53"/>
                </a:cubicBezTo>
                <a:cubicBezTo>
                  <a:pt x="378" y="40"/>
                  <a:pt x="351" y="0"/>
                  <a:pt x="282" y="0"/>
                </a:cubicBezTo>
              </a:path>
            </a:pathLst>
          </a:custGeom>
          <a:solidFill>
            <a:schemeClr val="bg1">
              <a:alpha val="8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7" name="Freeform 10"/>
          <p:cNvSpPr>
            <a:spLocks/>
          </p:cNvSpPr>
          <p:nvPr/>
        </p:nvSpPr>
        <p:spPr bwMode="auto">
          <a:xfrm>
            <a:off x="3334708" y="977900"/>
            <a:ext cx="122238" cy="109537"/>
          </a:xfrm>
          <a:custGeom>
            <a:avLst/>
            <a:gdLst>
              <a:gd name="T0" fmla="*/ 25 w 50"/>
              <a:gd name="T1" fmla="*/ 0 h 44"/>
              <a:gd name="T2" fmla="*/ 5 w 50"/>
              <a:gd name="T3" fmla="*/ 13 h 44"/>
              <a:gd name="T4" fmla="*/ 16 w 50"/>
              <a:gd name="T5" fmla="*/ 42 h 44"/>
              <a:gd name="T6" fmla="*/ 25 w 50"/>
              <a:gd name="T7" fmla="*/ 44 h 44"/>
              <a:gd name="T8" fmla="*/ 45 w 50"/>
              <a:gd name="T9" fmla="*/ 32 h 44"/>
              <a:gd name="T10" fmla="*/ 34 w 50"/>
              <a:gd name="T11" fmla="*/ 2 h 44"/>
              <a:gd name="T12" fmla="*/ 25 w 50"/>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50" h="44">
                <a:moveTo>
                  <a:pt x="25" y="0"/>
                </a:moveTo>
                <a:cubicBezTo>
                  <a:pt x="17" y="0"/>
                  <a:pt x="9" y="5"/>
                  <a:pt x="5" y="13"/>
                </a:cubicBezTo>
                <a:cubicBezTo>
                  <a:pt x="0" y="24"/>
                  <a:pt x="5" y="37"/>
                  <a:pt x="16" y="42"/>
                </a:cubicBezTo>
                <a:cubicBezTo>
                  <a:pt x="19" y="44"/>
                  <a:pt x="22" y="44"/>
                  <a:pt x="25" y="44"/>
                </a:cubicBezTo>
                <a:cubicBezTo>
                  <a:pt x="33" y="44"/>
                  <a:pt x="41" y="40"/>
                  <a:pt x="45" y="32"/>
                </a:cubicBezTo>
                <a:cubicBezTo>
                  <a:pt x="50" y="21"/>
                  <a:pt x="45" y="7"/>
                  <a:pt x="34" y="2"/>
                </a:cubicBezTo>
                <a:cubicBezTo>
                  <a:pt x="31" y="1"/>
                  <a:pt x="28" y="0"/>
                  <a:pt x="2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8" name="Freeform 11"/>
          <p:cNvSpPr>
            <a:spLocks/>
          </p:cNvSpPr>
          <p:nvPr/>
        </p:nvSpPr>
        <p:spPr bwMode="auto">
          <a:xfrm>
            <a:off x="3523621" y="1111250"/>
            <a:ext cx="193675" cy="171450"/>
          </a:xfrm>
          <a:custGeom>
            <a:avLst/>
            <a:gdLst>
              <a:gd name="T0" fmla="*/ 39 w 78"/>
              <a:gd name="T1" fmla="*/ 0 h 69"/>
              <a:gd name="T2" fmla="*/ 8 w 78"/>
              <a:gd name="T3" fmla="*/ 20 h 69"/>
              <a:gd name="T4" fmla="*/ 24 w 78"/>
              <a:gd name="T5" fmla="*/ 66 h 69"/>
              <a:gd name="T6" fmla="*/ 39 w 78"/>
              <a:gd name="T7" fmla="*/ 69 h 69"/>
              <a:gd name="T8" fmla="*/ 70 w 78"/>
              <a:gd name="T9" fmla="*/ 49 h 69"/>
              <a:gd name="T10" fmla="*/ 53 w 78"/>
              <a:gd name="T11" fmla="*/ 3 h 69"/>
              <a:gd name="T12" fmla="*/ 39 w 78"/>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78" h="69">
                <a:moveTo>
                  <a:pt x="39" y="0"/>
                </a:moveTo>
                <a:cubicBezTo>
                  <a:pt x="26" y="0"/>
                  <a:pt x="13" y="7"/>
                  <a:pt x="8" y="20"/>
                </a:cubicBezTo>
                <a:cubicBezTo>
                  <a:pt x="0" y="37"/>
                  <a:pt x="7" y="58"/>
                  <a:pt x="24" y="66"/>
                </a:cubicBezTo>
                <a:cubicBezTo>
                  <a:pt x="29" y="68"/>
                  <a:pt x="34" y="69"/>
                  <a:pt x="39" y="69"/>
                </a:cubicBezTo>
                <a:cubicBezTo>
                  <a:pt x="52" y="69"/>
                  <a:pt x="64" y="61"/>
                  <a:pt x="70" y="49"/>
                </a:cubicBezTo>
                <a:cubicBezTo>
                  <a:pt x="78" y="32"/>
                  <a:pt x="71" y="11"/>
                  <a:pt x="53" y="3"/>
                </a:cubicBezTo>
                <a:cubicBezTo>
                  <a:pt x="49" y="1"/>
                  <a:pt x="44" y="0"/>
                  <a:pt x="39"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69" name="Freeform 12"/>
          <p:cNvSpPr>
            <a:spLocks/>
          </p:cNvSpPr>
          <p:nvPr/>
        </p:nvSpPr>
        <p:spPr bwMode="auto">
          <a:xfrm>
            <a:off x="2766383" y="3327400"/>
            <a:ext cx="123825" cy="111125"/>
          </a:xfrm>
          <a:custGeom>
            <a:avLst/>
            <a:gdLst>
              <a:gd name="T0" fmla="*/ 25 w 50"/>
              <a:gd name="T1" fmla="*/ 0 h 45"/>
              <a:gd name="T2" fmla="*/ 15 w 50"/>
              <a:gd name="T3" fmla="*/ 3 h 45"/>
              <a:gd name="T4" fmla="*/ 5 w 50"/>
              <a:gd name="T5" fmla="*/ 32 h 45"/>
              <a:gd name="T6" fmla="*/ 25 w 50"/>
              <a:gd name="T7" fmla="*/ 45 h 45"/>
              <a:gd name="T8" fmla="*/ 35 w 50"/>
              <a:gd name="T9" fmla="*/ 42 h 45"/>
              <a:gd name="T10" fmla="*/ 45 w 50"/>
              <a:gd name="T11" fmla="*/ 13 h 45"/>
              <a:gd name="T12" fmla="*/ 25 w 50"/>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50" h="45">
                <a:moveTo>
                  <a:pt x="25" y="0"/>
                </a:moveTo>
                <a:cubicBezTo>
                  <a:pt x="22" y="0"/>
                  <a:pt x="18" y="1"/>
                  <a:pt x="15" y="3"/>
                </a:cubicBezTo>
                <a:cubicBezTo>
                  <a:pt x="4" y="8"/>
                  <a:pt x="0" y="21"/>
                  <a:pt x="5" y="32"/>
                </a:cubicBezTo>
                <a:cubicBezTo>
                  <a:pt x="9" y="40"/>
                  <a:pt x="17" y="45"/>
                  <a:pt x="25" y="45"/>
                </a:cubicBezTo>
                <a:cubicBezTo>
                  <a:pt x="28" y="45"/>
                  <a:pt x="32" y="44"/>
                  <a:pt x="35" y="42"/>
                </a:cubicBezTo>
                <a:cubicBezTo>
                  <a:pt x="46" y="37"/>
                  <a:pt x="50" y="23"/>
                  <a:pt x="45" y="13"/>
                </a:cubicBezTo>
                <a:cubicBezTo>
                  <a:pt x="41" y="5"/>
                  <a:pt x="33" y="0"/>
                  <a:pt x="2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0" name="Freeform 13"/>
          <p:cNvSpPr>
            <a:spLocks/>
          </p:cNvSpPr>
          <p:nvPr/>
        </p:nvSpPr>
        <p:spPr bwMode="auto">
          <a:xfrm>
            <a:off x="2747333" y="3576638"/>
            <a:ext cx="82550" cy="71437"/>
          </a:xfrm>
          <a:custGeom>
            <a:avLst/>
            <a:gdLst>
              <a:gd name="T0" fmla="*/ 17 w 34"/>
              <a:gd name="T1" fmla="*/ 0 h 29"/>
              <a:gd name="T2" fmla="*/ 10 w 34"/>
              <a:gd name="T3" fmla="*/ 1 h 29"/>
              <a:gd name="T4" fmla="*/ 4 w 34"/>
              <a:gd name="T5" fmla="*/ 21 h 29"/>
              <a:gd name="T6" fmla="*/ 17 w 34"/>
              <a:gd name="T7" fmla="*/ 29 h 29"/>
              <a:gd name="T8" fmla="*/ 24 w 34"/>
              <a:gd name="T9" fmla="*/ 28 h 29"/>
              <a:gd name="T10" fmla="*/ 30 w 34"/>
              <a:gd name="T11" fmla="*/ 8 h 29"/>
              <a:gd name="T12" fmla="*/ 17 w 34"/>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4" h="29">
                <a:moveTo>
                  <a:pt x="17" y="0"/>
                </a:moveTo>
                <a:cubicBezTo>
                  <a:pt x="15" y="0"/>
                  <a:pt x="12" y="0"/>
                  <a:pt x="10" y="1"/>
                </a:cubicBezTo>
                <a:cubicBezTo>
                  <a:pt x="3" y="5"/>
                  <a:pt x="0" y="14"/>
                  <a:pt x="4" y="21"/>
                </a:cubicBezTo>
                <a:cubicBezTo>
                  <a:pt x="6" y="26"/>
                  <a:pt x="11" y="29"/>
                  <a:pt x="17" y="29"/>
                </a:cubicBezTo>
                <a:cubicBezTo>
                  <a:pt x="19" y="29"/>
                  <a:pt x="21" y="29"/>
                  <a:pt x="24" y="28"/>
                </a:cubicBezTo>
                <a:cubicBezTo>
                  <a:pt x="31" y="24"/>
                  <a:pt x="34" y="15"/>
                  <a:pt x="30" y="8"/>
                </a:cubicBezTo>
                <a:cubicBezTo>
                  <a:pt x="28" y="3"/>
                  <a:pt x="22" y="0"/>
                  <a:pt x="17"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1" name="Freeform 14"/>
          <p:cNvSpPr>
            <a:spLocks/>
          </p:cNvSpPr>
          <p:nvPr/>
        </p:nvSpPr>
        <p:spPr bwMode="auto">
          <a:xfrm>
            <a:off x="5939796" y="6151563"/>
            <a:ext cx="120650" cy="109537"/>
          </a:xfrm>
          <a:custGeom>
            <a:avLst/>
            <a:gdLst>
              <a:gd name="T0" fmla="*/ 24 w 49"/>
              <a:gd name="T1" fmla="*/ 0 h 44"/>
              <a:gd name="T2" fmla="*/ 8 w 49"/>
              <a:gd name="T3" fmla="*/ 7 h 44"/>
              <a:gd name="T4" fmla="*/ 9 w 49"/>
              <a:gd name="T5" fmla="*/ 38 h 44"/>
              <a:gd name="T6" fmla="*/ 24 w 49"/>
              <a:gd name="T7" fmla="*/ 44 h 44"/>
              <a:gd name="T8" fmla="*/ 40 w 49"/>
              <a:gd name="T9" fmla="*/ 37 h 44"/>
              <a:gd name="T10" fmla="*/ 39 w 49"/>
              <a:gd name="T11" fmla="*/ 6 h 44"/>
              <a:gd name="T12" fmla="*/ 24 w 49"/>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9" h="44">
                <a:moveTo>
                  <a:pt x="24" y="0"/>
                </a:moveTo>
                <a:cubicBezTo>
                  <a:pt x="18" y="0"/>
                  <a:pt x="12" y="2"/>
                  <a:pt x="8" y="7"/>
                </a:cubicBezTo>
                <a:cubicBezTo>
                  <a:pt x="0" y="16"/>
                  <a:pt x="0" y="30"/>
                  <a:pt x="9" y="38"/>
                </a:cubicBezTo>
                <a:cubicBezTo>
                  <a:pt x="13" y="42"/>
                  <a:pt x="19" y="44"/>
                  <a:pt x="24" y="44"/>
                </a:cubicBezTo>
                <a:cubicBezTo>
                  <a:pt x="30" y="44"/>
                  <a:pt x="36" y="42"/>
                  <a:pt x="40" y="37"/>
                </a:cubicBezTo>
                <a:cubicBezTo>
                  <a:pt x="49" y="28"/>
                  <a:pt x="48" y="14"/>
                  <a:pt x="39" y="6"/>
                </a:cubicBezTo>
                <a:cubicBezTo>
                  <a:pt x="35" y="2"/>
                  <a:pt x="30" y="0"/>
                  <a:pt x="24"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2" name="Freeform 15"/>
          <p:cNvSpPr>
            <a:spLocks/>
          </p:cNvSpPr>
          <p:nvPr/>
        </p:nvSpPr>
        <p:spPr bwMode="auto">
          <a:xfrm>
            <a:off x="5914396" y="5938838"/>
            <a:ext cx="80963" cy="74612"/>
          </a:xfrm>
          <a:custGeom>
            <a:avLst/>
            <a:gdLst>
              <a:gd name="T0" fmla="*/ 16 w 33"/>
              <a:gd name="T1" fmla="*/ 0 h 30"/>
              <a:gd name="T2" fmla="*/ 5 w 33"/>
              <a:gd name="T3" fmla="*/ 5 h 30"/>
              <a:gd name="T4" fmla="*/ 6 w 33"/>
              <a:gd name="T5" fmla="*/ 26 h 30"/>
              <a:gd name="T6" fmla="*/ 16 w 33"/>
              <a:gd name="T7" fmla="*/ 30 h 30"/>
              <a:gd name="T8" fmla="*/ 27 w 33"/>
              <a:gd name="T9" fmla="*/ 26 h 30"/>
              <a:gd name="T10" fmla="*/ 27 w 33"/>
              <a:gd name="T11" fmla="*/ 4 h 30"/>
              <a:gd name="T12" fmla="*/ 16 w 33"/>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3" h="30">
                <a:moveTo>
                  <a:pt x="16" y="0"/>
                </a:moveTo>
                <a:cubicBezTo>
                  <a:pt x="12" y="0"/>
                  <a:pt x="8" y="2"/>
                  <a:pt x="5" y="5"/>
                </a:cubicBezTo>
                <a:cubicBezTo>
                  <a:pt x="0" y="11"/>
                  <a:pt x="0" y="21"/>
                  <a:pt x="6" y="26"/>
                </a:cubicBezTo>
                <a:cubicBezTo>
                  <a:pt x="9" y="29"/>
                  <a:pt x="13" y="30"/>
                  <a:pt x="16" y="30"/>
                </a:cubicBezTo>
                <a:cubicBezTo>
                  <a:pt x="20" y="30"/>
                  <a:pt x="24" y="29"/>
                  <a:pt x="27" y="26"/>
                </a:cubicBezTo>
                <a:cubicBezTo>
                  <a:pt x="33" y="19"/>
                  <a:pt x="33" y="10"/>
                  <a:pt x="27" y="4"/>
                </a:cubicBezTo>
                <a:cubicBezTo>
                  <a:pt x="24" y="2"/>
                  <a:pt x="20" y="0"/>
                  <a:pt x="1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3" name="Freeform 16"/>
          <p:cNvSpPr>
            <a:spLocks/>
          </p:cNvSpPr>
          <p:nvPr/>
        </p:nvSpPr>
        <p:spPr bwMode="auto">
          <a:xfrm>
            <a:off x="6128708" y="5959475"/>
            <a:ext cx="188913" cy="168275"/>
          </a:xfrm>
          <a:custGeom>
            <a:avLst/>
            <a:gdLst>
              <a:gd name="T0" fmla="*/ 38 w 76"/>
              <a:gd name="T1" fmla="*/ 0 h 68"/>
              <a:gd name="T2" fmla="*/ 13 w 76"/>
              <a:gd name="T3" fmla="*/ 11 h 68"/>
              <a:gd name="T4" fmla="*/ 15 w 76"/>
              <a:gd name="T5" fmla="*/ 59 h 68"/>
              <a:gd name="T6" fmla="*/ 38 w 76"/>
              <a:gd name="T7" fmla="*/ 68 h 68"/>
              <a:gd name="T8" fmla="*/ 63 w 76"/>
              <a:gd name="T9" fmla="*/ 57 h 68"/>
              <a:gd name="T10" fmla="*/ 61 w 76"/>
              <a:gd name="T11" fmla="*/ 9 h 68"/>
              <a:gd name="T12" fmla="*/ 38 w 76"/>
              <a:gd name="T13" fmla="*/ 0 h 68"/>
            </a:gdLst>
            <a:ahLst/>
            <a:cxnLst>
              <a:cxn ang="0">
                <a:pos x="T0" y="T1"/>
              </a:cxn>
              <a:cxn ang="0">
                <a:pos x="T2" y="T3"/>
              </a:cxn>
              <a:cxn ang="0">
                <a:pos x="T4" y="T5"/>
              </a:cxn>
              <a:cxn ang="0">
                <a:pos x="T6" y="T7"/>
              </a:cxn>
              <a:cxn ang="0">
                <a:pos x="T8" y="T9"/>
              </a:cxn>
              <a:cxn ang="0">
                <a:pos x="T10" y="T11"/>
              </a:cxn>
              <a:cxn ang="0">
                <a:pos x="T12" y="T13"/>
              </a:cxn>
            </a:cxnLst>
            <a:rect l="0" t="0" r="r" b="b"/>
            <a:pathLst>
              <a:path w="76" h="68">
                <a:moveTo>
                  <a:pt x="38" y="0"/>
                </a:moveTo>
                <a:cubicBezTo>
                  <a:pt x="29" y="0"/>
                  <a:pt x="19" y="3"/>
                  <a:pt x="13" y="11"/>
                </a:cubicBezTo>
                <a:cubicBezTo>
                  <a:pt x="0" y="25"/>
                  <a:pt x="1" y="46"/>
                  <a:pt x="15" y="59"/>
                </a:cubicBezTo>
                <a:cubicBezTo>
                  <a:pt x="21" y="65"/>
                  <a:pt x="30" y="68"/>
                  <a:pt x="38" y="68"/>
                </a:cubicBezTo>
                <a:cubicBezTo>
                  <a:pt x="47" y="68"/>
                  <a:pt x="56" y="65"/>
                  <a:pt x="63" y="57"/>
                </a:cubicBezTo>
                <a:cubicBezTo>
                  <a:pt x="76" y="43"/>
                  <a:pt x="75" y="22"/>
                  <a:pt x="61" y="9"/>
                </a:cubicBezTo>
                <a:cubicBezTo>
                  <a:pt x="55" y="3"/>
                  <a:pt x="46" y="0"/>
                  <a:pt x="38"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4" name="Freeform 17"/>
          <p:cNvSpPr>
            <a:spLocks/>
          </p:cNvSpPr>
          <p:nvPr/>
        </p:nvSpPr>
        <p:spPr bwMode="auto">
          <a:xfrm>
            <a:off x="9076696" y="4497388"/>
            <a:ext cx="115888" cy="107950"/>
          </a:xfrm>
          <a:custGeom>
            <a:avLst/>
            <a:gdLst>
              <a:gd name="T0" fmla="*/ 23 w 47"/>
              <a:gd name="T1" fmla="*/ 0 h 44"/>
              <a:gd name="T2" fmla="*/ 1 w 47"/>
              <a:gd name="T3" fmla="*/ 19 h 44"/>
              <a:gd name="T4" fmla="*/ 21 w 47"/>
              <a:gd name="T5" fmla="*/ 44 h 44"/>
              <a:gd name="T6" fmla="*/ 23 w 47"/>
              <a:gd name="T7" fmla="*/ 44 h 44"/>
              <a:gd name="T8" fmla="*/ 45 w 47"/>
              <a:gd name="T9" fmla="*/ 25 h 44"/>
              <a:gd name="T10" fmla="*/ 26 w 47"/>
              <a:gd name="T11" fmla="*/ 0 h 44"/>
              <a:gd name="T12" fmla="*/ 23 w 47"/>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7" h="44">
                <a:moveTo>
                  <a:pt x="23" y="0"/>
                </a:moveTo>
                <a:cubicBezTo>
                  <a:pt x="12" y="0"/>
                  <a:pt x="3" y="8"/>
                  <a:pt x="1" y="19"/>
                </a:cubicBezTo>
                <a:cubicBezTo>
                  <a:pt x="0" y="32"/>
                  <a:pt x="8" y="43"/>
                  <a:pt x="21" y="44"/>
                </a:cubicBezTo>
                <a:cubicBezTo>
                  <a:pt x="21" y="44"/>
                  <a:pt x="22" y="44"/>
                  <a:pt x="23" y="44"/>
                </a:cubicBezTo>
                <a:cubicBezTo>
                  <a:pt x="34" y="44"/>
                  <a:pt x="44" y="36"/>
                  <a:pt x="45" y="25"/>
                </a:cubicBezTo>
                <a:cubicBezTo>
                  <a:pt x="47" y="13"/>
                  <a:pt x="38" y="2"/>
                  <a:pt x="26" y="0"/>
                </a:cubicBezTo>
                <a:cubicBezTo>
                  <a:pt x="25" y="0"/>
                  <a:pt x="24" y="0"/>
                  <a:pt x="2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5" name="Freeform 18"/>
          <p:cNvSpPr>
            <a:spLocks/>
          </p:cNvSpPr>
          <p:nvPr/>
        </p:nvSpPr>
        <p:spPr bwMode="auto">
          <a:xfrm>
            <a:off x="8927471" y="4354513"/>
            <a:ext cx="77788" cy="73025"/>
          </a:xfrm>
          <a:custGeom>
            <a:avLst/>
            <a:gdLst>
              <a:gd name="T0" fmla="*/ 16 w 32"/>
              <a:gd name="T1" fmla="*/ 0 h 30"/>
              <a:gd name="T2" fmla="*/ 1 w 32"/>
              <a:gd name="T3" fmla="*/ 13 h 30"/>
              <a:gd name="T4" fmla="*/ 14 w 32"/>
              <a:gd name="T5" fmla="*/ 30 h 30"/>
              <a:gd name="T6" fmla="*/ 16 w 32"/>
              <a:gd name="T7" fmla="*/ 30 h 30"/>
              <a:gd name="T8" fmla="*/ 31 w 32"/>
              <a:gd name="T9" fmla="*/ 17 h 30"/>
              <a:gd name="T10" fmla="*/ 18 w 32"/>
              <a:gd name="T11" fmla="*/ 0 h 30"/>
              <a:gd name="T12" fmla="*/ 16 w 32"/>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2" h="30">
                <a:moveTo>
                  <a:pt x="16" y="0"/>
                </a:moveTo>
                <a:cubicBezTo>
                  <a:pt x="9" y="0"/>
                  <a:pt x="2" y="6"/>
                  <a:pt x="1" y="13"/>
                </a:cubicBezTo>
                <a:cubicBezTo>
                  <a:pt x="0" y="21"/>
                  <a:pt x="6" y="29"/>
                  <a:pt x="14" y="30"/>
                </a:cubicBezTo>
                <a:cubicBezTo>
                  <a:pt x="15" y="30"/>
                  <a:pt x="16" y="30"/>
                  <a:pt x="16" y="30"/>
                </a:cubicBezTo>
                <a:cubicBezTo>
                  <a:pt x="24" y="30"/>
                  <a:pt x="30" y="24"/>
                  <a:pt x="31" y="17"/>
                </a:cubicBezTo>
                <a:cubicBezTo>
                  <a:pt x="32" y="9"/>
                  <a:pt x="26" y="1"/>
                  <a:pt x="18" y="0"/>
                </a:cubicBezTo>
                <a:cubicBezTo>
                  <a:pt x="17" y="0"/>
                  <a:pt x="17" y="0"/>
                  <a:pt x="1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6" name="Freeform 19"/>
          <p:cNvSpPr>
            <a:spLocks/>
          </p:cNvSpPr>
          <p:nvPr/>
        </p:nvSpPr>
        <p:spPr bwMode="auto">
          <a:xfrm>
            <a:off x="9133846" y="4203700"/>
            <a:ext cx="180975" cy="169862"/>
          </a:xfrm>
          <a:custGeom>
            <a:avLst/>
            <a:gdLst>
              <a:gd name="T0" fmla="*/ 36 w 73"/>
              <a:gd name="T1" fmla="*/ 0 h 69"/>
              <a:gd name="T2" fmla="*/ 2 w 73"/>
              <a:gd name="T3" fmla="*/ 30 h 69"/>
              <a:gd name="T4" fmla="*/ 32 w 73"/>
              <a:gd name="T5" fmla="*/ 69 h 69"/>
              <a:gd name="T6" fmla="*/ 36 w 73"/>
              <a:gd name="T7" fmla="*/ 69 h 69"/>
              <a:gd name="T8" fmla="*/ 70 w 73"/>
              <a:gd name="T9" fmla="*/ 39 h 69"/>
              <a:gd name="T10" fmla="*/ 41 w 73"/>
              <a:gd name="T11" fmla="*/ 1 h 69"/>
              <a:gd name="T12" fmla="*/ 36 w 73"/>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73" h="69">
                <a:moveTo>
                  <a:pt x="36" y="0"/>
                </a:moveTo>
                <a:cubicBezTo>
                  <a:pt x="19" y="0"/>
                  <a:pt x="4" y="13"/>
                  <a:pt x="2" y="30"/>
                </a:cubicBezTo>
                <a:cubicBezTo>
                  <a:pt x="0" y="49"/>
                  <a:pt x="13" y="67"/>
                  <a:pt x="32" y="69"/>
                </a:cubicBezTo>
                <a:cubicBezTo>
                  <a:pt x="33" y="69"/>
                  <a:pt x="35" y="69"/>
                  <a:pt x="36" y="69"/>
                </a:cubicBezTo>
                <a:cubicBezTo>
                  <a:pt x="53" y="69"/>
                  <a:pt x="68" y="57"/>
                  <a:pt x="70" y="39"/>
                </a:cubicBezTo>
                <a:cubicBezTo>
                  <a:pt x="73" y="20"/>
                  <a:pt x="59" y="3"/>
                  <a:pt x="41" y="1"/>
                </a:cubicBezTo>
                <a:cubicBezTo>
                  <a:pt x="39" y="1"/>
                  <a:pt x="38" y="0"/>
                  <a:pt x="36"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7" name="Freeform 20"/>
          <p:cNvSpPr>
            <a:spLocks/>
          </p:cNvSpPr>
          <p:nvPr/>
        </p:nvSpPr>
        <p:spPr bwMode="auto">
          <a:xfrm>
            <a:off x="5838196" y="736600"/>
            <a:ext cx="112713" cy="107950"/>
          </a:xfrm>
          <a:custGeom>
            <a:avLst/>
            <a:gdLst>
              <a:gd name="T0" fmla="*/ 23 w 46"/>
              <a:gd name="T1" fmla="*/ 0 h 44"/>
              <a:gd name="T2" fmla="*/ 21 w 46"/>
              <a:gd name="T3" fmla="*/ 0 h 44"/>
              <a:gd name="T4" fmla="*/ 1 w 46"/>
              <a:gd name="T5" fmla="*/ 25 h 44"/>
              <a:gd name="T6" fmla="*/ 23 w 46"/>
              <a:gd name="T7" fmla="*/ 44 h 44"/>
              <a:gd name="T8" fmla="*/ 25 w 46"/>
              <a:gd name="T9" fmla="*/ 44 h 44"/>
              <a:gd name="T10" fmla="*/ 45 w 46"/>
              <a:gd name="T11" fmla="*/ 20 h 44"/>
              <a:gd name="T12" fmla="*/ 23 w 46"/>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6" h="44">
                <a:moveTo>
                  <a:pt x="23" y="0"/>
                </a:moveTo>
                <a:cubicBezTo>
                  <a:pt x="22" y="0"/>
                  <a:pt x="21" y="0"/>
                  <a:pt x="21" y="0"/>
                </a:cubicBezTo>
                <a:cubicBezTo>
                  <a:pt x="8" y="2"/>
                  <a:pt x="0" y="13"/>
                  <a:pt x="1" y="25"/>
                </a:cubicBezTo>
                <a:cubicBezTo>
                  <a:pt x="2" y="36"/>
                  <a:pt x="12" y="44"/>
                  <a:pt x="23" y="44"/>
                </a:cubicBezTo>
                <a:cubicBezTo>
                  <a:pt x="24" y="44"/>
                  <a:pt x="25" y="44"/>
                  <a:pt x="25" y="44"/>
                </a:cubicBezTo>
                <a:cubicBezTo>
                  <a:pt x="38" y="43"/>
                  <a:pt x="46" y="32"/>
                  <a:pt x="45" y="20"/>
                </a:cubicBezTo>
                <a:cubicBezTo>
                  <a:pt x="44" y="9"/>
                  <a:pt x="34" y="0"/>
                  <a:pt x="23"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8" name="Freeform 21"/>
          <p:cNvSpPr>
            <a:spLocks/>
          </p:cNvSpPr>
          <p:nvPr/>
        </p:nvSpPr>
        <p:spPr bwMode="auto">
          <a:xfrm>
            <a:off x="5973133" y="554038"/>
            <a:ext cx="77788" cy="74612"/>
          </a:xfrm>
          <a:custGeom>
            <a:avLst/>
            <a:gdLst>
              <a:gd name="T0" fmla="*/ 15 w 31"/>
              <a:gd name="T1" fmla="*/ 0 h 30"/>
              <a:gd name="T2" fmla="*/ 14 w 31"/>
              <a:gd name="T3" fmla="*/ 0 h 30"/>
              <a:gd name="T4" fmla="*/ 1 w 31"/>
              <a:gd name="T5" fmla="*/ 16 h 30"/>
              <a:gd name="T6" fmla="*/ 15 w 31"/>
              <a:gd name="T7" fmla="*/ 30 h 30"/>
              <a:gd name="T8" fmla="*/ 17 w 31"/>
              <a:gd name="T9" fmla="*/ 29 h 30"/>
              <a:gd name="T10" fmla="*/ 30 w 31"/>
              <a:gd name="T11" fmla="*/ 13 h 30"/>
              <a:gd name="T12" fmla="*/ 15 w 3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15" y="0"/>
                </a:moveTo>
                <a:cubicBezTo>
                  <a:pt x="15" y="0"/>
                  <a:pt x="14" y="0"/>
                  <a:pt x="14" y="0"/>
                </a:cubicBezTo>
                <a:cubicBezTo>
                  <a:pt x="6" y="1"/>
                  <a:pt x="0" y="8"/>
                  <a:pt x="1" y="16"/>
                </a:cubicBezTo>
                <a:cubicBezTo>
                  <a:pt x="1" y="24"/>
                  <a:pt x="8" y="30"/>
                  <a:pt x="15" y="30"/>
                </a:cubicBezTo>
                <a:cubicBezTo>
                  <a:pt x="16" y="30"/>
                  <a:pt x="16" y="30"/>
                  <a:pt x="17" y="29"/>
                </a:cubicBezTo>
                <a:cubicBezTo>
                  <a:pt x="25" y="29"/>
                  <a:pt x="31" y="21"/>
                  <a:pt x="30" y="13"/>
                </a:cubicBezTo>
                <a:cubicBezTo>
                  <a:pt x="29" y="5"/>
                  <a:pt x="23" y="0"/>
                  <a:pt x="15" y="0"/>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79" name="Freeform 22"/>
          <p:cNvSpPr>
            <a:spLocks/>
          </p:cNvSpPr>
          <p:nvPr/>
        </p:nvSpPr>
        <p:spPr bwMode="auto">
          <a:xfrm>
            <a:off x="6082671" y="728663"/>
            <a:ext cx="177800" cy="171450"/>
          </a:xfrm>
          <a:custGeom>
            <a:avLst/>
            <a:gdLst>
              <a:gd name="T0" fmla="*/ 36 w 72"/>
              <a:gd name="T1" fmla="*/ 1 h 69"/>
              <a:gd name="T2" fmla="*/ 32 w 72"/>
              <a:gd name="T3" fmla="*/ 1 h 69"/>
              <a:gd name="T4" fmla="*/ 2 w 72"/>
              <a:gd name="T5" fmla="*/ 39 h 69"/>
              <a:gd name="T6" fmla="*/ 36 w 72"/>
              <a:gd name="T7" fmla="*/ 69 h 69"/>
              <a:gd name="T8" fmla="*/ 40 w 72"/>
              <a:gd name="T9" fmla="*/ 69 h 69"/>
              <a:gd name="T10" fmla="*/ 70 w 72"/>
              <a:gd name="T11" fmla="*/ 31 h 69"/>
              <a:gd name="T12" fmla="*/ 36 w 72"/>
              <a:gd name="T13" fmla="*/ 1 h 69"/>
            </a:gdLst>
            <a:ahLst/>
            <a:cxnLst>
              <a:cxn ang="0">
                <a:pos x="T0" y="T1"/>
              </a:cxn>
              <a:cxn ang="0">
                <a:pos x="T2" y="T3"/>
              </a:cxn>
              <a:cxn ang="0">
                <a:pos x="T4" y="T5"/>
              </a:cxn>
              <a:cxn ang="0">
                <a:pos x="T6" y="T7"/>
              </a:cxn>
              <a:cxn ang="0">
                <a:pos x="T8" y="T9"/>
              </a:cxn>
              <a:cxn ang="0">
                <a:pos x="T10" y="T11"/>
              </a:cxn>
              <a:cxn ang="0">
                <a:pos x="T12" y="T13"/>
              </a:cxn>
            </a:cxnLst>
            <a:rect l="0" t="0" r="r" b="b"/>
            <a:pathLst>
              <a:path w="72" h="69">
                <a:moveTo>
                  <a:pt x="36" y="1"/>
                </a:moveTo>
                <a:cubicBezTo>
                  <a:pt x="35" y="1"/>
                  <a:pt x="33" y="1"/>
                  <a:pt x="32" y="1"/>
                </a:cubicBezTo>
                <a:cubicBezTo>
                  <a:pt x="13" y="3"/>
                  <a:pt x="0" y="20"/>
                  <a:pt x="2" y="39"/>
                </a:cubicBezTo>
                <a:cubicBezTo>
                  <a:pt x="4" y="56"/>
                  <a:pt x="19" y="69"/>
                  <a:pt x="36" y="69"/>
                </a:cubicBezTo>
                <a:cubicBezTo>
                  <a:pt x="37" y="69"/>
                  <a:pt x="38" y="69"/>
                  <a:pt x="40" y="69"/>
                </a:cubicBezTo>
                <a:cubicBezTo>
                  <a:pt x="59" y="67"/>
                  <a:pt x="72" y="50"/>
                  <a:pt x="70" y="31"/>
                </a:cubicBezTo>
                <a:cubicBezTo>
                  <a:pt x="68" y="14"/>
                  <a:pt x="53" y="0"/>
                  <a:pt x="36" y="1"/>
                </a:cubicBezTo>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0" name="Freeform 23"/>
          <p:cNvSpPr>
            <a:spLocks/>
          </p:cNvSpPr>
          <p:nvPr/>
        </p:nvSpPr>
        <p:spPr bwMode="auto">
          <a:xfrm>
            <a:off x="7078033" y="2033588"/>
            <a:ext cx="2700338" cy="2454275"/>
          </a:xfrm>
          <a:custGeom>
            <a:avLst/>
            <a:gdLst>
              <a:gd name="T0" fmla="*/ 1048 w 1094"/>
              <a:gd name="T1" fmla="*/ 460 h 994"/>
              <a:gd name="T2" fmla="*/ 837 w 1094"/>
              <a:gd name="T3" fmla="*/ 368 h 994"/>
              <a:gd name="T4" fmla="*/ 806 w 1094"/>
              <a:gd name="T5" fmla="*/ 369 h 994"/>
              <a:gd name="T6" fmla="*/ 718 w 1094"/>
              <a:gd name="T7" fmla="*/ 169 h 994"/>
              <a:gd name="T8" fmla="*/ 567 w 1094"/>
              <a:gd name="T9" fmla="*/ 113 h 994"/>
              <a:gd name="T10" fmla="*/ 445 w 1094"/>
              <a:gd name="T11" fmla="*/ 138 h 994"/>
              <a:gd name="T12" fmla="*/ 183 w 1094"/>
              <a:gd name="T13" fmla="*/ 0 h 994"/>
              <a:gd name="T14" fmla="*/ 167 w 1094"/>
              <a:gd name="T15" fmla="*/ 1 h 994"/>
              <a:gd name="T16" fmla="*/ 0 w 1094"/>
              <a:gd name="T17" fmla="*/ 54 h 994"/>
              <a:gd name="T18" fmla="*/ 35 w 1094"/>
              <a:gd name="T19" fmla="*/ 154 h 994"/>
              <a:gd name="T20" fmla="*/ 93 w 1094"/>
              <a:gd name="T21" fmla="*/ 149 h 994"/>
              <a:gd name="T22" fmla="*/ 317 w 1094"/>
              <a:gd name="T23" fmla="*/ 308 h 994"/>
              <a:gd name="T24" fmla="*/ 335 w 1094"/>
              <a:gd name="T25" fmla="*/ 308 h 994"/>
              <a:gd name="T26" fmla="*/ 573 w 1094"/>
              <a:gd name="T27" fmla="*/ 460 h 994"/>
              <a:gd name="T28" fmla="*/ 581 w 1094"/>
              <a:gd name="T29" fmla="*/ 809 h 994"/>
              <a:gd name="T30" fmla="*/ 350 w 1094"/>
              <a:gd name="T31" fmla="*/ 979 h 994"/>
              <a:gd name="T32" fmla="*/ 406 w 1094"/>
              <a:gd name="T33" fmla="*/ 990 h 994"/>
              <a:gd name="T34" fmla="*/ 458 w 1094"/>
              <a:gd name="T35" fmla="*/ 994 h 994"/>
              <a:gd name="T36" fmla="*/ 696 w 1094"/>
              <a:gd name="T37" fmla="*/ 848 h 994"/>
              <a:gd name="T38" fmla="*/ 767 w 1094"/>
              <a:gd name="T39" fmla="*/ 860 h 994"/>
              <a:gd name="T40" fmla="*/ 904 w 1094"/>
              <a:gd name="T41" fmla="*/ 786 h 994"/>
              <a:gd name="T42" fmla="*/ 1056 w 1094"/>
              <a:gd name="T43" fmla="*/ 675 h 994"/>
              <a:gd name="T44" fmla="*/ 1048 w 1094"/>
              <a:gd name="T45" fmla="*/ 46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4" h="994">
                <a:moveTo>
                  <a:pt x="1048" y="460"/>
                </a:moveTo>
                <a:cubicBezTo>
                  <a:pt x="987" y="380"/>
                  <a:pt x="890" y="368"/>
                  <a:pt x="837" y="368"/>
                </a:cubicBezTo>
                <a:cubicBezTo>
                  <a:pt x="824" y="368"/>
                  <a:pt x="814" y="368"/>
                  <a:pt x="806" y="369"/>
                </a:cubicBezTo>
                <a:cubicBezTo>
                  <a:pt x="811" y="334"/>
                  <a:pt x="809" y="252"/>
                  <a:pt x="718" y="169"/>
                </a:cubicBezTo>
                <a:cubicBezTo>
                  <a:pt x="677" y="132"/>
                  <a:pt x="626" y="113"/>
                  <a:pt x="567" y="113"/>
                </a:cubicBezTo>
                <a:cubicBezTo>
                  <a:pt x="512" y="113"/>
                  <a:pt x="465" y="130"/>
                  <a:pt x="445" y="138"/>
                </a:cubicBezTo>
                <a:cubicBezTo>
                  <a:pt x="427" y="103"/>
                  <a:pt x="359" y="0"/>
                  <a:pt x="183" y="0"/>
                </a:cubicBezTo>
                <a:cubicBezTo>
                  <a:pt x="178" y="0"/>
                  <a:pt x="172" y="0"/>
                  <a:pt x="167" y="1"/>
                </a:cubicBezTo>
                <a:cubicBezTo>
                  <a:pt x="94" y="3"/>
                  <a:pt x="40" y="25"/>
                  <a:pt x="0" y="54"/>
                </a:cubicBezTo>
                <a:cubicBezTo>
                  <a:pt x="20" y="93"/>
                  <a:pt x="30" y="130"/>
                  <a:pt x="35" y="154"/>
                </a:cubicBezTo>
                <a:cubicBezTo>
                  <a:pt x="55" y="151"/>
                  <a:pt x="75" y="149"/>
                  <a:pt x="93" y="149"/>
                </a:cubicBezTo>
                <a:cubicBezTo>
                  <a:pt x="244" y="149"/>
                  <a:pt x="300" y="261"/>
                  <a:pt x="317" y="308"/>
                </a:cubicBezTo>
                <a:cubicBezTo>
                  <a:pt x="323" y="308"/>
                  <a:pt x="329" y="308"/>
                  <a:pt x="335" y="308"/>
                </a:cubicBezTo>
                <a:cubicBezTo>
                  <a:pt x="426" y="308"/>
                  <a:pt x="517" y="366"/>
                  <a:pt x="573" y="460"/>
                </a:cubicBezTo>
                <a:cubicBezTo>
                  <a:pt x="638" y="570"/>
                  <a:pt x="641" y="701"/>
                  <a:pt x="581" y="809"/>
                </a:cubicBezTo>
                <a:cubicBezTo>
                  <a:pt x="523" y="915"/>
                  <a:pt x="434" y="961"/>
                  <a:pt x="350" y="979"/>
                </a:cubicBezTo>
                <a:cubicBezTo>
                  <a:pt x="367" y="983"/>
                  <a:pt x="385" y="987"/>
                  <a:pt x="406" y="990"/>
                </a:cubicBezTo>
                <a:cubicBezTo>
                  <a:pt x="423" y="992"/>
                  <a:pt x="441" y="994"/>
                  <a:pt x="458" y="994"/>
                </a:cubicBezTo>
                <a:cubicBezTo>
                  <a:pt x="611" y="994"/>
                  <a:pt x="678" y="883"/>
                  <a:pt x="696" y="848"/>
                </a:cubicBezTo>
                <a:cubicBezTo>
                  <a:pt x="721" y="856"/>
                  <a:pt x="745" y="860"/>
                  <a:pt x="767" y="860"/>
                </a:cubicBezTo>
                <a:cubicBezTo>
                  <a:pt x="852" y="860"/>
                  <a:pt x="893" y="805"/>
                  <a:pt x="904" y="786"/>
                </a:cubicBezTo>
                <a:cubicBezTo>
                  <a:pt x="965" y="784"/>
                  <a:pt x="1023" y="742"/>
                  <a:pt x="1056" y="675"/>
                </a:cubicBezTo>
                <a:cubicBezTo>
                  <a:pt x="1094" y="599"/>
                  <a:pt x="1091" y="517"/>
                  <a:pt x="1048" y="46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1" name="Freeform 24"/>
          <p:cNvSpPr>
            <a:spLocks/>
          </p:cNvSpPr>
          <p:nvPr/>
        </p:nvSpPr>
        <p:spPr bwMode="auto">
          <a:xfrm>
            <a:off x="4012571" y="833438"/>
            <a:ext cx="2476500" cy="1300162"/>
          </a:xfrm>
          <a:custGeom>
            <a:avLst/>
            <a:gdLst>
              <a:gd name="T0" fmla="*/ 118 w 1003"/>
              <a:gd name="T1" fmla="*/ 487 h 527"/>
              <a:gd name="T2" fmla="*/ 168 w 1003"/>
              <a:gd name="T3" fmla="*/ 527 h 527"/>
              <a:gd name="T4" fmla="*/ 335 w 1003"/>
              <a:gd name="T5" fmla="*/ 484 h 527"/>
              <a:gd name="T6" fmla="*/ 500 w 1003"/>
              <a:gd name="T7" fmla="*/ 515 h 527"/>
              <a:gd name="T8" fmla="*/ 870 w 1003"/>
              <a:gd name="T9" fmla="*/ 327 h 527"/>
              <a:gd name="T10" fmla="*/ 892 w 1003"/>
              <a:gd name="T11" fmla="*/ 327 h 527"/>
              <a:gd name="T12" fmla="*/ 1003 w 1003"/>
              <a:gd name="T13" fmla="*/ 343 h 527"/>
              <a:gd name="T14" fmla="*/ 981 w 1003"/>
              <a:gd name="T15" fmla="*/ 273 h 527"/>
              <a:gd name="T16" fmla="*/ 880 w 1003"/>
              <a:gd name="T17" fmla="*/ 208 h 527"/>
              <a:gd name="T18" fmla="*/ 868 w 1003"/>
              <a:gd name="T19" fmla="*/ 209 h 527"/>
              <a:gd name="T20" fmla="*/ 772 w 1003"/>
              <a:gd name="T21" fmla="*/ 138 h 527"/>
              <a:gd name="T22" fmla="*/ 742 w 1003"/>
              <a:gd name="T23" fmla="*/ 141 h 527"/>
              <a:gd name="T24" fmla="*/ 574 w 1003"/>
              <a:gd name="T25" fmla="*/ 0 h 527"/>
              <a:gd name="T26" fmla="*/ 565 w 1003"/>
              <a:gd name="T27" fmla="*/ 0 h 527"/>
              <a:gd name="T28" fmla="*/ 402 w 1003"/>
              <a:gd name="T29" fmla="*/ 85 h 527"/>
              <a:gd name="T30" fmla="*/ 327 w 1003"/>
              <a:gd name="T31" fmla="*/ 70 h 527"/>
              <a:gd name="T32" fmla="*/ 233 w 1003"/>
              <a:gd name="T33" fmla="*/ 105 h 527"/>
              <a:gd name="T34" fmla="*/ 178 w 1003"/>
              <a:gd name="T35" fmla="*/ 228 h 527"/>
              <a:gd name="T36" fmla="*/ 160 w 1003"/>
              <a:gd name="T37" fmla="*/ 228 h 527"/>
              <a:gd name="T38" fmla="*/ 29 w 1003"/>
              <a:gd name="T39" fmla="*/ 285 h 527"/>
              <a:gd name="T40" fmla="*/ 23 w 1003"/>
              <a:gd name="T41" fmla="*/ 418 h 527"/>
              <a:gd name="T42" fmla="*/ 118 w 1003"/>
              <a:gd name="T43" fmla="*/ 487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03" h="527">
                <a:moveTo>
                  <a:pt x="118" y="487"/>
                </a:moveTo>
                <a:cubicBezTo>
                  <a:pt x="123" y="496"/>
                  <a:pt x="138" y="517"/>
                  <a:pt x="168" y="527"/>
                </a:cubicBezTo>
                <a:cubicBezTo>
                  <a:pt x="217" y="498"/>
                  <a:pt x="273" y="484"/>
                  <a:pt x="335" y="484"/>
                </a:cubicBezTo>
                <a:cubicBezTo>
                  <a:pt x="405" y="484"/>
                  <a:pt x="465" y="502"/>
                  <a:pt x="500" y="515"/>
                </a:cubicBezTo>
                <a:cubicBezTo>
                  <a:pt x="531" y="460"/>
                  <a:pt x="631" y="327"/>
                  <a:pt x="870" y="327"/>
                </a:cubicBezTo>
                <a:cubicBezTo>
                  <a:pt x="877" y="327"/>
                  <a:pt x="884" y="327"/>
                  <a:pt x="892" y="327"/>
                </a:cubicBezTo>
                <a:cubicBezTo>
                  <a:pt x="933" y="328"/>
                  <a:pt x="970" y="334"/>
                  <a:pt x="1003" y="343"/>
                </a:cubicBezTo>
                <a:cubicBezTo>
                  <a:pt x="1001" y="319"/>
                  <a:pt x="994" y="295"/>
                  <a:pt x="981" y="273"/>
                </a:cubicBezTo>
                <a:cubicBezTo>
                  <a:pt x="957" y="233"/>
                  <a:pt x="919" y="208"/>
                  <a:pt x="880" y="208"/>
                </a:cubicBezTo>
                <a:cubicBezTo>
                  <a:pt x="876" y="208"/>
                  <a:pt x="872" y="208"/>
                  <a:pt x="868" y="209"/>
                </a:cubicBezTo>
                <a:cubicBezTo>
                  <a:pt x="862" y="190"/>
                  <a:pt x="840" y="138"/>
                  <a:pt x="772" y="138"/>
                </a:cubicBezTo>
                <a:cubicBezTo>
                  <a:pt x="763" y="138"/>
                  <a:pt x="753" y="139"/>
                  <a:pt x="742" y="141"/>
                </a:cubicBezTo>
                <a:cubicBezTo>
                  <a:pt x="736" y="110"/>
                  <a:pt x="707" y="4"/>
                  <a:pt x="574" y="0"/>
                </a:cubicBezTo>
                <a:cubicBezTo>
                  <a:pt x="571" y="0"/>
                  <a:pt x="568" y="0"/>
                  <a:pt x="565" y="0"/>
                </a:cubicBezTo>
                <a:cubicBezTo>
                  <a:pt x="455" y="0"/>
                  <a:pt x="413" y="64"/>
                  <a:pt x="402" y="85"/>
                </a:cubicBezTo>
                <a:cubicBezTo>
                  <a:pt x="390" y="80"/>
                  <a:pt x="361" y="70"/>
                  <a:pt x="327" y="70"/>
                </a:cubicBezTo>
                <a:cubicBezTo>
                  <a:pt x="290" y="70"/>
                  <a:pt x="258" y="82"/>
                  <a:pt x="233" y="105"/>
                </a:cubicBezTo>
                <a:cubicBezTo>
                  <a:pt x="177" y="156"/>
                  <a:pt x="176" y="207"/>
                  <a:pt x="178" y="228"/>
                </a:cubicBezTo>
                <a:cubicBezTo>
                  <a:pt x="173" y="228"/>
                  <a:pt x="167" y="228"/>
                  <a:pt x="160" y="228"/>
                </a:cubicBezTo>
                <a:cubicBezTo>
                  <a:pt x="127" y="228"/>
                  <a:pt x="66" y="235"/>
                  <a:pt x="29" y="285"/>
                </a:cubicBezTo>
                <a:cubicBezTo>
                  <a:pt x="2" y="320"/>
                  <a:pt x="0" y="371"/>
                  <a:pt x="23" y="418"/>
                </a:cubicBezTo>
                <a:cubicBezTo>
                  <a:pt x="44" y="460"/>
                  <a:pt x="80" y="486"/>
                  <a:pt x="118" y="4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2" name="Freeform 25"/>
          <p:cNvSpPr>
            <a:spLocks/>
          </p:cNvSpPr>
          <p:nvPr/>
        </p:nvSpPr>
        <p:spPr bwMode="auto">
          <a:xfrm>
            <a:off x="2480633" y="1860550"/>
            <a:ext cx="1949450" cy="1423987"/>
          </a:xfrm>
          <a:custGeom>
            <a:avLst/>
            <a:gdLst>
              <a:gd name="T0" fmla="*/ 268 w 790"/>
              <a:gd name="T1" fmla="*/ 571 h 577"/>
              <a:gd name="T2" fmla="*/ 279 w 790"/>
              <a:gd name="T3" fmla="*/ 555 h 577"/>
              <a:gd name="T4" fmla="*/ 582 w 790"/>
              <a:gd name="T5" fmla="*/ 421 h 577"/>
              <a:gd name="T6" fmla="*/ 611 w 790"/>
              <a:gd name="T7" fmla="*/ 422 h 577"/>
              <a:gd name="T8" fmla="*/ 738 w 790"/>
              <a:gd name="T9" fmla="*/ 149 h 577"/>
              <a:gd name="T10" fmla="*/ 790 w 790"/>
              <a:gd name="T11" fmla="*/ 110 h 577"/>
              <a:gd name="T12" fmla="*/ 622 w 790"/>
              <a:gd name="T13" fmla="*/ 0 h 577"/>
              <a:gd name="T14" fmla="*/ 612 w 790"/>
              <a:gd name="T15" fmla="*/ 0 h 577"/>
              <a:gd name="T16" fmla="*/ 435 w 790"/>
              <a:gd name="T17" fmla="*/ 93 h 577"/>
              <a:gd name="T18" fmla="*/ 353 w 790"/>
              <a:gd name="T19" fmla="*/ 76 h 577"/>
              <a:gd name="T20" fmla="*/ 252 w 790"/>
              <a:gd name="T21" fmla="*/ 114 h 577"/>
              <a:gd name="T22" fmla="*/ 193 w 790"/>
              <a:gd name="T23" fmla="*/ 248 h 577"/>
              <a:gd name="T24" fmla="*/ 172 w 790"/>
              <a:gd name="T25" fmla="*/ 247 h 577"/>
              <a:gd name="T26" fmla="*/ 31 w 790"/>
              <a:gd name="T27" fmla="*/ 309 h 577"/>
              <a:gd name="T28" fmla="*/ 25 w 790"/>
              <a:gd name="T29" fmla="*/ 453 h 577"/>
              <a:gd name="T30" fmla="*/ 127 w 790"/>
              <a:gd name="T31" fmla="*/ 528 h 577"/>
              <a:gd name="T32" fmla="*/ 219 w 790"/>
              <a:gd name="T33" fmla="*/ 577 h 577"/>
              <a:gd name="T34" fmla="*/ 267 w 790"/>
              <a:gd name="T35" fmla="*/ 570 h 577"/>
              <a:gd name="T36" fmla="*/ 268 w 790"/>
              <a:gd name="T37" fmla="*/ 571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0" h="577">
                <a:moveTo>
                  <a:pt x="268" y="571"/>
                </a:moveTo>
                <a:cubicBezTo>
                  <a:pt x="271" y="565"/>
                  <a:pt x="275" y="560"/>
                  <a:pt x="279" y="555"/>
                </a:cubicBezTo>
                <a:cubicBezTo>
                  <a:pt x="366" y="439"/>
                  <a:pt x="506" y="421"/>
                  <a:pt x="582" y="421"/>
                </a:cubicBezTo>
                <a:cubicBezTo>
                  <a:pt x="591" y="421"/>
                  <a:pt x="601" y="421"/>
                  <a:pt x="611" y="422"/>
                </a:cubicBezTo>
                <a:cubicBezTo>
                  <a:pt x="607" y="368"/>
                  <a:pt x="618" y="257"/>
                  <a:pt x="738" y="149"/>
                </a:cubicBezTo>
                <a:cubicBezTo>
                  <a:pt x="754" y="134"/>
                  <a:pt x="772" y="121"/>
                  <a:pt x="790" y="110"/>
                </a:cubicBezTo>
                <a:cubicBezTo>
                  <a:pt x="771" y="65"/>
                  <a:pt x="725" y="4"/>
                  <a:pt x="622" y="0"/>
                </a:cubicBezTo>
                <a:cubicBezTo>
                  <a:pt x="618" y="0"/>
                  <a:pt x="615" y="0"/>
                  <a:pt x="612" y="0"/>
                </a:cubicBezTo>
                <a:cubicBezTo>
                  <a:pt x="493" y="0"/>
                  <a:pt x="447" y="69"/>
                  <a:pt x="435" y="93"/>
                </a:cubicBezTo>
                <a:cubicBezTo>
                  <a:pt x="422" y="87"/>
                  <a:pt x="390" y="76"/>
                  <a:pt x="353" y="76"/>
                </a:cubicBezTo>
                <a:cubicBezTo>
                  <a:pt x="313" y="76"/>
                  <a:pt x="279" y="89"/>
                  <a:pt x="252" y="114"/>
                </a:cubicBezTo>
                <a:cubicBezTo>
                  <a:pt x="191" y="169"/>
                  <a:pt x="190" y="224"/>
                  <a:pt x="193" y="248"/>
                </a:cubicBezTo>
                <a:cubicBezTo>
                  <a:pt x="188" y="247"/>
                  <a:pt x="181" y="247"/>
                  <a:pt x="172" y="247"/>
                </a:cubicBezTo>
                <a:cubicBezTo>
                  <a:pt x="137" y="247"/>
                  <a:pt x="71" y="255"/>
                  <a:pt x="31" y="309"/>
                </a:cubicBezTo>
                <a:cubicBezTo>
                  <a:pt x="2" y="347"/>
                  <a:pt x="0" y="403"/>
                  <a:pt x="25" y="453"/>
                </a:cubicBezTo>
                <a:cubicBezTo>
                  <a:pt x="47" y="498"/>
                  <a:pt x="86" y="526"/>
                  <a:pt x="127" y="528"/>
                </a:cubicBezTo>
                <a:cubicBezTo>
                  <a:pt x="135" y="541"/>
                  <a:pt x="162" y="577"/>
                  <a:pt x="219" y="577"/>
                </a:cubicBezTo>
                <a:cubicBezTo>
                  <a:pt x="234" y="577"/>
                  <a:pt x="250" y="575"/>
                  <a:pt x="267" y="570"/>
                </a:cubicBezTo>
                <a:lnTo>
                  <a:pt x="268" y="571"/>
                </a:ln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3" name="Freeform 26"/>
          <p:cNvSpPr>
            <a:spLocks/>
          </p:cNvSpPr>
          <p:nvPr/>
        </p:nvSpPr>
        <p:spPr bwMode="auto">
          <a:xfrm>
            <a:off x="6922458" y="4411663"/>
            <a:ext cx="1228725" cy="606425"/>
          </a:xfrm>
          <a:custGeom>
            <a:avLst/>
            <a:gdLst>
              <a:gd name="T0" fmla="*/ 468 w 498"/>
              <a:gd name="T1" fmla="*/ 0 h 246"/>
              <a:gd name="T2" fmla="*/ 317 w 498"/>
              <a:gd name="T3" fmla="*/ 26 h 246"/>
              <a:gd name="T4" fmla="*/ 206 w 498"/>
              <a:gd name="T5" fmla="*/ 14 h 246"/>
              <a:gd name="T6" fmla="*/ 0 w 498"/>
              <a:gd name="T7" fmla="*/ 211 h 246"/>
              <a:gd name="T8" fmla="*/ 82 w 498"/>
              <a:gd name="T9" fmla="*/ 246 h 246"/>
              <a:gd name="T10" fmla="*/ 103 w 498"/>
              <a:gd name="T11" fmla="*/ 244 h 246"/>
              <a:gd name="T12" fmla="*/ 195 w 498"/>
              <a:gd name="T13" fmla="*/ 191 h 246"/>
              <a:gd name="T14" fmla="*/ 268 w 498"/>
              <a:gd name="T15" fmla="*/ 226 h 246"/>
              <a:gd name="T16" fmla="*/ 285 w 498"/>
              <a:gd name="T17" fmla="*/ 225 h 246"/>
              <a:gd name="T18" fmla="*/ 349 w 498"/>
              <a:gd name="T19" fmla="*/ 164 h 246"/>
              <a:gd name="T20" fmla="*/ 385 w 498"/>
              <a:gd name="T21" fmla="*/ 168 h 246"/>
              <a:gd name="T22" fmla="*/ 481 w 498"/>
              <a:gd name="T23" fmla="*/ 116 h 246"/>
              <a:gd name="T24" fmla="*/ 478 w 498"/>
              <a:gd name="T25" fmla="*/ 14 h 246"/>
              <a:gd name="T26" fmla="*/ 468 w 498"/>
              <a:gd name="T2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8" h="246">
                <a:moveTo>
                  <a:pt x="468" y="0"/>
                </a:moveTo>
                <a:cubicBezTo>
                  <a:pt x="416" y="20"/>
                  <a:pt x="363" y="26"/>
                  <a:pt x="317" y="26"/>
                </a:cubicBezTo>
                <a:cubicBezTo>
                  <a:pt x="271" y="26"/>
                  <a:pt x="231" y="20"/>
                  <a:pt x="206" y="14"/>
                </a:cubicBezTo>
                <a:cubicBezTo>
                  <a:pt x="194" y="71"/>
                  <a:pt x="150" y="179"/>
                  <a:pt x="0" y="211"/>
                </a:cubicBezTo>
                <a:cubicBezTo>
                  <a:pt x="16" y="228"/>
                  <a:pt x="42" y="246"/>
                  <a:pt x="82" y="246"/>
                </a:cubicBezTo>
                <a:cubicBezTo>
                  <a:pt x="89" y="246"/>
                  <a:pt x="96" y="245"/>
                  <a:pt x="103" y="244"/>
                </a:cubicBezTo>
                <a:cubicBezTo>
                  <a:pt x="170" y="234"/>
                  <a:pt x="189" y="207"/>
                  <a:pt x="195" y="191"/>
                </a:cubicBezTo>
                <a:cubicBezTo>
                  <a:pt x="206" y="204"/>
                  <a:pt x="231" y="226"/>
                  <a:pt x="268" y="226"/>
                </a:cubicBezTo>
                <a:cubicBezTo>
                  <a:pt x="274" y="226"/>
                  <a:pt x="280" y="226"/>
                  <a:pt x="285" y="225"/>
                </a:cubicBezTo>
                <a:cubicBezTo>
                  <a:pt x="335" y="216"/>
                  <a:pt x="346" y="179"/>
                  <a:pt x="349" y="164"/>
                </a:cubicBezTo>
                <a:cubicBezTo>
                  <a:pt x="356" y="166"/>
                  <a:pt x="369" y="168"/>
                  <a:pt x="385" y="168"/>
                </a:cubicBezTo>
                <a:cubicBezTo>
                  <a:pt x="416" y="168"/>
                  <a:pt x="457" y="159"/>
                  <a:pt x="481" y="116"/>
                </a:cubicBezTo>
                <a:cubicBezTo>
                  <a:pt x="498" y="85"/>
                  <a:pt x="497" y="46"/>
                  <a:pt x="478" y="14"/>
                </a:cubicBezTo>
                <a:cubicBezTo>
                  <a:pt x="475" y="9"/>
                  <a:pt x="472" y="5"/>
                  <a:pt x="468" y="0"/>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4" name="Freeform 27"/>
          <p:cNvSpPr>
            <a:spLocks/>
          </p:cNvSpPr>
          <p:nvPr/>
        </p:nvSpPr>
        <p:spPr bwMode="auto">
          <a:xfrm>
            <a:off x="5584196" y="4675188"/>
            <a:ext cx="2305050" cy="1096962"/>
          </a:xfrm>
          <a:custGeom>
            <a:avLst/>
            <a:gdLst>
              <a:gd name="T0" fmla="*/ 813 w 934"/>
              <a:gd name="T1" fmla="*/ 66 h 444"/>
              <a:gd name="T2" fmla="*/ 802 w 934"/>
              <a:gd name="T3" fmla="*/ 67 h 444"/>
              <a:gd name="T4" fmla="*/ 713 w 934"/>
              <a:gd name="T5" fmla="*/ 0 h 444"/>
              <a:gd name="T6" fmla="*/ 708 w 934"/>
              <a:gd name="T7" fmla="*/ 1 h 444"/>
              <a:gd name="T8" fmla="*/ 529 w 934"/>
              <a:gd name="T9" fmla="*/ 106 h 444"/>
              <a:gd name="T10" fmla="*/ 472 w 934"/>
              <a:gd name="T11" fmla="*/ 111 h 444"/>
              <a:gd name="T12" fmla="*/ 232 w 934"/>
              <a:gd name="T13" fmla="*/ 5 h 444"/>
              <a:gd name="T14" fmla="*/ 163 w 934"/>
              <a:gd name="T15" fmla="*/ 85 h 444"/>
              <a:gd name="T16" fmla="*/ 163 w 934"/>
              <a:gd name="T17" fmla="*/ 85 h 444"/>
              <a:gd name="T18" fmla="*/ 163 w 934"/>
              <a:gd name="T19" fmla="*/ 85 h 444"/>
              <a:gd name="T20" fmla="*/ 15 w 934"/>
              <a:gd name="T21" fmla="*/ 152 h 444"/>
              <a:gd name="T22" fmla="*/ 19 w 934"/>
              <a:gd name="T23" fmla="*/ 260 h 444"/>
              <a:gd name="T24" fmla="*/ 107 w 934"/>
              <a:gd name="T25" fmla="*/ 324 h 444"/>
              <a:gd name="T26" fmla="*/ 186 w 934"/>
              <a:gd name="T27" fmla="*/ 367 h 444"/>
              <a:gd name="T28" fmla="*/ 227 w 934"/>
              <a:gd name="T29" fmla="*/ 360 h 444"/>
              <a:gd name="T30" fmla="*/ 363 w 934"/>
              <a:gd name="T31" fmla="*/ 444 h 444"/>
              <a:gd name="T32" fmla="*/ 393 w 934"/>
              <a:gd name="T33" fmla="*/ 441 h 444"/>
              <a:gd name="T34" fmla="*/ 519 w 934"/>
              <a:gd name="T35" fmla="*/ 369 h 444"/>
              <a:gd name="T36" fmla="*/ 619 w 934"/>
              <a:gd name="T37" fmla="*/ 417 h 444"/>
              <a:gd name="T38" fmla="*/ 642 w 934"/>
              <a:gd name="T39" fmla="*/ 415 h 444"/>
              <a:gd name="T40" fmla="*/ 730 w 934"/>
              <a:gd name="T41" fmla="*/ 332 h 444"/>
              <a:gd name="T42" fmla="*/ 780 w 934"/>
              <a:gd name="T43" fmla="*/ 337 h 444"/>
              <a:gd name="T44" fmla="*/ 910 w 934"/>
              <a:gd name="T45" fmla="*/ 266 h 444"/>
              <a:gd name="T46" fmla="*/ 907 w 934"/>
              <a:gd name="T47" fmla="*/ 126 h 444"/>
              <a:gd name="T48" fmla="*/ 813 w 934"/>
              <a:gd name="T49" fmla="*/ 66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34" h="444">
                <a:moveTo>
                  <a:pt x="813" y="66"/>
                </a:moveTo>
                <a:cubicBezTo>
                  <a:pt x="809" y="66"/>
                  <a:pt x="806" y="66"/>
                  <a:pt x="802" y="67"/>
                </a:cubicBezTo>
                <a:cubicBezTo>
                  <a:pt x="797" y="49"/>
                  <a:pt x="776" y="0"/>
                  <a:pt x="713" y="0"/>
                </a:cubicBezTo>
                <a:cubicBezTo>
                  <a:pt x="711" y="0"/>
                  <a:pt x="709" y="1"/>
                  <a:pt x="708" y="1"/>
                </a:cubicBezTo>
                <a:cubicBezTo>
                  <a:pt x="676" y="46"/>
                  <a:pt x="621" y="90"/>
                  <a:pt x="529" y="106"/>
                </a:cubicBezTo>
                <a:cubicBezTo>
                  <a:pt x="510" y="110"/>
                  <a:pt x="490" y="111"/>
                  <a:pt x="472" y="111"/>
                </a:cubicBezTo>
                <a:cubicBezTo>
                  <a:pt x="356" y="111"/>
                  <a:pt x="276" y="50"/>
                  <a:pt x="232" y="5"/>
                </a:cubicBezTo>
                <a:cubicBezTo>
                  <a:pt x="220" y="29"/>
                  <a:pt x="200" y="57"/>
                  <a:pt x="163" y="85"/>
                </a:cubicBezTo>
                <a:cubicBezTo>
                  <a:pt x="163" y="85"/>
                  <a:pt x="163" y="85"/>
                  <a:pt x="163" y="85"/>
                </a:cubicBezTo>
                <a:cubicBezTo>
                  <a:pt x="163" y="85"/>
                  <a:pt x="163" y="85"/>
                  <a:pt x="163" y="85"/>
                </a:cubicBezTo>
                <a:cubicBezTo>
                  <a:pt x="129" y="110"/>
                  <a:pt x="82" y="134"/>
                  <a:pt x="15" y="152"/>
                </a:cubicBezTo>
                <a:cubicBezTo>
                  <a:pt x="0" y="183"/>
                  <a:pt x="1" y="223"/>
                  <a:pt x="19" y="260"/>
                </a:cubicBezTo>
                <a:cubicBezTo>
                  <a:pt x="39" y="299"/>
                  <a:pt x="72" y="323"/>
                  <a:pt x="107" y="324"/>
                </a:cubicBezTo>
                <a:cubicBezTo>
                  <a:pt x="113" y="335"/>
                  <a:pt x="137" y="367"/>
                  <a:pt x="186" y="367"/>
                </a:cubicBezTo>
                <a:cubicBezTo>
                  <a:pt x="198" y="367"/>
                  <a:pt x="212" y="364"/>
                  <a:pt x="227" y="360"/>
                </a:cubicBezTo>
                <a:cubicBezTo>
                  <a:pt x="236" y="380"/>
                  <a:pt x="275" y="444"/>
                  <a:pt x="363" y="444"/>
                </a:cubicBezTo>
                <a:cubicBezTo>
                  <a:pt x="373" y="444"/>
                  <a:pt x="383" y="443"/>
                  <a:pt x="393" y="441"/>
                </a:cubicBezTo>
                <a:cubicBezTo>
                  <a:pt x="484" y="428"/>
                  <a:pt x="511" y="391"/>
                  <a:pt x="519" y="369"/>
                </a:cubicBezTo>
                <a:cubicBezTo>
                  <a:pt x="534" y="387"/>
                  <a:pt x="568" y="417"/>
                  <a:pt x="619" y="417"/>
                </a:cubicBezTo>
                <a:cubicBezTo>
                  <a:pt x="627" y="417"/>
                  <a:pt x="635" y="416"/>
                  <a:pt x="642" y="415"/>
                </a:cubicBezTo>
                <a:cubicBezTo>
                  <a:pt x="711" y="403"/>
                  <a:pt x="726" y="352"/>
                  <a:pt x="730" y="332"/>
                </a:cubicBezTo>
                <a:cubicBezTo>
                  <a:pt x="740" y="334"/>
                  <a:pt x="758" y="337"/>
                  <a:pt x="780" y="337"/>
                </a:cubicBezTo>
                <a:cubicBezTo>
                  <a:pt x="821" y="337"/>
                  <a:pt x="878" y="325"/>
                  <a:pt x="910" y="266"/>
                </a:cubicBezTo>
                <a:cubicBezTo>
                  <a:pt x="934" y="223"/>
                  <a:pt x="933" y="170"/>
                  <a:pt x="907" y="126"/>
                </a:cubicBezTo>
                <a:cubicBezTo>
                  <a:pt x="885" y="89"/>
                  <a:pt x="849" y="66"/>
                  <a:pt x="813" y="6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id-ID"/>
          </a:p>
        </p:txBody>
      </p:sp>
      <p:sp>
        <p:nvSpPr>
          <p:cNvPr id="85" name="Freeform 28"/>
          <p:cNvSpPr>
            <a:spLocks/>
          </p:cNvSpPr>
          <p:nvPr/>
        </p:nvSpPr>
        <p:spPr bwMode="auto">
          <a:xfrm>
            <a:off x="3018796" y="4538663"/>
            <a:ext cx="3370263" cy="1595437"/>
          </a:xfrm>
          <a:custGeom>
            <a:avLst/>
            <a:gdLst>
              <a:gd name="T0" fmla="*/ 1215 w 1365"/>
              <a:gd name="T1" fmla="*/ 129 h 646"/>
              <a:gd name="T2" fmla="*/ 965 w 1365"/>
              <a:gd name="T3" fmla="*/ 225 h 646"/>
              <a:gd name="T4" fmla="*/ 891 w 1365"/>
              <a:gd name="T5" fmla="*/ 231 h 646"/>
              <a:gd name="T6" fmla="*/ 554 w 1365"/>
              <a:gd name="T7" fmla="*/ 31 h 646"/>
              <a:gd name="T8" fmla="*/ 461 w 1365"/>
              <a:gd name="T9" fmla="*/ 44 h 646"/>
              <a:gd name="T10" fmla="*/ 319 w 1365"/>
              <a:gd name="T11" fmla="*/ 0 h 646"/>
              <a:gd name="T12" fmla="*/ 192 w 1365"/>
              <a:gd name="T13" fmla="*/ 97 h 646"/>
              <a:gd name="T14" fmla="*/ 177 w 1365"/>
              <a:gd name="T15" fmla="*/ 96 h 646"/>
              <a:gd name="T16" fmla="*/ 39 w 1365"/>
              <a:gd name="T17" fmla="*/ 184 h 646"/>
              <a:gd name="T18" fmla="*/ 34 w 1365"/>
              <a:gd name="T19" fmla="*/ 387 h 646"/>
              <a:gd name="T20" fmla="*/ 225 w 1365"/>
              <a:gd name="T21" fmla="*/ 492 h 646"/>
              <a:gd name="T22" fmla="*/ 297 w 1365"/>
              <a:gd name="T23" fmla="*/ 483 h 646"/>
              <a:gd name="T24" fmla="*/ 425 w 1365"/>
              <a:gd name="T25" fmla="*/ 605 h 646"/>
              <a:gd name="T26" fmla="*/ 459 w 1365"/>
              <a:gd name="T27" fmla="*/ 608 h 646"/>
              <a:gd name="T28" fmla="*/ 605 w 1365"/>
              <a:gd name="T29" fmla="*/ 538 h 646"/>
              <a:gd name="T30" fmla="*/ 789 w 1365"/>
              <a:gd name="T31" fmla="*/ 643 h 646"/>
              <a:gd name="T32" fmla="*/ 832 w 1365"/>
              <a:gd name="T33" fmla="*/ 646 h 646"/>
              <a:gd name="T34" fmla="*/ 1032 w 1365"/>
              <a:gd name="T35" fmla="*/ 524 h 646"/>
              <a:gd name="T36" fmla="*/ 1091 w 1365"/>
              <a:gd name="T37" fmla="*/ 534 h 646"/>
              <a:gd name="T38" fmla="*/ 1206 w 1365"/>
              <a:gd name="T39" fmla="*/ 472 h 646"/>
              <a:gd name="T40" fmla="*/ 1334 w 1365"/>
              <a:gd name="T41" fmla="*/ 379 h 646"/>
              <a:gd name="T42" fmla="*/ 1327 w 1365"/>
              <a:gd name="T43" fmla="*/ 199 h 646"/>
              <a:gd name="T44" fmla="*/ 1215 w 1365"/>
              <a:gd name="T45" fmla="*/ 12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65" h="646">
                <a:moveTo>
                  <a:pt x="1215" y="129"/>
                </a:moveTo>
                <a:cubicBezTo>
                  <a:pt x="1168" y="169"/>
                  <a:pt x="1091" y="206"/>
                  <a:pt x="965" y="225"/>
                </a:cubicBezTo>
                <a:cubicBezTo>
                  <a:pt x="939" y="229"/>
                  <a:pt x="914" y="231"/>
                  <a:pt x="891" y="231"/>
                </a:cubicBezTo>
                <a:cubicBezTo>
                  <a:pt x="682" y="231"/>
                  <a:pt x="584" y="88"/>
                  <a:pt x="554" y="31"/>
                </a:cubicBezTo>
                <a:cubicBezTo>
                  <a:pt x="521" y="40"/>
                  <a:pt x="490" y="44"/>
                  <a:pt x="461" y="44"/>
                </a:cubicBezTo>
                <a:cubicBezTo>
                  <a:pt x="398" y="44"/>
                  <a:pt x="352" y="24"/>
                  <a:pt x="319" y="0"/>
                </a:cubicBezTo>
                <a:cubicBezTo>
                  <a:pt x="230" y="2"/>
                  <a:pt x="200" y="71"/>
                  <a:pt x="192" y="97"/>
                </a:cubicBezTo>
                <a:cubicBezTo>
                  <a:pt x="187" y="96"/>
                  <a:pt x="182" y="96"/>
                  <a:pt x="177" y="96"/>
                </a:cubicBezTo>
                <a:cubicBezTo>
                  <a:pt x="124" y="96"/>
                  <a:pt x="71" y="129"/>
                  <a:pt x="39" y="184"/>
                </a:cubicBezTo>
                <a:cubicBezTo>
                  <a:pt x="1" y="248"/>
                  <a:pt x="0" y="324"/>
                  <a:pt x="34" y="387"/>
                </a:cubicBezTo>
                <a:cubicBezTo>
                  <a:pt x="82" y="473"/>
                  <a:pt x="164" y="492"/>
                  <a:pt x="225" y="492"/>
                </a:cubicBezTo>
                <a:cubicBezTo>
                  <a:pt x="257" y="492"/>
                  <a:pt x="283" y="487"/>
                  <a:pt x="297" y="483"/>
                </a:cubicBezTo>
                <a:cubicBezTo>
                  <a:pt x="303" y="513"/>
                  <a:pt x="325" y="587"/>
                  <a:pt x="425" y="605"/>
                </a:cubicBezTo>
                <a:cubicBezTo>
                  <a:pt x="436" y="607"/>
                  <a:pt x="448" y="608"/>
                  <a:pt x="459" y="608"/>
                </a:cubicBezTo>
                <a:cubicBezTo>
                  <a:pt x="533" y="608"/>
                  <a:pt x="583" y="563"/>
                  <a:pt x="605" y="538"/>
                </a:cubicBezTo>
                <a:cubicBezTo>
                  <a:pt x="617" y="569"/>
                  <a:pt x="656" y="624"/>
                  <a:pt x="789" y="643"/>
                </a:cubicBezTo>
                <a:cubicBezTo>
                  <a:pt x="804" y="645"/>
                  <a:pt x="818" y="646"/>
                  <a:pt x="832" y="646"/>
                </a:cubicBezTo>
                <a:cubicBezTo>
                  <a:pt x="961" y="646"/>
                  <a:pt x="1017" y="554"/>
                  <a:pt x="1032" y="524"/>
                </a:cubicBezTo>
                <a:cubicBezTo>
                  <a:pt x="1053" y="531"/>
                  <a:pt x="1073" y="534"/>
                  <a:pt x="1091" y="534"/>
                </a:cubicBezTo>
                <a:cubicBezTo>
                  <a:pt x="1163" y="534"/>
                  <a:pt x="1197" y="488"/>
                  <a:pt x="1206" y="472"/>
                </a:cubicBezTo>
                <a:cubicBezTo>
                  <a:pt x="1257" y="471"/>
                  <a:pt x="1306" y="435"/>
                  <a:pt x="1334" y="379"/>
                </a:cubicBezTo>
                <a:cubicBezTo>
                  <a:pt x="1365" y="316"/>
                  <a:pt x="1363" y="247"/>
                  <a:pt x="1327" y="199"/>
                </a:cubicBezTo>
                <a:cubicBezTo>
                  <a:pt x="1296" y="158"/>
                  <a:pt x="1254" y="139"/>
                  <a:pt x="1215" y="129"/>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id-ID"/>
          </a:p>
        </p:txBody>
      </p:sp>
      <p:sp>
        <p:nvSpPr>
          <p:cNvPr id="87" name="Subtitle 4"/>
          <p:cNvSpPr txBox="1">
            <a:spLocks/>
          </p:cNvSpPr>
          <p:nvPr/>
        </p:nvSpPr>
        <p:spPr>
          <a:xfrm>
            <a:off x="3747853" y="2666831"/>
            <a:ext cx="4739483" cy="487837"/>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smtClean="0">
                <a:solidFill>
                  <a:schemeClr val="bg1"/>
                </a:solidFill>
                <a:latin typeface="Bebas" pitchFamily="2" charset="0"/>
              </a:rPr>
              <a:t>Prototyping</a:t>
            </a:r>
            <a:endParaRPr lang="id-ID" dirty="0">
              <a:solidFill>
                <a:schemeClr val="bg1"/>
              </a:solidFill>
              <a:latin typeface="Bebas" pitchFamily="2" charset="0"/>
            </a:endParaRPr>
          </a:p>
        </p:txBody>
      </p:sp>
      <p:cxnSp>
        <p:nvCxnSpPr>
          <p:cNvPr id="89" name="Straight Connector 88"/>
          <p:cNvCxnSpPr/>
          <p:nvPr/>
        </p:nvCxnSpPr>
        <p:spPr>
          <a:xfrm>
            <a:off x="5096230" y="3203819"/>
            <a:ext cx="2042729" cy="0"/>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5606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53" presetClass="entr" presetSubtype="16"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 calcmode="lin" valueType="num">
                                      <p:cBhvr>
                                        <p:cTn id="10" dur="500" fill="hold"/>
                                        <p:tgtEl>
                                          <p:spTgt spid="30"/>
                                        </p:tgtEl>
                                        <p:attrNameLst>
                                          <p:attrName>ppt_w</p:attrName>
                                        </p:attrNameLst>
                                      </p:cBhvr>
                                      <p:tavLst>
                                        <p:tav tm="0">
                                          <p:val>
                                            <p:fltVal val="0"/>
                                          </p:val>
                                        </p:tav>
                                        <p:tav tm="100000">
                                          <p:val>
                                            <p:strVal val="#ppt_w"/>
                                          </p:val>
                                        </p:tav>
                                      </p:tavLst>
                                    </p:anim>
                                    <p:anim calcmode="lin" valueType="num">
                                      <p:cBhvr>
                                        <p:cTn id="11" dur="500" fill="hold"/>
                                        <p:tgtEl>
                                          <p:spTgt spid="30"/>
                                        </p:tgtEl>
                                        <p:attrNameLst>
                                          <p:attrName>ppt_h</p:attrName>
                                        </p:attrNameLst>
                                      </p:cBhvr>
                                      <p:tavLst>
                                        <p:tav tm="0">
                                          <p:val>
                                            <p:fltVal val="0"/>
                                          </p:val>
                                        </p:tav>
                                        <p:tav tm="100000">
                                          <p:val>
                                            <p:strVal val="#ppt_h"/>
                                          </p:val>
                                        </p:tav>
                                      </p:tavLst>
                                    </p:anim>
                                    <p:animEffect transition="in" filter="fade">
                                      <p:cBhvr>
                                        <p:cTn id="12" dur="500"/>
                                        <p:tgtEl>
                                          <p:spTgt spid="30"/>
                                        </p:tgtEl>
                                      </p:cBhvr>
                                    </p:animEffect>
                                  </p:childTnLst>
                                </p:cTn>
                              </p:par>
                            </p:childTnLst>
                          </p:cTn>
                        </p:par>
                        <p:par>
                          <p:cTn id="13" fill="hold">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50"/>
                                        </p:tgtEl>
                                        <p:attrNameLst>
                                          <p:attrName>style.visibility</p:attrName>
                                        </p:attrNameLst>
                                      </p:cBhvr>
                                      <p:to>
                                        <p:strVal val="visible"/>
                                      </p:to>
                                    </p:set>
                                    <p:anim calcmode="lin" valueType="num">
                                      <p:cBhvr>
                                        <p:cTn id="16" dur="500" fill="hold"/>
                                        <p:tgtEl>
                                          <p:spTgt spid="50"/>
                                        </p:tgtEl>
                                        <p:attrNameLst>
                                          <p:attrName>ppt_w</p:attrName>
                                        </p:attrNameLst>
                                      </p:cBhvr>
                                      <p:tavLst>
                                        <p:tav tm="0">
                                          <p:val>
                                            <p:fltVal val="0"/>
                                          </p:val>
                                        </p:tav>
                                        <p:tav tm="100000">
                                          <p:val>
                                            <p:strVal val="#ppt_w"/>
                                          </p:val>
                                        </p:tav>
                                      </p:tavLst>
                                    </p:anim>
                                    <p:anim calcmode="lin" valueType="num">
                                      <p:cBhvr>
                                        <p:cTn id="17" dur="500" fill="hold"/>
                                        <p:tgtEl>
                                          <p:spTgt spid="50"/>
                                        </p:tgtEl>
                                        <p:attrNameLst>
                                          <p:attrName>ppt_h</p:attrName>
                                        </p:attrNameLst>
                                      </p:cBhvr>
                                      <p:tavLst>
                                        <p:tav tm="0">
                                          <p:val>
                                            <p:fltVal val="0"/>
                                          </p:val>
                                        </p:tav>
                                        <p:tav tm="100000">
                                          <p:val>
                                            <p:strVal val="#ppt_h"/>
                                          </p:val>
                                        </p:tav>
                                      </p:tavLst>
                                    </p:anim>
                                    <p:animEffect transition="in" filter="fade">
                                      <p:cBhvr>
                                        <p:cTn id="18" dur="500"/>
                                        <p:tgtEl>
                                          <p:spTgt spid="50"/>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anim calcmode="lin" valueType="num">
                                      <p:cBhvr>
                                        <p:cTn id="21" dur="500" fill="hold"/>
                                        <p:tgtEl>
                                          <p:spTgt spid="51"/>
                                        </p:tgtEl>
                                        <p:attrNameLst>
                                          <p:attrName>ppt_w</p:attrName>
                                        </p:attrNameLst>
                                      </p:cBhvr>
                                      <p:tavLst>
                                        <p:tav tm="0">
                                          <p:val>
                                            <p:fltVal val="0"/>
                                          </p:val>
                                        </p:tav>
                                        <p:tav tm="100000">
                                          <p:val>
                                            <p:strVal val="#ppt_w"/>
                                          </p:val>
                                        </p:tav>
                                      </p:tavLst>
                                    </p:anim>
                                    <p:anim calcmode="lin" valueType="num">
                                      <p:cBhvr>
                                        <p:cTn id="22" dur="500" fill="hold"/>
                                        <p:tgtEl>
                                          <p:spTgt spid="51"/>
                                        </p:tgtEl>
                                        <p:attrNameLst>
                                          <p:attrName>ppt_h</p:attrName>
                                        </p:attrNameLst>
                                      </p:cBhvr>
                                      <p:tavLst>
                                        <p:tav tm="0">
                                          <p:val>
                                            <p:fltVal val="0"/>
                                          </p:val>
                                        </p:tav>
                                        <p:tav tm="100000">
                                          <p:val>
                                            <p:strVal val="#ppt_h"/>
                                          </p:val>
                                        </p:tav>
                                      </p:tavLst>
                                    </p:anim>
                                    <p:animEffect transition="in" filter="fade">
                                      <p:cBhvr>
                                        <p:cTn id="23" dur="500"/>
                                        <p:tgtEl>
                                          <p:spTgt spid="51"/>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64"/>
                                        </p:tgtEl>
                                        <p:attrNameLst>
                                          <p:attrName>style.visibility</p:attrName>
                                        </p:attrNameLst>
                                      </p:cBhvr>
                                      <p:to>
                                        <p:strVal val="visible"/>
                                      </p:to>
                                    </p:set>
                                    <p:anim calcmode="lin" valueType="num">
                                      <p:cBhvr>
                                        <p:cTn id="26" dur="500" fill="hold"/>
                                        <p:tgtEl>
                                          <p:spTgt spid="64"/>
                                        </p:tgtEl>
                                        <p:attrNameLst>
                                          <p:attrName>ppt_w</p:attrName>
                                        </p:attrNameLst>
                                      </p:cBhvr>
                                      <p:tavLst>
                                        <p:tav tm="0">
                                          <p:val>
                                            <p:fltVal val="0"/>
                                          </p:val>
                                        </p:tav>
                                        <p:tav tm="100000">
                                          <p:val>
                                            <p:strVal val="#ppt_w"/>
                                          </p:val>
                                        </p:tav>
                                      </p:tavLst>
                                    </p:anim>
                                    <p:anim calcmode="lin" valueType="num">
                                      <p:cBhvr>
                                        <p:cTn id="27" dur="500" fill="hold"/>
                                        <p:tgtEl>
                                          <p:spTgt spid="64"/>
                                        </p:tgtEl>
                                        <p:attrNameLst>
                                          <p:attrName>ppt_h</p:attrName>
                                        </p:attrNameLst>
                                      </p:cBhvr>
                                      <p:tavLst>
                                        <p:tav tm="0">
                                          <p:val>
                                            <p:fltVal val="0"/>
                                          </p:val>
                                        </p:tav>
                                        <p:tav tm="100000">
                                          <p:val>
                                            <p:strVal val="#ppt_h"/>
                                          </p:val>
                                        </p:tav>
                                      </p:tavLst>
                                    </p:anim>
                                    <p:animEffect transition="in" filter="fade">
                                      <p:cBhvr>
                                        <p:cTn id="28" dur="500"/>
                                        <p:tgtEl>
                                          <p:spTgt spid="64"/>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65"/>
                                        </p:tgtEl>
                                        <p:attrNameLst>
                                          <p:attrName>style.visibility</p:attrName>
                                        </p:attrNameLst>
                                      </p:cBhvr>
                                      <p:to>
                                        <p:strVal val="visible"/>
                                      </p:to>
                                    </p:set>
                                    <p:anim calcmode="lin" valueType="num">
                                      <p:cBhvr>
                                        <p:cTn id="31" dur="500" fill="hold"/>
                                        <p:tgtEl>
                                          <p:spTgt spid="65"/>
                                        </p:tgtEl>
                                        <p:attrNameLst>
                                          <p:attrName>ppt_w</p:attrName>
                                        </p:attrNameLst>
                                      </p:cBhvr>
                                      <p:tavLst>
                                        <p:tav tm="0">
                                          <p:val>
                                            <p:fltVal val="0"/>
                                          </p:val>
                                        </p:tav>
                                        <p:tav tm="100000">
                                          <p:val>
                                            <p:strVal val="#ppt_w"/>
                                          </p:val>
                                        </p:tav>
                                      </p:tavLst>
                                    </p:anim>
                                    <p:anim calcmode="lin" valueType="num">
                                      <p:cBhvr>
                                        <p:cTn id="32" dur="500" fill="hold"/>
                                        <p:tgtEl>
                                          <p:spTgt spid="65"/>
                                        </p:tgtEl>
                                        <p:attrNameLst>
                                          <p:attrName>ppt_h</p:attrName>
                                        </p:attrNameLst>
                                      </p:cBhvr>
                                      <p:tavLst>
                                        <p:tav tm="0">
                                          <p:val>
                                            <p:fltVal val="0"/>
                                          </p:val>
                                        </p:tav>
                                        <p:tav tm="100000">
                                          <p:val>
                                            <p:strVal val="#ppt_h"/>
                                          </p:val>
                                        </p:tav>
                                      </p:tavLst>
                                    </p:anim>
                                    <p:animEffect transition="in" filter="fade">
                                      <p:cBhvr>
                                        <p:cTn id="33" dur="500"/>
                                        <p:tgtEl>
                                          <p:spTgt spid="65"/>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66"/>
                                        </p:tgtEl>
                                        <p:attrNameLst>
                                          <p:attrName>style.visibility</p:attrName>
                                        </p:attrNameLst>
                                      </p:cBhvr>
                                      <p:to>
                                        <p:strVal val="visible"/>
                                      </p:to>
                                    </p:set>
                                    <p:anim calcmode="lin" valueType="num">
                                      <p:cBhvr>
                                        <p:cTn id="36" dur="500" fill="hold"/>
                                        <p:tgtEl>
                                          <p:spTgt spid="66"/>
                                        </p:tgtEl>
                                        <p:attrNameLst>
                                          <p:attrName>ppt_w</p:attrName>
                                        </p:attrNameLst>
                                      </p:cBhvr>
                                      <p:tavLst>
                                        <p:tav tm="0">
                                          <p:val>
                                            <p:fltVal val="0"/>
                                          </p:val>
                                        </p:tav>
                                        <p:tav tm="100000">
                                          <p:val>
                                            <p:strVal val="#ppt_w"/>
                                          </p:val>
                                        </p:tav>
                                      </p:tavLst>
                                    </p:anim>
                                    <p:anim calcmode="lin" valueType="num">
                                      <p:cBhvr>
                                        <p:cTn id="37" dur="500" fill="hold"/>
                                        <p:tgtEl>
                                          <p:spTgt spid="66"/>
                                        </p:tgtEl>
                                        <p:attrNameLst>
                                          <p:attrName>ppt_h</p:attrName>
                                        </p:attrNameLst>
                                      </p:cBhvr>
                                      <p:tavLst>
                                        <p:tav tm="0">
                                          <p:val>
                                            <p:fltVal val="0"/>
                                          </p:val>
                                        </p:tav>
                                        <p:tav tm="100000">
                                          <p:val>
                                            <p:strVal val="#ppt_h"/>
                                          </p:val>
                                        </p:tav>
                                      </p:tavLst>
                                    </p:anim>
                                    <p:animEffect transition="in" filter="fade">
                                      <p:cBhvr>
                                        <p:cTn id="38" dur="500"/>
                                        <p:tgtEl>
                                          <p:spTgt spid="66"/>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67"/>
                                        </p:tgtEl>
                                        <p:attrNameLst>
                                          <p:attrName>style.visibility</p:attrName>
                                        </p:attrNameLst>
                                      </p:cBhvr>
                                      <p:to>
                                        <p:strVal val="visible"/>
                                      </p:to>
                                    </p:set>
                                    <p:anim calcmode="lin" valueType="num">
                                      <p:cBhvr>
                                        <p:cTn id="41" dur="500" fill="hold"/>
                                        <p:tgtEl>
                                          <p:spTgt spid="67"/>
                                        </p:tgtEl>
                                        <p:attrNameLst>
                                          <p:attrName>ppt_w</p:attrName>
                                        </p:attrNameLst>
                                      </p:cBhvr>
                                      <p:tavLst>
                                        <p:tav tm="0">
                                          <p:val>
                                            <p:fltVal val="0"/>
                                          </p:val>
                                        </p:tav>
                                        <p:tav tm="100000">
                                          <p:val>
                                            <p:strVal val="#ppt_w"/>
                                          </p:val>
                                        </p:tav>
                                      </p:tavLst>
                                    </p:anim>
                                    <p:anim calcmode="lin" valueType="num">
                                      <p:cBhvr>
                                        <p:cTn id="42" dur="500" fill="hold"/>
                                        <p:tgtEl>
                                          <p:spTgt spid="67"/>
                                        </p:tgtEl>
                                        <p:attrNameLst>
                                          <p:attrName>ppt_h</p:attrName>
                                        </p:attrNameLst>
                                      </p:cBhvr>
                                      <p:tavLst>
                                        <p:tav tm="0">
                                          <p:val>
                                            <p:fltVal val="0"/>
                                          </p:val>
                                        </p:tav>
                                        <p:tav tm="100000">
                                          <p:val>
                                            <p:strVal val="#ppt_h"/>
                                          </p:val>
                                        </p:tav>
                                      </p:tavLst>
                                    </p:anim>
                                    <p:animEffect transition="in" filter="fade">
                                      <p:cBhvr>
                                        <p:cTn id="43" dur="500"/>
                                        <p:tgtEl>
                                          <p:spTgt spid="67"/>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68"/>
                                        </p:tgtEl>
                                        <p:attrNameLst>
                                          <p:attrName>style.visibility</p:attrName>
                                        </p:attrNameLst>
                                      </p:cBhvr>
                                      <p:to>
                                        <p:strVal val="visible"/>
                                      </p:to>
                                    </p:set>
                                    <p:anim calcmode="lin" valueType="num">
                                      <p:cBhvr>
                                        <p:cTn id="46" dur="500" fill="hold"/>
                                        <p:tgtEl>
                                          <p:spTgt spid="68"/>
                                        </p:tgtEl>
                                        <p:attrNameLst>
                                          <p:attrName>ppt_w</p:attrName>
                                        </p:attrNameLst>
                                      </p:cBhvr>
                                      <p:tavLst>
                                        <p:tav tm="0">
                                          <p:val>
                                            <p:fltVal val="0"/>
                                          </p:val>
                                        </p:tav>
                                        <p:tav tm="100000">
                                          <p:val>
                                            <p:strVal val="#ppt_w"/>
                                          </p:val>
                                        </p:tav>
                                      </p:tavLst>
                                    </p:anim>
                                    <p:anim calcmode="lin" valueType="num">
                                      <p:cBhvr>
                                        <p:cTn id="47" dur="500" fill="hold"/>
                                        <p:tgtEl>
                                          <p:spTgt spid="68"/>
                                        </p:tgtEl>
                                        <p:attrNameLst>
                                          <p:attrName>ppt_h</p:attrName>
                                        </p:attrNameLst>
                                      </p:cBhvr>
                                      <p:tavLst>
                                        <p:tav tm="0">
                                          <p:val>
                                            <p:fltVal val="0"/>
                                          </p:val>
                                        </p:tav>
                                        <p:tav tm="100000">
                                          <p:val>
                                            <p:strVal val="#ppt_h"/>
                                          </p:val>
                                        </p:tav>
                                      </p:tavLst>
                                    </p:anim>
                                    <p:animEffect transition="in" filter="fade">
                                      <p:cBhvr>
                                        <p:cTn id="48" dur="500"/>
                                        <p:tgtEl>
                                          <p:spTgt spid="68"/>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69"/>
                                        </p:tgtEl>
                                        <p:attrNameLst>
                                          <p:attrName>style.visibility</p:attrName>
                                        </p:attrNameLst>
                                      </p:cBhvr>
                                      <p:to>
                                        <p:strVal val="visible"/>
                                      </p:to>
                                    </p:set>
                                    <p:anim calcmode="lin" valueType="num">
                                      <p:cBhvr>
                                        <p:cTn id="51" dur="500" fill="hold"/>
                                        <p:tgtEl>
                                          <p:spTgt spid="69"/>
                                        </p:tgtEl>
                                        <p:attrNameLst>
                                          <p:attrName>ppt_w</p:attrName>
                                        </p:attrNameLst>
                                      </p:cBhvr>
                                      <p:tavLst>
                                        <p:tav tm="0">
                                          <p:val>
                                            <p:fltVal val="0"/>
                                          </p:val>
                                        </p:tav>
                                        <p:tav tm="100000">
                                          <p:val>
                                            <p:strVal val="#ppt_w"/>
                                          </p:val>
                                        </p:tav>
                                      </p:tavLst>
                                    </p:anim>
                                    <p:anim calcmode="lin" valueType="num">
                                      <p:cBhvr>
                                        <p:cTn id="52" dur="500" fill="hold"/>
                                        <p:tgtEl>
                                          <p:spTgt spid="69"/>
                                        </p:tgtEl>
                                        <p:attrNameLst>
                                          <p:attrName>ppt_h</p:attrName>
                                        </p:attrNameLst>
                                      </p:cBhvr>
                                      <p:tavLst>
                                        <p:tav tm="0">
                                          <p:val>
                                            <p:fltVal val="0"/>
                                          </p:val>
                                        </p:tav>
                                        <p:tav tm="100000">
                                          <p:val>
                                            <p:strVal val="#ppt_h"/>
                                          </p:val>
                                        </p:tav>
                                      </p:tavLst>
                                    </p:anim>
                                    <p:animEffect transition="in" filter="fade">
                                      <p:cBhvr>
                                        <p:cTn id="53" dur="500"/>
                                        <p:tgtEl>
                                          <p:spTgt spid="69"/>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 calcmode="lin" valueType="num">
                                      <p:cBhvr>
                                        <p:cTn id="56" dur="500" fill="hold"/>
                                        <p:tgtEl>
                                          <p:spTgt spid="70"/>
                                        </p:tgtEl>
                                        <p:attrNameLst>
                                          <p:attrName>ppt_w</p:attrName>
                                        </p:attrNameLst>
                                      </p:cBhvr>
                                      <p:tavLst>
                                        <p:tav tm="0">
                                          <p:val>
                                            <p:fltVal val="0"/>
                                          </p:val>
                                        </p:tav>
                                        <p:tav tm="100000">
                                          <p:val>
                                            <p:strVal val="#ppt_w"/>
                                          </p:val>
                                        </p:tav>
                                      </p:tavLst>
                                    </p:anim>
                                    <p:anim calcmode="lin" valueType="num">
                                      <p:cBhvr>
                                        <p:cTn id="57" dur="500" fill="hold"/>
                                        <p:tgtEl>
                                          <p:spTgt spid="70"/>
                                        </p:tgtEl>
                                        <p:attrNameLst>
                                          <p:attrName>ppt_h</p:attrName>
                                        </p:attrNameLst>
                                      </p:cBhvr>
                                      <p:tavLst>
                                        <p:tav tm="0">
                                          <p:val>
                                            <p:fltVal val="0"/>
                                          </p:val>
                                        </p:tav>
                                        <p:tav tm="100000">
                                          <p:val>
                                            <p:strVal val="#ppt_h"/>
                                          </p:val>
                                        </p:tav>
                                      </p:tavLst>
                                    </p:anim>
                                    <p:animEffect transition="in" filter="fade">
                                      <p:cBhvr>
                                        <p:cTn id="58" dur="500"/>
                                        <p:tgtEl>
                                          <p:spTgt spid="70"/>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71"/>
                                        </p:tgtEl>
                                        <p:attrNameLst>
                                          <p:attrName>style.visibility</p:attrName>
                                        </p:attrNameLst>
                                      </p:cBhvr>
                                      <p:to>
                                        <p:strVal val="visible"/>
                                      </p:to>
                                    </p:set>
                                    <p:anim calcmode="lin" valueType="num">
                                      <p:cBhvr>
                                        <p:cTn id="61" dur="500" fill="hold"/>
                                        <p:tgtEl>
                                          <p:spTgt spid="71"/>
                                        </p:tgtEl>
                                        <p:attrNameLst>
                                          <p:attrName>ppt_w</p:attrName>
                                        </p:attrNameLst>
                                      </p:cBhvr>
                                      <p:tavLst>
                                        <p:tav tm="0">
                                          <p:val>
                                            <p:fltVal val="0"/>
                                          </p:val>
                                        </p:tav>
                                        <p:tav tm="100000">
                                          <p:val>
                                            <p:strVal val="#ppt_w"/>
                                          </p:val>
                                        </p:tav>
                                      </p:tavLst>
                                    </p:anim>
                                    <p:anim calcmode="lin" valueType="num">
                                      <p:cBhvr>
                                        <p:cTn id="62" dur="500" fill="hold"/>
                                        <p:tgtEl>
                                          <p:spTgt spid="71"/>
                                        </p:tgtEl>
                                        <p:attrNameLst>
                                          <p:attrName>ppt_h</p:attrName>
                                        </p:attrNameLst>
                                      </p:cBhvr>
                                      <p:tavLst>
                                        <p:tav tm="0">
                                          <p:val>
                                            <p:fltVal val="0"/>
                                          </p:val>
                                        </p:tav>
                                        <p:tav tm="100000">
                                          <p:val>
                                            <p:strVal val="#ppt_h"/>
                                          </p:val>
                                        </p:tav>
                                      </p:tavLst>
                                    </p:anim>
                                    <p:animEffect transition="in" filter="fade">
                                      <p:cBhvr>
                                        <p:cTn id="63" dur="500"/>
                                        <p:tgtEl>
                                          <p:spTgt spid="71"/>
                                        </p:tgtEl>
                                      </p:cBhvr>
                                    </p:animEffect>
                                  </p:childTnLst>
                                </p:cTn>
                              </p:par>
                              <p:par>
                                <p:cTn id="64" presetID="53" presetClass="entr" presetSubtype="16" fill="hold" grpId="0" nodeType="withEffect">
                                  <p:stCondLst>
                                    <p:cond delay="0"/>
                                  </p:stCondLst>
                                  <p:childTnLst>
                                    <p:set>
                                      <p:cBhvr>
                                        <p:cTn id="65" dur="1" fill="hold">
                                          <p:stCondLst>
                                            <p:cond delay="0"/>
                                          </p:stCondLst>
                                        </p:cTn>
                                        <p:tgtEl>
                                          <p:spTgt spid="72"/>
                                        </p:tgtEl>
                                        <p:attrNameLst>
                                          <p:attrName>style.visibility</p:attrName>
                                        </p:attrNameLst>
                                      </p:cBhvr>
                                      <p:to>
                                        <p:strVal val="visible"/>
                                      </p:to>
                                    </p:set>
                                    <p:anim calcmode="lin" valueType="num">
                                      <p:cBhvr>
                                        <p:cTn id="66" dur="500" fill="hold"/>
                                        <p:tgtEl>
                                          <p:spTgt spid="72"/>
                                        </p:tgtEl>
                                        <p:attrNameLst>
                                          <p:attrName>ppt_w</p:attrName>
                                        </p:attrNameLst>
                                      </p:cBhvr>
                                      <p:tavLst>
                                        <p:tav tm="0">
                                          <p:val>
                                            <p:fltVal val="0"/>
                                          </p:val>
                                        </p:tav>
                                        <p:tav tm="100000">
                                          <p:val>
                                            <p:strVal val="#ppt_w"/>
                                          </p:val>
                                        </p:tav>
                                      </p:tavLst>
                                    </p:anim>
                                    <p:anim calcmode="lin" valueType="num">
                                      <p:cBhvr>
                                        <p:cTn id="67" dur="500" fill="hold"/>
                                        <p:tgtEl>
                                          <p:spTgt spid="72"/>
                                        </p:tgtEl>
                                        <p:attrNameLst>
                                          <p:attrName>ppt_h</p:attrName>
                                        </p:attrNameLst>
                                      </p:cBhvr>
                                      <p:tavLst>
                                        <p:tav tm="0">
                                          <p:val>
                                            <p:fltVal val="0"/>
                                          </p:val>
                                        </p:tav>
                                        <p:tav tm="100000">
                                          <p:val>
                                            <p:strVal val="#ppt_h"/>
                                          </p:val>
                                        </p:tav>
                                      </p:tavLst>
                                    </p:anim>
                                    <p:animEffect transition="in" filter="fade">
                                      <p:cBhvr>
                                        <p:cTn id="68" dur="500"/>
                                        <p:tgtEl>
                                          <p:spTgt spid="72"/>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73"/>
                                        </p:tgtEl>
                                        <p:attrNameLst>
                                          <p:attrName>style.visibility</p:attrName>
                                        </p:attrNameLst>
                                      </p:cBhvr>
                                      <p:to>
                                        <p:strVal val="visible"/>
                                      </p:to>
                                    </p:set>
                                    <p:anim calcmode="lin" valueType="num">
                                      <p:cBhvr>
                                        <p:cTn id="71" dur="500" fill="hold"/>
                                        <p:tgtEl>
                                          <p:spTgt spid="73"/>
                                        </p:tgtEl>
                                        <p:attrNameLst>
                                          <p:attrName>ppt_w</p:attrName>
                                        </p:attrNameLst>
                                      </p:cBhvr>
                                      <p:tavLst>
                                        <p:tav tm="0">
                                          <p:val>
                                            <p:fltVal val="0"/>
                                          </p:val>
                                        </p:tav>
                                        <p:tav tm="100000">
                                          <p:val>
                                            <p:strVal val="#ppt_w"/>
                                          </p:val>
                                        </p:tav>
                                      </p:tavLst>
                                    </p:anim>
                                    <p:anim calcmode="lin" valueType="num">
                                      <p:cBhvr>
                                        <p:cTn id="72" dur="500" fill="hold"/>
                                        <p:tgtEl>
                                          <p:spTgt spid="73"/>
                                        </p:tgtEl>
                                        <p:attrNameLst>
                                          <p:attrName>ppt_h</p:attrName>
                                        </p:attrNameLst>
                                      </p:cBhvr>
                                      <p:tavLst>
                                        <p:tav tm="0">
                                          <p:val>
                                            <p:fltVal val="0"/>
                                          </p:val>
                                        </p:tav>
                                        <p:tav tm="100000">
                                          <p:val>
                                            <p:strVal val="#ppt_h"/>
                                          </p:val>
                                        </p:tav>
                                      </p:tavLst>
                                    </p:anim>
                                    <p:animEffect transition="in" filter="fade">
                                      <p:cBhvr>
                                        <p:cTn id="73" dur="500"/>
                                        <p:tgtEl>
                                          <p:spTgt spid="73"/>
                                        </p:tgtEl>
                                      </p:cBhvr>
                                    </p:animEffect>
                                  </p:childTnLst>
                                </p:cTn>
                              </p:par>
                              <p:par>
                                <p:cTn id="74" presetID="53" presetClass="entr" presetSubtype="16" fill="hold" grpId="0" nodeType="withEffect">
                                  <p:stCondLst>
                                    <p:cond delay="0"/>
                                  </p:stCondLst>
                                  <p:childTnLst>
                                    <p:set>
                                      <p:cBhvr>
                                        <p:cTn id="75" dur="1" fill="hold">
                                          <p:stCondLst>
                                            <p:cond delay="0"/>
                                          </p:stCondLst>
                                        </p:cTn>
                                        <p:tgtEl>
                                          <p:spTgt spid="74"/>
                                        </p:tgtEl>
                                        <p:attrNameLst>
                                          <p:attrName>style.visibility</p:attrName>
                                        </p:attrNameLst>
                                      </p:cBhvr>
                                      <p:to>
                                        <p:strVal val="visible"/>
                                      </p:to>
                                    </p:set>
                                    <p:anim calcmode="lin" valueType="num">
                                      <p:cBhvr>
                                        <p:cTn id="76" dur="500" fill="hold"/>
                                        <p:tgtEl>
                                          <p:spTgt spid="74"/>
                                        </p:tgtEl>
                                        <p:attrNameLst>
                                          <p:attrName>ppt_w</p:attrName>
                                        </p:attrNameLst>
                                      </p:cBhvr>
                                      <p:tavLst>
                                        <p:tav tm="0">
                                          <p:val>
                                            <p:fltVal val="0"/>
                                          </p:val>
                                        </p:tav>
                                        <p:tav tm="100000">
                                          <p:val>
                                            <p:strVal val="#ppt_w"/>
                                          </p:val>
                                        </p:tav>
                                      </p:tavLst>
                                    </p:anim>
                                    <p:anim calcmode="lin" valueType="num">
                                      <p:cBhvr>
                                        <p:cTn id="77" dur="500" fill="hold"/>
                                        <p:tgtEl>
                                          <p:spTgt spid="74"/>
                                        </p:tgtEl>
                                        <p:attrNameLst>
                                          <p:attrName>ppt_h</p:attrName>
                                        </p:attrNameLst>
                                      </p:cBhvr>
                                      <p:tavLst>
                                        <p:tav tm="0">
                                          <p:val>
                                            <p:fltVal val="0"/>
                                          </p:val>
                                        </p:tav>
                                        <p:tav tm="100000">
                                          <p:val>
                                            <p:strVal val="#ppt_h"/>
                                          </p:val>
                                        </p:tav>
                                      </p:tavLst>
                                    </p:anim>
                                    <p:animEffect transition="in" filter="fade">
                                      <p:cBhvr>
                                        <p:cTn id="78" dur="500"/>
                                        <p:tgtEl>
                                          <p:spTgt spid="74"/>
                                        </p:tgtEl>
                                      </p:cBhvr>
                                    </p:animEffect>
                                  </p:childTnLst>
                                </p:cTn>
                              </p:par>
                              <p:par>
                                <p:cTn id="79" presetID="53" presetClass="entr" presetSubtype="16" fill="hold" grpId="0" nodeType="withEffect">
                                  <p:stCondLst>
                                    <p:cond delay="0"/>
                                  </p:stCondLst>
                                  <p:childTnLst>
                                    <p:set>
                                      <p:cBhvr>
                                        <p:cTn id="80" dur="1" fill="hold">
                                          <p:stCondLst>
                                            <p:cond delay="0"/>
                                          </p:stCondLst>
                                        </p:cTn>
                                        <p:tgtEl>
                                          <p:spTgt spid="75"/>
                                        </p:tgtEl>
                                        <p:attrNameLst>
                                          <p:attrName>style.visibility</p:attrName>
                                        </p:attrNameLst>
                                      </p:cBhvr>
                                      <p:to>
                                        <p:strVal val="visible"/>
                                      </p:to>
                                    </p:set>
                                    <p:anim calcmode="lin" valueType="num">
                                      <p:cBhvr>
                                        <p:cTn id="81" dur="500" fill="hold"/>
                                        <p:tgtEl>
                                          <p:spTgt spid="75"/>
                                        </p:tgtEl>
                                        <p:attrNameLst>
                                          <p:attrName>ppt_w</p:attrName>
                                        </p:attrNameLst>
                                      </p:cBhvr>
                                      <p:tavLst>
                                        <p:tav tm="0">
                                          <p:val>
                                            <p:fltVal val="0"/>
                                          </p:val>
                                        </p:tav>
                                        <p:tav tm="100000">
                                          <p:val>
                                            <p:strVal val="#ppt_w"/>
                                          </p:val>
                                        </p:tav>
                                      </p:tavLst>
                                    </p:anim>
                                    <p:anim calcmode="lin" valueType="num">
                                      <p:cBhvr>
                                        <p:cTn id="82" dur="500" fill="hold"/>
                                        <p:tgtEl>
                                          <p:spTgt spid="75"/>
                                        </p:tgtEl>
                                        <p:attrNameLst>
                                          <p:attrName>ppt_h</p:attrName>
                                        </p:attrNameLst>
                                      </p:cBhvr>
                                      <p:tavLst>
                                        <p:tav tm="0">
                                          <p:val>
                                            <p:fltVal val="0"/>
                                          </p:val>
                                        </p:tav>
                                        <p:tav tm="100000">
                                          <p:val>
                                            <p:strVal val="#ppt_h"/>
                                          </p:val>
                                        </p:tav>
                                      </p:tavLst>
                                    </p:anim>
                                    <p:animEffect transition="in" filter="fade">
                                      <p:cBhvr>
                                        <p:cTn id="83" dur="500"/>
                                        <p:tgtEl>
                                          <p:spTgt spid="75"/>
                                        </p:tgtEl>
                                      </p:cBhvr>
                                    </p:animEffect>
                                  </p:childTnLst>
                                </p:cTn>
                              </p:par>
                              <p:par>
                                <p:cTn id="84" presetID="53" presetClass="entr" presetSubtype="16" fill="hold" grpId="0" nodeType="withEffect">
                                  <p:stCondLst>
                                    <p:cond delay="0"/>
                                  </p:stCondLst>
                                  <p:childTnLst>
                                    <p:set>
                                      <p:cBhvr>
                                        <p:cTn id="85" dur="1" fill="hold">
                                          <p:stCondLst>
                                            <p:cond delay="0"/>
                                          </p:stCondLst>
                                        </p:cTn>
                                        <p:tgtEl>
                                          <p:spTgt spid="76"/>
                                        </p:tgtEl>
                                        <p:attrNameLst>
                                          <p:attrName>style.visibility</p:attrName>
                                        </p:attrNameLst>
                                      </p:cBhvr>
                                      <p:to>
                                        <p:strVal val="visible"/>
                                      </p:to>
                                    </p:set>
                                    <p:anim calcmode="lin" valueType="num">
                                      <p:cBhvr>
                                        <p:cTn id="86" dur="500" fill="hold"/>
                                        <p:tgtEl>
                                          <p:spTgt spid="76"/>
                                        </p:tgtEl>
                                        <p:attrNameLst>
                                          <p:attrName>ppt_w</p:attrName>
                                        </p:attrNameLst>
                                      </p:cBhvr>
                                      <p:tavLst>
                                        <p:tav tm="0">
                                          <p:val>
                                            <p:fltVal val="0"/>
                                          </p:val>
                                        </p:tav>
                                        <p:tav tm="100000">
                                          <p:val>
                                            <p:strVal val="#ppt_w"/>
                                          </p:val>
                                        </p:tav>
                                      </p:tavLst>
                                    </p:anim>
                                    <p:anim calcmode="lin" valueType="num">
                                      <p:cBhvr>
                                        <p:cTn id="87" dur="500" fill="hold"/>
                                        <p:tgtEl>
                                          <p:spTgt spid="76"/>
                                        </p:tgtEl>
                                        <p:attrNameLst>
                                          <p:attrName>ppt_h</p:attrName>
                                        </p:attrNameLst>
                                      </p:cBhvr>
                                      <p:tavLst>
                                        <p:tav tm="0">
                                          <p:val>
                                            <p:fltVal val="0"/>
                                          </p:val>
                                        </p:tav>
                                        <p:tav tm="100000">
                                          <p:val>
                                            <p:strVal val="#ppt_h"/>
                                          </p:val>
                                        </p:tav>
                                      </p:tavLst>
                                    </p:anim>
                                    <p:animEffect transition="in" filter="fade">
                                      <p:cBhvr>
                                        <p:cTn id="88" dur="500"/>
                                        <p:tgtEl>
                                          <p:spTgt spid="76"/>
                                        </p:tgtEl>
                                      </p:cBhvr>
                                    </p:animEffect>
                                  </p:childTnLst>
                                </p:cTn>
                              </p:par>
                              <p:par>
                                <p:cTn id="89" presetID="53" presetClass="entr" presetSubtype="16" fill="hold" grpId="0" nodeType="withEffect">
                                  <p:stCondLst>
                                    <p:cond delay="0"/>
                                  </p:stCondLst>
                                  <p:childTnLst>
                                    <p:set>
                                      <p:cBhvr>
                                        <p:cTn id="90" dur="1" fill="hold">
                                          <p:stCondLst>
                                            <p:cond delay="0"/>
                                          </p:stCondLst>
                                        </p:cTn>
                                        <p:tgtEl>
                                          <p:spTgt spid="77"/>
                                        </p:tgtEl>
                                        <p:attrNameLst>
                                          <p:attrName>style.visibility</p:attrName>
                                        </p:attrNameLst>
                                      </p:cBhvr>
                                      <p:to>
                                        <p:strVal val="visible"/>
                                      </p:to>
                                    </p:set>
                                    <p:anim calcmode="lin" valueType="num">
                                      <p:cBhvr>
                                        <p:cTn id="91" dur="500" fill="hold"/>
                                        <p:tgtEl>
                                          <p:spTgt spid="77"/>
                                        </p:tgtEl>
                                        <p:attrNameLst>
                                          <p:attrName>ppt_w</p:attrName>
                                        </p:attrNameLst>
                                      </p:cBhvr>
                                      <p:tavLst>
                                        <p:tav tm="0">
                                          <p:val>
                                            <p:fltVal val="0"/>
                                          </p:val>
                                        </p:tav>
                                        <p:tav tm="100000">
                                          <p:val>
                                            <p:strVal val="#ppt_w"/>
                                          </p:val>
                                        </p:tav>
                                      </p:tavLst>
                                    </p:anim>
                                    <p:anim calcmode="lin" valueType="num">
                                      <p:cBhvr>
                                        <p:cTn id="92" dur="500" fill="hold"/>
                                        <p:tgtEl>
                                          <p:spTgt spid="77"/>
                                        </p:tgtEl>
                                        <p:attrNameLst>
                                          <p:attrName>ppt_h</p:attrName>
                                        </p:attrNameLst>
                                      </p:cBhvr>
                                      <p:tavLst>
                                        <p:tav tm="0">
                                          <p:val>
                                            <p:fltVal val="0"/>
                                          </p:val>
                                        </p:tav>
                                        <p:tav tm="100000">
                                          <p:val>
                                            <p:strVal val="#ppt_h"/>
                                          </p:val>
                                        </p:tav>
                                      </p:tavLst>
                                    </p:anim>
                                    <p:animEffect transition="in" filter="fade">
                                      <p:cBhvr>
                                        <p:cTn id="93" dur="500"/>
                                        <p:tgtEl>
                                          <p:spTgt spid="77"/>
                                        </p:tgtEl>
                                      </p:cBhvr>
                                    </p:animEffect>
                                  </p:childTnLst>
                                </p:cTn>
                              </p:par>
                              <p:par>
                                <p:cTn id="94" presetID="53" presetClass="entr" presetSubtype="16" fill="hold" grpId="0" nodeType="withEffect">
                                  <p:stCondLst>
                                    <p:cond delay="0"/>
                                  </p:stCondLst>
                                  <p:childTnLst>
                                    <p:set>
                                      <p:cBhvr>
                                        <p:cTn id="95" dur="1" fill="hold">
                                          <p:stCondLst>
                                            <p:cond delay="0"/>
                                          </p:stCondLst>
                                        </p:cTn>
                                        <p:tgtEl>
                                          <p:spTgt spid="78"/>
                                        </p:tgtEl>
                                        <p:attrNameLst>
                                          <p:attrName>style.visibility</p:attrName>
                                        </p:attrNameLst>
                                      </p:cBhvr>
                                      <p:to>
                                        <p:strVal val="visible"/>
                                      </p:to>
                                    </p:set>
                                    <p:anim calcmode="lin" valueType="num">
                                      <p:cBhvr>
                                        <p:cTn id="96" dur="500" fill="hold"/>
                                        <p:tgtEl>
                                          <p:spTgt spid="78"/>
                                        </p:tgtEl>
                                        <p:attrNameLst>
                                          <p:attrName>ppt_w</p:attrName>
                                        </p:attrNameLst>
                                      </p:cBhvr>
                                      <p:tavLst>
                                        <p:tav tm="0">
                                          <p:val>
                                            <p:fltVal val="0"/>
                                          </p:val>
                                        </p:tav>
                                        <p:tav tm="100000">
                                          <p:val>
                                            <p:strVal val="#ppt_w"/>
                                          </p:val>
                                        </p:tav>
                                      </p:tavLst>
                                    </p:anim>
                                    <p:anim calcmode="lin" valueType="num">
                                      <p:cBhvr>
                                        <p:cTn id="97" dur="500" fill="hold"/>
                                        <p:tgtEl>
                                          <p:spTgt spid="78"/>
                                        </p:tgtEl>
                                        <p:attrNameLst>
                                          <p:attrName>ppt_h</p:attrName>
                                        </p:attrNameLst>
                                      </p:cBhvr>
                                      <p:tavLst>
                                        <p:tav tm="0">
                                          <p:val>
                                            <p:fltVal val="0"/>
                                          </p:val>
                                        </p:tav>
                                        <p:tav tm="100000">
                                          <p:val>
                                            <p:strVal val="#ppt_h"/>
                                          </p:val>
                                        </p:tav>
                                      </p:tavLst>
                                    </p:anim>
                                    <p:animEffect transition="in" filter="fade">
                                      <p:cBhvr>
                                        <p:cTn id="98" dur="500"/>
                                        <p:tgtEl>
                                          <p:spTgt spid="78"/>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79"/>
                                        </p:tgtEl>
                                        <p:attrNameLst>
                                          <p:attrName>style.visibility</p:attrName>
                                        </p:attrNameLst>
                                      </p:cBhvr>
                                      <p:to>
                                        <p:strVal val="visible"/>
                                      </p:to>
                                    </p:set>
                                    <p:anim calcmode="lin" valueType="num">
                                      <p:cBhvr>
                                        <p:cTn id="101" dur="500" fill="hold"/>
                                        <p:tgtEl>
                                          <p:spTgt spid="79"/>
                                        </p:tgtEl>
                                        <p:attrNameLst>
                                          <p:attrName>ppt_w</p:attrName>
                                        </p:attrNameLst>
                                      </p:cBhvr>
                                      <p:tavLst>
                                        <p:tav tm="0">
                                          <p:val>
                                            <p:fltVal val="0"/>
                                          </p:val>
                                        </p:tav>
                                        <p:tav tm="100000">
                                          <p:val>
                                            <p:strVal val="#ppt_w"/>
                                          </p:val>
                                        </p:tav>
                                      </p:tavLst>
                                    </p:anim>
                                    <p:anim calcmode="lin" valueType="num">
                                      <p:cBhvr>
                                        <p:cTn id="102" dur="500" fill="hold"/>
                                        <p:tgtEl>
                                          <p:spTgt spid="79"/>
                                        </p:tgtEl>
                                        <p:attrNameLst>
                                          <p:attrName>ppt_h</p:attrName>
                                        </p:attrNameLst>
                                      </p:cBhvr>
                                      <p:tavLst>
                                        <p:tav tm="0">
                                          <p:val>
                                            <p:fltVal val="0"/>
                                          </p:val>
                                        </p:tav>
                                        <p:tav tm="100000">
                                          <p:val>
                                            <p:strVal val="#ppt_h"/>
                                          </p:val>
                                        </p:tav>
                                      </p:tavLst>
                                    </p:anim>
                                    <p:animEffect transition="in" filter="fade">
                                      <p:cBhvr>
                                        <p:cTn id="103" dur="500"/>
                                        <p:tgtEl>
                                          <p:spTgt spid="79"/>
                                        </p:tgtEl>
                                      </p:cBhvr>
                                    </p:animEffect>
                                  </p:childTnLst>
                                </p:cTn>
                              </p:par>
                              <p:par>
                                <p:cTn id="104" presetID="53" presetClass="entr" presetSubtype="16" fill="hold" grpId="0" nodeType="withEffect">
                                  <p:stCondLst>
                                    <p:cond delay="0"/>
                                  </p:stCondLst>
                                  <p:childTnLst>
                                    <p:set>
                                      <p:cBhvr>
                                        <p:cTn id="105" dur="1" fill="hold">
                                          <p:stCondLst>
                                            <p:cond delay="0"/>
                                          </p:stCondLst>
                                        </p:cTn>
                                        <p:tgtEl>
                                          <p:spTgt spid="80"/>
                                        </p:tgtEl>
                                        <p:attrNameLst>
                                          <p:attrName>style.visibility</p:attrName>
                                        </p:attrNameLst>
                                      </p:cBhvr>
                                      <p:to>
                                        <p:strVal val="visible"/>
                                      </p:to>
                                    </p:set>
                                    <p:anim calcmode="lin" valueType="num">
                                      <p:cBhvr>
                                        <p:cTn id="106" dur="500" fill="hold"/>
                                        <p:tgtEl>
                                          <p:spTgt spid="80"/>
                                        </p:tgtEl>
                                        <p:attrNameLst>
                                          <p:attrName>ppt_w</p:attrName>
                                        </p:attrNameLst>
                                      </p:cBhvr>
                                      <p:tavLst>
                                        <p:tav tm="0">
                                          <p:val>
                                            <p:fltVal val="0"/>
                                          </p:val>
                                        </p:tav>
                                        <p:tav tm="100000">
                                          <p:val>
                                            <p:strVal val="#ppt_w"/>
                                          </p:val>
                                        </p:tav>
                                      </p:tavLst>
                                    </p:anim>
                                    <p:anim calcmode="lin" valueType="num">
                                      <p:cBhvr>
                                        <p:cTn id="107" dur="500" fill="hold"/>
                                        <p:tgtEl>
                                          <p:spTgt spid="80"/>
                                        </p:tgtEl>
                                        <p:attrNameLst>
                                          <p:attrName>ppt_h</p:attrName>
                                        </p:attrNameLst>
                                      </p:cBhvr>
                                      <p:tavLst>
                                        <p:tav tm="0">
                                          <p:val>
                                            <p:fltVal val="0"/>
                                          </p:val>
                                        </p:tav>
                                        <p:tav tm="100000">
                                          <p:val>
                                            <p:strVal val="#ppt_h"/>
                                          </p:val>
                                        </p:tav>
                                      </p:tavLst>
                                    </p:anim>
                                    <p:animEffect transition="in" filter="fade">
                                      <p:cBhvr>
                                        <p:cTn id="108" dur="500"/>
                                        <p:tgtEl>
                                          <p:spTgt spid="80"/>
                                        </p:tgtEl>
                                      </p:cBhvr>
                                    </p:animEffect>
                                  </p:childTnLst>
                                </p:cTn>
                              </p:par>
                              <p:par>
                                <p:cTn id="109" presetID="53" presetClass="entr" presetSubtype="16" fill="hold" grpId="0" nodeType="withEffect">
                                  <p:stCondLst>
                                    <p:cond delay="0"/>
                                  </p:stCondLst>
                                  <p:childTnLst>
                                    <p:set>
                                      <p:cBhvr>
                                        <p:cTn id="110" dur="1" fill="hold">
                                          <p:stCondLst>
                                            <p:cond delay="0"/>
                                          </p:stCondLst>
                                        </p:cTn>
                                        <p:tgtEl>
                                          <p:spTgt spid="81"/>
                                        </p:tgtEl>
                                        <p:attrNameLst>
                                          <p:attrName>style.visibility</p:attrName>
                                        </p:attrNameLst>
                                      </p:cBhvr>
                                      <p:to>
                                        <p:strVal val="visible"/>
                                      </p:to>
                                    </p:set>
                                    <p:anim calcmode="lin" valueType="num">
                                      <p:cBhvr>
                                        <p:cTn id="111" dur="500" fill="hold"/>
                                        <p:tgtEl>
                                          <p:spTgt spid="81"/>
                                        </p:tgtEl>
                                        <p:attrNameLst>
                                          <p:attrName>ppt_w</p:attrName>
                                        </p:attrNameLst>
                                      </p:cBhvr>
                                      <p:tavLst>
                                        <p:tav tm="0">
                                          <p:val>
                                            <p:fltVal val="0"/>
                                          </p:val>
                                        </p:tav>
                                        <p:tav tm="100000">
                                          <p:val>
                                            <p:strVal val="#ppt_w"/>
                                          </p:val>
                                        </p:tav>
                                      </p:tavLst>
                                    </p:anim>
                                    <p:anim calcmode="lin" valueType="num">
                                      <p:cBhvr>
                                        <p:cTn id="112" dur="500" fill="hold"/>
                                        <p:tgtEl>
                                          <p:spTgt spid="81"/>
                                        </p:tgtEl>
                                        <p:attrNameLst>
                                          <p:attrName>ppt_h</p:attrName>
                                        </p:attrNameLst>
                                      </p:cBhvr>
                                      <p:tavLst>
                                        <p:tav tm="0">
                                          <p:val>
                                            <p:fltVal val="0"/>
                                          </p:val>
                                        </p:tav>
                                        <p:tav tm="100000">
                                          <p:val>
                                            <p:strVal val="#ppt_h"/>
                                          </p:val>
                                        </p:tav>
                                      </p:tavLst>
                                    </p:anim>
                                    <p:animEffect transition="in" filter="fade">
                                      <p:cBhvr>
                                        <p:cTn id="113" dur="500"/>
                                        <p:tgtEl>
                                          <p:spTgt spid="81"/>
                                        </p:tgtEl>
                                      </p:cBhvr>
                                    </p:animEffect>
                                  </p:childTnLst>
                                </p:cTn>
                              </p:par>
                              <p:par>
                                <p:cTn id="114" presetID="53" presetClass="entr" presetSubtype="16" fill="hold" grpId="0" nodeType="withEffect">
                                  <p:stCondLst>
                                    <p:cond delay="0"/>
                                  </p:stCondLst>
                                  <p:childTnLst>
                                    <p:set>
                                      <p:cBhvr>
                                        <p:cTn id="115" dur="1" fill="hold">
                                          <p:stCondLst>
                                            <p:cond delay="0"/>
                                          </p:stCondLst>
                                        </p:cTn>
                                        <p:tgtEl>
                                          <p:spTgt spid="82"/>
                                        </p:tgtEl>
                                        <p:attrNameLst>
                                          <p:attrName>style.visibility</p:attrName>
                                        </p:attrNameLst>
                                      </p:cBhvr>
                                      <p:to>
                                        <p:strVal val="visible"/>
                                      </p:to>
                                    </p:set>
                                    <p:anim calcmode="lin" valueType="num">
                                      <p:cBhvr>
                                        <p:cTn id="116" dur="500" fill="hold"/>
                                        <p:tgtEl>
                                          <p:spTgt spid="82"/>
                                        </p:tgtEl>
                                        <p:attrNameLst>
                                          <p:attrName>ppt_w</p:attrName>
                                        </p:attrNameLst>
                                      </p:cBhvr>
                                      <p:tavLst>
                                        <p:tav tm="0">
                                          <p:val>
                                            <p:fltVal val="0"/>
                                          </p:val>
                                        </p:tav>
                                        <p:tav tm="100000">
                                          <p:val>
                                            <p:strVal val="#ppt_w"/>
                                          </p:val>
                                        </p:tav>
                                      </p:tavLst>
                                    </p:anim>
                                    <p:anim calcmode="lin" valueType="num">
                                      <p:cBhvr>
                                        <p:cTn id="117" dur="500" fill="hold"/>
                                        <p:tgtEl>
                                          <p:spTgt spid="82"/>
                                        </p:tgtEl>
                                        <p:attrNameLst>
                                          <p:attrName>ppt_h</p:attrName>
                                        </p:attrNameLst>
                                      </p:cBhvr>
                                      <p:tavLst>
                                        <p:tav tm="0">
                                          <p:val>
                                            <p:fltVal val="0"/>
                                          </p:val>
                                        </p:tav>
                                        <p:tav tm="100000">
                                          <p:val>
                                            <p:strVal val="#ppt_h"/>
                                          </p:val>
                                        </p:tav>
                                      </p:tavLst>
                                    </p:anim>
                                    <p:animEffect transition="in" filter="fade">
                                      <p:cBhvr>
                                        <p:cTn id="118" dur="500"/>
                                        <p:tgtEl>
                                          <p:spTgt spid="82"/>
                                        </p:tgtEl>
                                      </p:cBhvr>
                                    </p:animEffect>
                                  </p:childTnLst>
                                </p:cTn>
                              </p:par>
                              <p:par>
                                <p:cTn id="119" presetID="53" presetClass="entr" presetSubtype="16" fill="hold" grpId="0" nodeType="withEffect">
                                  <p:stCondLst>
                                    <p:cond delay="0"/>
                                  </p:stCondLst>
                                  <p:childTnLst>
                                    <p:set>
                                      <p:cBhvr>
                                        <p:cTn id="120" dur="1" fill="hold">
                                          <p:stCondLst>
                                            <p:cond delay="0"/>
                                          </p:stCondLst>
                                        </p:cTn>
                                        <p:tgtEl>
                                          <p:spTgt spid="83"/>
                                        </p:tgtEl>
                                        <p:attrNameLst>
                                          <p:attrName>style.visibility</p:attrName>
                                        </p:attrNameLst>
                                      </p:cBhvr>
                                      <p:to>
                                        <p:strVal val="visible"/>
                                      </p:to>
                                    </p:set>
                                    <p:anim calcmode="lin" valueType="num">
                                      <p:cBhvr>
                                        <p:cTn id="121" dur="500" fill="hold"/>
                                        <p:tgtEl>
                                          <p:spTgt spid="83"/>
                                        </p:tgtEl>
                                        <p:attrNameLst>
                                          <p:attrName>ppt_w</p:attrName>
                                        </p:attrNameLst>
                                      </p:cBhvr>
                                      <p:tavLst>
                                        <p:tav tm="0">
                                          <p:val>
                                            <p:fltVal val="0"/>
                                          </p:val>
                                        </p:tav>
                                        <p:tav tm="100000">
                                          <p:val>
                                            <p:strVal val="#ppt_w"/>
                                          </p:val>
                                        </p:tav>
                                      </p:tavLst>
                                    </p:anim>
                                    <p:anim calcmode="lin" valueType="num">
                                      <p:cBhvr>
                                        <p:cTn id="122" dur="500" fill="hold"/>
                                        <p:tgtEl>
                                          <p:spTgt spid="83"/>
                                        </p:tgtEl>
                                        <p:attrNameLst>
                                          <p:attrName>ppt_h</p:attrName>
                                        </p:attrNameLst>
                                      </p:cBhvr>
                                      <p:tavLst>
                                        <p:tav tm="0">
                                          <p:val>
                                            <p:fltVal val="0"/>
                                          </p:val>
                                        </p:tav>
                                        <p:tav tm="100000">
                                          <p:val>
                                            <p:strVal val="#ppt_h"/>
                                          </p:val>
                                        </p:tav>
                                      </p:tavLst>
                                    </p:anim>
                                    <p:animEffect transition="in" filter="fade">
                                      <p:cBhvr>
                                        <p:cTn id="123" dur="500"/>
                                        <p:tgtEl>
                                          <p:spTgt spid="83"/>
                                        </p:tgtEl>
                                      </p:cBhvr>
                                    </p:animEffect>
                                  </p:childTnLst>
                                </p:cTn>
                              </p:par>
                              <p:par>
                                <p:cTn id="124" presetID="53" presetClass="entr" presetSubtype="16" fill="hold" grpId="0" nodeType="withEffect">
                                  <p:stCondLst>
                                    <p:cond delay="0"/>
                                  </p:stCondLst>
                                  <p:childTnLst>
                                    <p:set>
                                      <p:cBhvr>
                                        <p:cTn id="125" dur="1" fill="hold">
                                          <p:stCondLst>
                                            <p:cond delay="0"/>
                                          </p:stCondLst>
                                        </p:cTn>
                                        <p:tgtEl>
                                          <p:spTgt spid="84"/>
                                        </p:tgtEl>
                                        <p:attrNameLst>
                                          <p:attrName>style.visibility</p:attrName>
                                        </p:attrNameLst>
                                      </p:cBhvr>
                                      <p:to>
                                        <p:strVal val="visible"/>
                                      </p:to>
                                    </p:set>
                                    <p:anim calcmode="lin" valueType="num">
                                      <p:cBhvr>
                                        <p:cTn id="126" dur="500" fill="hold"/>
                                        <p:tgtEl>
                                          <p:spTgt spid="84"/>
                                        </p:tgtEl>
                                        <p:attrNameLst>
                                          <p:attrName>ppt_w</p:attrName>
                                        </p:attrNameLst>
                                      </p:cBhvr>
                                      <p:tavLst>
                                        <p:tav tm="0">
                                          <p:val>
                                            <p:fltVal val="0"/>
                                          </p:val>
                                        </p:tav>
                                        <p:tav tm="100000">
                                          <p:val>
                                            <p:strVal val="#ppt_w"/>
                                          </p:val>
                                        </p:tav>
                                      </p:tavLst>
                                    </p:anim>
                                    <p:anim calcmode="lin" valueType="num">
                                      <p:cBhvr>
                                        <p:cTn id="127" dur="500" fill="hold"/>
                                        <p:tgtEl>
                                          <p:spTgt spid="84"/>
                                        </p:tgtEl>
                                        <p:attrNameLst>
                                          <p:attrName>ppt_h</p:attrName>
                                        </p:attrNameLst>
                                      </p:cBhvr>
                                      <p:tavLst>
                                        <p:tav tm="0">
                                          <p:val>
                                            <p:fltVal val="0"/>
                                          </p:val>
                                        </p:tav>
                                        <p:tav tm="100000">
                                          <p:val>
                                            <p:strVal val="#ppt_h"/>
                                          </p:val>
                                        </p:tav>
                                      </p:tavLst>
                                    </p:anim>
                                    <p:animEffect transition="in" filter="fade">
                                      <p:cBhvr>
                                        <p:cTn id="128" dur="500"/>
                                        <p:tgtEl>
                                          <p:spTgt spid="84"/>
                                        </p:tgtEl>
                                      </p:cBhvr>
                                    </p:animEffect>
                                  </p:childTnLst>
                                </p:cTn>
                              </p:par>
                              <p:par>
                                <p:cTn id="129" presetID="53" presetClass="entr" presetSubtype="16" fill="hold" grpId="0" nodeType="withEffect">
                                  <p:stCondLst>
                                    <p:cond delay="0"/>
                                  </p:stCondLst>
                                  <p:childTnLst>
                                    <p:set>
                                      <p:cBhvr>
                                        <p:cTn id="130" dur="1" fill="hold">
                                          <p:stCondLst>
                                            <p:cond delay="0"/>
                                          </p:stCondLst>
                                        </p:cTn>
                                        <p:tgtEl>
                                          <p:spTgt spid="85"/>
                                        </p:tgtEl>
                                        <p:attrNameLst>
                                          <p:attrName>style.visibility</p:attrName>
                                        </p:attrNameLst>
                                      </p:cBhvr>
                                      <p:to>
                                        <p:strVal val="visible"/>
                                      </p:to>
                                    </p:set>
                                    <p:anim calcmode="lin" valueType="num">
                                      <p:cBhvr>
                                        <p:cTn id="131" dur="500" fill="hold"/>
                                        <p:tgtEl>
                                          <p:spTgt spid="85"/>
                                        </p:tgtEl>
                                        <p:attrNameLst>
                                          <p:attrName>ppt_w</p:attrName>
                                        </p:attrNameLst>
                                      </p:cBhvr>
                                      <p:tavLst>
                                        <p:tav tm="0">
                                          <p:val>
                                            <p:fltVal val="0"/>
                                          </p:val>
                                        </p:tav>
                                        <p:tav tm="100000">
                                          <p:val>
                                            <p:strVal val="#ppt_w"/>
                                          </p:val>
                                        </p:tav>
                                      </p:tavLst>
                                    </p:anim>
                                    <p:anim calcmode="lin" valueType="num">
                                      <p:cBhvr>
                                        <p:cTn id="132" dur="500" fill="hold"/>
                                        <p:tgtEl>
                                          <p:spTgt spid="85"/>
                                        </p:tgtEl>
                                        <p:attrNameLst>
                                          <p:attrName>ppt_h</p:attrName>
                                        </p:attrNameLst>
                                      </p:cBhvr>
                                      <p:tavLst>
                                        <p:tav tm="0">
                                          <p:val>
                                            <p:fltVal val="0"/>
                                          </p:val>
                                        </p:tav>
                                        <p:tav tm="100000">
                                          <p:val>
                                            <p:strVal val="#ppt_h"/>
                                          </p:val>
                                        </p:tav>
                                      </p:tavLst>
                                    </p:anim>
                                    <p:animEffect transition="in" filter="fade">
                                      <p:cBhvr>
                                        <p:cTn id="133" dur="500"/>
                                        <p:tgtEl>
                                          <p:spTgt spid="85"/>
                                        </p:tgtEl>
                                      </p:cBhvr>
                                    </p:animEffec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87"/>
                                        </p:tgtEl>
                                        <p:attrNameLst>
                                          <p:attrName>style.visibility</p:attrName>
                                        </p:attrNameLst>
                                      </p:cBhvr>
                                      <p:to>
                                        <p:strVal val="visible"/>
                                      </p:to>
                                    </p:set>
                                    <p:animEffect transition="in" filter="fade">
                                      <p:cBhvr>
                                        <p:cTn id="137" dur="500"/>
                                        <p:tgtEl>
                                          <p:spTgt spid="87"/>
                                        </p:tgtEl>
                                      </p:cBhvr>
                                    </p:animEffect>
                                  </p:childTnLst>
                                </p:cTn>
                              </p:par>
                            </p:childTnLst>
                          </p:cTn>
                        </p:par>
                        <p:par>
                          <p:cTn id="138" fill="hold">
                            <p:stCondLst>
                              <p:cond delay="1500"/>
                            </p:stCondLst>
                            <p:childTnLst>
                              <p:par>
                                <p:cTn id="139" presetID="53" presetClass="entr" presetSubtype="16" fill="hold" nodeType="afterEffect">
                                  <p:stCondLst>
                                    <p:cond delay="0"/>
                                  </p:stCondLst>
                                  <p:childTnLst>
                                    <p:set>
                                      <p:cBhvr>
                                        <p:cTn id="140" dur="1" fill="hold">
                                          <p:stCondLst>
                                            <p:cond delay="0"/>
                                          </p:stCondLst>
                                        </p:cTn>
                                        <p:tgtEl>
                                          <p:spTgt spid="89"/>
                                        </p:tgtEl>
                                        <p:attrNameLst>
                                          <p:attrName>style.visibility</p:attrName>
                                        </p:attrNameLst>
                                      </p:cBhvr>
                                      <p:to>
                                        <p:strVal val="visible"/>
                                      </p:to>
                                    </p:set>
                                    <p:anim calcmode="lin" valueType="num">
                                      <p:cBhvr>
                                        <p:cTn id="141" dur="500" fill="hold"/>
                                        <p:tgtEl>
                                          <p:spTgt spid="89"/>
                                        </p:tgtEl>
                                        <p:attrNameLst>
                                          <p:attrName>ppt_w</p:attrName>
                                        </p:attrNameLst>
                                      </p:cBhvr>
                                      <p:tavLst>
                                        <p:tav tm="0">
                                          <p:val>
                                            <p:fltVal val="0"/>
                                          </p:val>
                                        </p:tav>
                                        <p:tav tm="100000">
                                          <p:val>
                                            <p:strVal val="#ppt_w"/>
                                          </p:val>
                                        </p:tav>
                                      </p:tavLst>
                                    </p:anim>
                                    <p:anim calcmode="lin" valueType="num">
                                      <p:cBhvr>
                                        <p:cTn id="142" dur="500" fill="hold"/>
                                        <p:tgtEl>
                                          <p:spTgt spid="89"/>
                                        </p:tgtEl>
                                        <p:attrNameLst>
                                          <p:attrName>ppt_h</p:attrName>
                                        </p:attrNameLst>
                                      </p:cBhvr>
                                      <p:tavLst>
                                        <p:tav tm="0">
                                          <p:val>
                                            <p:fltVal val="0"/>
                                          </p:val>
                                        </p:tav>
                                        <p:tav tm="100000">
                                          <p:val>
                                            <p:strVal val="#ppt_h"/>
                                          </p:val>
                                        </p:tav>
                                      </p:tavLst>
                                    </p:anim>
                                    <p:animEffect transition="in" filter="fade">
                                      <p:cBhvr>
                                        <p:cTn id="143"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0" grpId="0" animBg="1"/>
      <p:bldP spid="51"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La nécessité de prototyper </a:t>
            </a:r>
            <a:endParaRPr lang="fr-FR" dirty="0"/>
          </a:p>
        </p:txBody>
      </p:sp>
      <p:sp>
        <p:nvSpPr>
          <p:cNvPr id="4" name="Espace réservé du contenu 3"/>
          <p:cNvSpPr>
            <a:spLocks noGrp="1"/>
          </p:cNvSpPr>
          <p:nvPr>
            <p:ph type="body" sz="quarter" idx="13"/>
          </p:nvPr>
        </p:nvSpPr>
        <p:spPr>
          <a:xfrm>
            <a:off x="845760" y="1341975"/>
            <a:ext cx="10895135" cy="4928196"/>
          </a:xfrm>
        </p:spPr>
        <p:txBody>
          <a:bodyPr>
            <a:normAutofit/>
          </a:bodyPr>
          <a:lstStyle/>
          <a:p>
            <a:r>
              <a:rPr lang="fr-FR" sz="2800" dirty="0" smtClean="0"/>
              <a:t>Cout d’un oubli ou d’un bug coté cloud : </a:t>
            </a:r>
            <a:br>
              <a:rPr lang="fr-FR" sz="2800" dirty="0" smtClean="0"/>
            </a:br>
            <a:r>
              <a:rPr lang="en-US" sz="2800" dirty="0" err="1" smtClean="0"/>
              <a:t>corriger</a:t>
            </a:r>
            <a:r>
              <a:rPr lang="en-US" sz="2800" dirty="0" smtClean="0"/>
              <a:t> le bug , </a:t>
            </a:r>
            <a:r>
              <a:rPr lang="en-US" sz="2800" dirty="0"/>
              <a:t>commit, push, build, </a:t>
            </a:r>
            <a:r>
              <a:rPr lang="en-US" sz="2800" dirty="0" smtClean="0"/>
              <a:t>deploy ( </a:t>
            </a:r>
            <a:r>
              <a:rPr lang="en-US" sz="2800" dirty="0" err="1" smtClean="0"/>
              <a:t>cout</a:t>
            </a:r>
            <a:r>
              <a:rPr lang="en-US" sz="2800" dirty="0" smtClean="0"/>
              <a:t> : 3 </a:t>
            </a:r>
            <a:r>
              <a:rPr lang="en-US" sz="2800" dirty="0" err="1" smtClean="0"/>
              <a:t>clics</a:t>
            </a:r>
            <a:r>
              <a:rPr lang="en-US" sz="2800" dirty="0" smtClean="0"/>
              <a:t> et un café) </a:t>
            </a:r>
          </a:p>
          <a:p>
            <a:endParaRPr lang="en-US" sz="2800" dirty="0"/>
          </a:p>
          <a:p>
            <a:r>
              <a:rPr lang="en-US" sz="2800" dirty="0" err="1" smtClean="0"/>
              <a:t>Cout</a:t>
            </a:r>
            <a:r>
              <a:rPr lang="en-US" sz="2800" dirty="0" smtClean="0"/>
              <a:t> d’un </a:t>
            </a:r>
            <a:r>
              <a:rPr lang="en-US" sz="2800" dirty="0" err="1" smtClean="0"/>
              <a:t>oubli</a:t>
            </a:r>
            <a:r>
              <a:rPr lang="en-US" sz="2800" dirty="0" smtClean="0"/>
              <a:t> </a:t>
            </a:r>
            <a:r>
              <a:rPr lang="en-US" sz="2800" dirty="0" err="1" smtClean="0"/>
              <a:t>ou</a:t>
            </a:r>
            <a:r>
              <a:rPr lang="en-US" sz="2800" dirty="0" smtClean="0"/>
              <a:t> d’un bug </a:t>
            </a:r>
            <a:r>
              <a:rPr lang="en-US" sz="2800" dirty="0" err="1" smtClean="0"/>
              <a:t>coté</a:t>
            </a:r>
            <a:r>
              <a:rPr lang="en-US" sz="2800" dirty="0" smtClean="0"/>
              <a:t> device : </a:t>
            </a:r>
            <a:br>
              <a:rPr lang="en-US" sz="2800" dirty="0" smtClean="0"/>
            </a:br>
            <a:r>
              <a:rPr lang="en-US" sz="2800" dirty="0" smtClean="0"/>
              <a:t>Hardware : </a:t>
            </a:r>
            <a:r>
              <a:rPr lang="en-US" sz="2800" dirty="0" err="1" smtClean="0"/>
              <a:t>refaire</a:t>
            </a:r>
            <a:r>
              <a:rPr lang="en-US" sz="2800" dirty="0" smtClean="0"/>
              <a:t> </a:t>
            </a:r>
            <a:r>
              <a:rPr lang="en-US" sz="2800" dirty="0" err="1" smtClean="0"/>
              <a:t>tous</a:t>
            </a:r>
            <a:r>
              <a:rPr lang="en-US" sz="2800" dirty="0" smtClean="0"/>
              <a:t> les devices </a:t>
            </a:r>
            <a:br>
              <a:rPr lang="en-US" sz="2800" dirty="0" smtClean="0"/>
            </a:br>
            <a:r>
              <a:rPr lang="en-US" sz="2800" dirty="0" smtClean="0"/>
              <a:t>Software : </a:t>
            </a:r>
            <a:r>
              <a:rPr lang="en-US" sz="2800" dirty="0" err="1" smtClean="0"/>
              <a:t>Mise</a:t>
            </a:r>
            <a:r>
              <a:rPr lang="en-US" sz="2800" dirty="0" smtClean="0"/>
              <a:t> à jour de firmware (</a:t>
            </a:r>
            <a:r>
              <a:rPr lang="en-US" sz="2800" dirty="0" err="1" smtClean="0"/>
              <a:t>est</a:t>
            </a:r>
            <a:r>
              <a:rPr lang="en-US" sz="2800" dirty="0" smtClean="0"/>
              <a:t> </a:t>
            </a:r>
            <a:r>
              <a:rPr lang="en-US" sz="2800" dirty="0" err="1" smtClean="0"/>
              <a:t>ce</a:t>
            </a:r>
            <a:r>
              <a:rPr lang="en-US" sz="2800" dirty="0" smtClean="0"/>
              <a:t> </a:t>
            </a:r>
            <a:r>
              <a:rPr lang="en-US" sz="2800" dirty="0" err="1" smtClean="0"/>
              <a:t>que</a:t>
            </a:r>
            <a:r>
              <a:rPr lang="en-US" sz="2800" dirty="0" smtClean="0"/>
              <a:t> </a:t>
            </a:r>
            <a:r>
              <a:rPr lang="en-US" sz="2800" dirty="0" err="1" smtClean="0"/>
              <a:t>c’est</a:t>
            </a:r>
            <a:r>
              <a:rPr lang="en-US" sz="2800" dirty="0" smtClean="0"/>
              <a:t> </a:t>
            </a:r>
            <a:r>
              <a:rPr lang="en-US" sz="2800" dirty="0" err="1" smtClean="0"/>
              <a:t>prévu</a:t>
            </a:r>
            <a:r>
              <a:rPr lang="en-US" sz="2800" dirty="0" smtClean="0"/>
              <a:t>) </a:t>
            </a:r>
            <a:br>
              <a:rPr lang="en-US" sz="2800" dirty="0" smtClean="0"/>
            </a:br>
            <a:r>
              <a:rPr lang="en-US" sz="2800" dirty="0" err="1" smtClean="0"/>
              <a:t>Dans</a:t>
            </a:r>
            <a:r>
              <a:rPr lang="en-US" sz="2800" dirty="0" smtClean="0"/>
              <a:t> les 2 </a:t>
            </a:r>
            <a:r>
              <a:rPr lang="en-US" sz="2800" dirty="0" err="1" smtClean="0"/>
              <a:t>cas</a:t>
            </a:r>
            <a:r>
              <a:rPr lang="en-US" sz="2800" dirty="0" smtClean="0"/>
              <a:t> </a:t>
            </a:r>
            <a:r>
              <a:rPr lang="en-US" sz="2800" dirty="0" err="1" smtClean="0"/>
              <a:t>trés</a:t>
            </a:r>
            <a:r>
              <a:rPr lang="en-US" sz="2800" dirty="0" smtClean="0"/>
              <a:t> </a:t>
            </a:r>
            <a:r>
              <a:rPr lang="en-US" sz="2800" dirty="0" err="1" smtClean="0"/>
              <a:t>cher</a:t>
            </a:r>
            <a:r>
              <a:rPr lang="en-US" sz="2800" dirty="0" smtClean="0"/>
              <a:t> $$$</a:t>
            </a:r>
          </a:p>
          <a:p>
            <a:pPr marL="0" indent="0">
              <a:buNone/>
            </a:pPr>
            <a:r>
              <a:rPr lang="fr-FR" sz="2800" dirty="0" smtClean="0"/>
              <a:t/>
            </a:r>
            <a:br>
              <a:rPr lang="fr-FR" sz="2800" dirty="0" smtClean="0"/>
            </a:br>
            <a:endParaRPr lang="en-US" sz="2800" dirty="0" smtClean="0"/>
          </a:p>
        </p:txBody>
      </p:sp>
    </p:spTree>
    <p:extLst>
      <p:ext uri="{BB962C8B-B14F-4D97-AF65-F5344CB8AC3E}">
        <p14:creationId xmlns:p14="http://schemas.microsoft.com/office/powerpoint/2010/main" val="28915338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normAutofit fontScale="90000"/>
          </a:bodyPr>
          <a:lstStyle/>
          <a:p>
            <a:r>
              <a:rPr lang="fr-FR" dirty="0" smtClean="0"/>
              <a:t>Choisir une plateforme de prototypage</a:t>
            </a:r>
            <a:r>
              <a:rPr lang="fr-FR" dirty="0">
                <a:gradFill>
                  <a:gsLst>
                    <a:gs pos="1250">
                      <a:srgbClr val="5C2D91"/>
                    </a:gs>
                    <a:gs pos="99000">
                      <a:srgbClr val="5C2D91"/>
                    </a:gs>
                  </a:gsLst>
                  <a:lin ang="5400000" scaled="0"/>
                </a:gradFill>
              </a:rPr>
              <a:t/>
            </a:r>
            <a:br>
              <a:rPr lang="fr-FR" dirty="0">
                <a:gradFill>
                  <a:gsLst>
                    <a:gs pos="1250">
                      <a:srgbClr val="5C2D91"/>
                    </a:gs>
                    <a:gs pos="99000">
                      <a:srgbClr val="5C2D91"/>
                    </a:gs>
                  </a:gsLst>
                  <a:lin ang="5400000" scaled="0"/>
                </a:gradFill>
              </a:rPr>
            </a:br>
            <a:endParaRPr lang="fr-FR" dirty="0"/>
          </a:p>
        </p:txBody>
      </p:sp>
      <p:sp>
        <p:nvSpPr>
          <p:cNvPr id="2" name="Espace réservé du texte 1"/>
          <p:cNvSpPr>
            <a:spLocks noGrp="1"/>
          </p:cNvSpPr>
          <p:nvPr>
            <p:ph type="body" sz="quarter" idx="13"/>
          </p:nvPr>
        </p:nvSpPr>
        <p:spPr/>
        <p:txBody>
          <a:bodyPr/>
          <a:lstStyle/>
          <a:p>
            <a:endParaRPr lang="fr-FR"/>
          </a:p>
        </p:txBody>
      </p:sp>
      <p:sp>
        <p:nvSpPr>
          <p:cNvPr id="15" name="Espace réservé du texte 2"/>
          <p:cNvSpPr txBox="1">
            <a:spLocks/>
          </p:cNvSpPr>
          <p:nvPr/>
        </p:nvSpPr>
        <p:spPr>
          <a:xfrm>
            <a:off x="9098557" y="1468997"/>
            <a:ext cx="11887200" cy="20251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fr-FR" smtClean="0">
                <a:gradFill>
                  <a:gsLst>
                    <a:gs pos="1250">
                      <a:srgbClr val="505050"/>
                    </a:gs>
                    <a:gs pos="100000">
                      <a:srgbClr val="505050"/>
                    </a:gs>
                  </a:gsLst>
                  <a:lin ang="5400000" scaled="0"/>
                </a:gradFill>
              </a:rPr>
              <a:t>Gadgeteer</a:t>
            </a:r>
          </a:p>
          <a:p>
            <a:pPr>
              <a:defRPr/>
            </a:pPr>
            <a:r>
              <a:rPr lang="fr-FR" smtClean="0">
                <a:gradFill>
                  <a:gsLst>
                    <a:gs pos="1250">
                      <a:srgbClr val="505050"/>
                    </a:gs>
                    <a:gs pos="100000">
                      <a:srgbClr val="505050"/>
                    </a:gs>
                  </a:gsLst>
                  <a:lin ang="5400000" scaled="0"/>
                </a:gradFill>
              </a:rPr>
              <a:t>Arduino</a:t>
            </a:r>
          </a:p>
          <a:p>
            <a:pPr>
              <a:defRPr/>
            </a:pPr>
            <a:r>
              <a:rPr lang="fr-FR" smtClean="0">
                <a:gradFill>
                  <a:gsLst>
                    <a:gs pos="1250">
                      <a:srgbClr val="505050"/>
                    </a:gs>
                    <a:gs pos="100000">
                      <a:srgbClr val="505050"/>
                    </a:gs>
                  </a:gsLst>
                  <a:lin ang="5400000" scaled="0"/>
                </a:gradFill>
              </a:rPr>
              <a:t>Netduino</a:t>
            </a:r>
          </a:p>
          <a:p>
            <a:pPr>
              <a:defRPr/>
            </a:pPr>
            <a:r>
              <a:rPr lang="fr-FR" smtClean="0">
                <a:gradFill>
                  <a:gsLst>
                    <a:gs pos="1250">
                      <a:srgbClr val="505050"/>
                    </a:gs>
                    <a:gs pos="100000">
                      <a:srgbClr val="505050"/>
                    </a:gs>
                  </a:gsLst>
                  <a:lin ang="5400000" scaled="0"/>
                </a:gradFill>
              </a:rPr>
              <a:t>Galileo</a:t>
            </a:r>
          </a:p>
          <a:p>
            <a:pPr>
              <a:defRPr/>
            </a:pPr>
            <a:r>
              <a:rPr lang="fr-FR" smtClean="0">
                <a:gradFill>
                  <a:gsLst>
                    <a:gs pos="1250">
                      <a:srgbClr val="505050"/>
                    </a:gs>
                    <a:gs pos="100000">
                      <a:srgbClr val="505050"/>
                    </a:gs>
                  </a:gsLst>
                  <a:lin ang="5400000" scaled="0"/>
                </a:gradFill>
              </a:rPr>
              <a:t>Kit Grove</a:t>
            </a:r>
          </a:p>
          <a:p>
            <a:pPr>
              <a:defRPr/>
            </a:pPr>
            <a:r>
              <a:rPr lang="fr-FR" smtClean="0">
                <a:gradFill>
                  <a:gsLst>
                    <a:gs pos="1250">
                      <a:srgbClr val="505050"/>
                    </a:gs>
                    <a:gs pos="100000">
                      <a:srgbClr val="505050"/>
                    </a:gs>
                  </a:gsLst>
                  <a:lin ang="5400000" scaled="0"/>
                </a:gradFill>
              </a:rPr>
              <a:t>Raspberry Pi</a:t>
            </a:r>
          </a:p>
          <a:p>
            <a:pPr>
              <a:defRPr/>
            </a:pPr>
            <a:r>
              <a:rPr lang="fr-FR" smtClean="0">
                <a:gradFill>
                  <a:gsLst>
                    <a:gs pos="1250">
                      <a:srgbClr val="505050"/>
                    </a:gs>
                    <a:gs pos="100000">
                      <a:srgbClr val="505050"/>
                    </a:gs>
                  </a:gsLst>
                  <a:lin ang="5400000" scaled="0"/>
                </a:gradFill>
              </a:rPr>
              <a:t>Phidget</a:t>
            </a:r>
            <a:endParaRPr lang="fr-FR" dirty="0">
              <a:solidFill>
                <a:srgbClr val="FF0000"/>
              </a:solidFill>
            </a:endParaRPr>
          </a:p>
        </p:txBody>
      </p:sp>
      <p:pic>
        <p:nvPicPr>
          <p:cNvPr id="16" name="Imag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1573" y="1625054"/>
            <a:ext cx="2838815" cy="2129111"/>
          </a:xfrm>
          <a:prstGeom prst="rect">
            <a:avLst/>
          </a:prstGeom>
        </p:spPr>
      </p:pic>
      <p:pic>
        <p:nvPicPr>
          <p:cNvPr id="17" name="Imag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65909" y="1337022"/>
            <a:ext cx="2652332" cy="2489151"/>
          </a:xfrm>
          <a:prstGeom prst="rect">
            <a:avLst/>
          </a:prstGeom>
        </p:spPr>
      </p:pic>
      <p:pic>
        <p:nvPicPr>
          <p:cNvPr id="18" name="Image 17"/>
          <p:cNvPicPr>
            <a:picLocks noChangeAspect="1"/>
          </p:cNvPicPr>
          <p:nvPr/>
        </p:nvPicPr>
        <p:blipFill rotWithShape="1">
          <a:blip r:embed="rId4">
            <a:extLst>
              <a:ext uri="{28A0092B-C50C-407E-A947-70E740481C1C}">
                <a14:useLocalDpi xmlns:a14="http://schemas.microsoft.com/office/drawing/2010/main" val="0"/>
              </a:ext>
            </a:extLst>
          </a:blip>
          <a:srcRect l="10371" t="7599" r="7978"/>
          <a:stretch/>
        </p:blipFill>
        <p:spPr>
          <a:xfrm>
            <a:off x="6214860" y="1553046"/>
            <a:ext cx="2088232" cy="1721173"/>
          </a:xfrm>
          <a:prstGeom prst="rect">
            <a:avLst/>
          </a:prstGeom>
        </p:spPr>
      </p:pic>
      <p:pic>
        <p:nvPicPr>
          <p:cNvPr id="19" name="Image 18"/>
          <p:cNvPicPr>
            <a:picLocks noChangeAspect="1"/>
          </p:cNvPicPr>
          <p:nvPr/>
        </p:nvPicPr>
        <p:blipFill rotWithShape="1">
          <a:blip r:embed="rId5">
            <a:extLst>
              <a:ext uri="{28A0092B-C50C-407E-A947-70E740481C1C}">
                <a14:useLocalDpi xmlns:a14="http://schemas.microsoft.com/office/drawing/2010/main" val="0"/>
              </a:ext>
            </a:extLst>
          </a:blip>
          <a:srcRect l="5804" t="15082" r="4641" b="11590"/>
          <a:stretch/>
        </p:blipFill>
        <p:spPr>
          <a:xfrm>
            <a:off x="4796" y="4433366"/>
            <a:ext cx="2916324" cy="1590722"/>
          </a:xfrm>
          <a:prstGeom prst="rect">
            <a:avLst/>
          </a:prstGeom>
        </p:spPr>
      </p:pic>
      <p:pic>
        <p:nvPicPr>
          <p:cNvPr id="20" name="Imag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86962" y="3490243"/>
            <a:ext cx="2430361" cy="1944289"/>
          </a:xfrm>
          <a:prstGeom prst="rect">
            <a:avLst/>
          </a:prstGeom>
        </p:spPr>
      </p:pic>
      <p:pic>
        <p:nvPicPr>
          <p:cNvPr id="21" name="Image 20"/>
          <p:cNvPicPr>
            <a:picLocks noChangeAspect="1"/>
          </p:cNvPicPr>
          <p:nvPr/>
        </p:nvPicPr>
        <p:blipFill rotWithShape="1">
          <a:blip r:embed="rId7" cstate="print">
            <a:extLst>
              <a:ext uri="{28A0092B-C50C-407E-A947-70E740481C1C}">
                <a14:useLocalDpi xmlns:a14="http://schemas.microsoft.com/office/drawing/2010/main" val="0"/>
              </a:ext>
            </a:extLst>
          </a:blip>
          <a:srcRect l="16014" t="14997" r="18280" b="10880"/>
          <a:stretch/>
        </p:blipFill>
        <p:spPr>
          <a:xfrm>
            <a:off x="3031774" y="4217342"/>
            <a:ext cx="2835527" cy="2346643"/>
          </a:xfrm>
          <a:prstGeom prst="rect">
            <a:avLst/>
          </a:prstGeom>
        </p:spPr>
      </p:pic>
      <p:pic>
        <p:nvPicPr>
          <p:cNvPr id="22" name="Image 21"/>
          <p:cNvPicPr>
            <a:picLocks noChangeAspect="1"/>
          </p:cNvPicPr>
          <p:nvPr/>
        </p:nvPicPr>
        <p:blipFill rotWithShape="1">
          <a:blip r:embed="rId8">
            <a:extLst>
              <a:ext uri="{28A0092B-C50C-407E-A947-70E740481C1C}">
                <a14:useLocalDpi xmlns:a14="http://schemas.microsoft.com/office/drawing/2010/main" val="0"/>
              </a:ext>
            </a:extLst>
          </a:blip>
          <a:srcRect l="6531" t="8309" r="4640" b="8309"/>
          <a:stretch/>
        </p:blipFill>
        <p:spPr>
          <a:xfrm>
            <a:off x="6266956" y="5427440"/>
            <a:ext cx="2232248" cy="1424839"/>
          </a:xfrm>
          <a:prstGeom prst="rect">
            <a:avLst/>
          </a:prstGeom>
        </p:spPr>
      </p:pic>
    </p:spTree>
    <p:extLst>
      <p:ext uri="{BB962C8B-B14F-4D97-AF65-F5344CB8AC3E}">
        <p14:creationId xmlns:p14="http://schemas.microsoft.com/office/powerpoint/2010/main" val="27899090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Azure IoT Starter Kits</a:t>
            </a:r>
            <a:r>
              <a:rPr lang="en-US" sz="3100" dirty="0"/>
              <a:t/>
            </a:r>
            <a:br>
              <a:rPr lang="en-US" sz="3100" dirty="0"/>
            </a:br>
            <a:r>
              <a:rPr lang="en-US" sz="3100" dirty="0"/>
              <a:t>Get started quickly</a:t>
            </a:r>
            <a:br>
              <a:rPr lang="en-US" sz="3100" dirty="0"/>
            </a:br>
            <a:r>
              <a:rPr lang="en-US" sz="3100" dirty="0"/>
              <a:t/>
            </a:r>
            <a:br>
              <a:rPr lang="en-US" sz="3100" dirty="0"/>
            </a:br>
            <a:endParaRPr lang="en-US" dirty="0"/>
          </a:p>
        </p:txBody>
      </p:sp>
      <p:sp>
        <p:nvSpPr>
          <p:cNvPr id="4" name="Espace réservé du texte 3"/>
          <p:cNvSpPr>
            <a:spLocks noGrp="1"/>
          </p:cNvSpPr>
          <p:nvPr>
            <p:ph type="body" sz="quarter" idx="13"/>
          </p:nvPr>
        </p:nvSpPr>
        <p:spPr/>
        <p:txBody>
          <a:bodyPr/>
          <a:lstStyle/>
          <a:p>
            <a:endParaRPr lang="fr-FR"/>
          </a:p>
        </p:txBody>
      </p:sp>
      <p:pic>
        <p:nvPicPr>
          <p:cNvPr id="3" name="Picture 2"/>
          <p:cNvPicPr>
            <a:picLocks noChangeAspect="1"/>
          </p:cNvPicPr>
          <p:nvPr/>
        </p:nvPicPr>
        <p:blipFill rotWithShape="1">
          <a:blip r:embed="rId2" cstate="print">
            <a:extLst>
              <a:ext uri="{BEBA8EAE-BF5A-486C-A8C5-ECC9F3942E4B}">
                <a14:imgProps xmlns:a14="http://schemas.microsoft.com/office/drawing/2010/main">
                  <a14:imgLayer r:embed="rId3">
                    <a14:imgEffect>
                      <a14:backgroundRemoval t="659" b="99763" l="2452" r="88468">
                        <a14:foregroundMark x1="15849" y1="40211" x2="15849" y2="40211"/>
                        <a14:foregroundMark x1="17572" y1="53597" x2="17572" y2="53597"/>
                        <a14:foregroundMark x1="61694" y1="83294" x2="61694" y2="83294"/>
                        <a14:foregroundMark x1="62383" y1="70777" x2="62383" y2="70777"/>
                        <a14:foregroundMark x1="84353" y1="43768" x2="84353" y2="43768"/>
                        <a14:foregroundMark x1="83158" y1="54704" x2="83158" y2="54704"/>
                        <a14:foregroundMark x1="65626" y1="78814" x2="65626" y2="78814"/>
                        <a14:foregroundMark x1="65626" y1="68986" x2="65626" y2="68986"/>
                        <a14:foregroundMark x1="19274" y1="55599" x2="19274" y2="55599"/>
                        <a14:foregroundMark x1="23571" y1="59183" x2="23571" y2="59183"/>
                        <a14:foregroundMark x1="20653" y1="47115" x2="20653" y2="47115"/>
                        <a14:foregroundMark x1="55513" y1="71462" x2="55513" y2="71462"/>
                        <a14:foregroundMark x1="73531" y1="62740" x2="73531" y2="62740"/>
                        <a14:foregroundMark x1="78516" y1="57154" x2="78516" y2="57154"/>
                        <a14:foregroundMark x1="82631" y1="48696" x2="82631" y2="48696"/>
                        <a14:foregroundMark x1="85043" y1="42661" x2="85043" y2="42661"/>
                      </a14:backgroundRemoval>
                    </a14:imgEffect>
                  </a14:imgLayer>
                </a14:imgProps>
              </a:ext>
              <a:ext uri="{28A0092B-C50C-407E-A947-70E740481C1C}">
                <a14:useLocalDpi xmlns:a14="http://schemas.microsoft.com/office/drawing/2010/main" val="0"/>
              </a:ext>
            </a:extLst>
          </a:blip>
          <a:srcRect l="11542" r="11542"/>
          <a:stretch/>
        </p:blipFill>
        <p:spPr>
          <a:xfrm>
            <a:off x="601649" y="3726761"/>
            <a:ext cx="1434280" cy="1434483"/>
          </a:xfrm>
          <a:prstGeom prst="rect">
            <a:avLst/>
          </a:prstGeom>
        </p:spPr>
      </p:pic>
      <p:pic>
        <p:nvPicPr>
          <p:cNvPr id="22" name="Picture 21"/>
          <p:cNvPicPr>
            <a:picLocks noChangeAspect="1"/>
          </p:cNvPicPr>
          <p:nvPr/>
        </p:nvPicPr>
        <p:blipFill rotWithShape="1">
          <a:blip r:embed="rId4" cstate="print">
            <a:extLst>
              <a:ext uri="{BEBA8EAE-BF5A-486C-A8C5-ECC9F3942E4B}">
                <a14:imgProps xmlns:a14="http://schemas.microsoft.com/office/drawing/2010/main">
                  <a14:imgLayer r:embed="rId3">
                    <a14:imgEffect>
                      <a14:backgroundRemoval t="9987" b="89987" l="0" r="99858">
                        <a14:foregroundMark x1="84759" y1="42635" x2="84759" y2="42635"/>
                        <a14:foregroundMark x1="84576" y1="45323" x2="84576" y2="45323"/>
                      </a14:backgroundRemoval>
                    </a14:imgEffect>
                  </a14:imgLayer>
                </a14:imgProps>
              </a:ext>
              <a:ext uri="{28A0092B-C50C-407E-A947-70E740481C1C}">
                <a14:useLocalDpi xmlns:a14="http://schemas.microsoft.com/office/drawing/2010/main" val="0"/>
              </a:ext>
            </a:extLst>
          </a:blip>
          <a:srcRect l="12285" r="10799"/>
          <a:stretch/>
        </p:blipFill>
        <p:spPr>
          <a:xfrm>
            <a:off x="601649" y="5324833"/>
            <a:ext cx="1434280" cy="1434483"/>
          </a:xfrm>
          <a:prstGeom prst="rect">
            <a:avLst/>
          </a:prstGeom>
        </p:spPr>
      </p:pic>
      <p:pic>
        <p:nvPicPr>
          <p:cNvPr id="23" name="Picture 22"/>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0" b="99368" l="11877" r="88306">
                        <a14:foregroundMark x1="84353" y1="43347" x2="84353" y2="43347"/>
                      </a14:backgroundRemoval>
                    </a14:imgEffect>
                  </a14:imgLayer>
                </a14:imgProps>
              </a:ext>
              <a:ext uri="{28A0092B-C50C-407E-A947-70E740481C1C}">
                <a14:useLocalDpi xmlns:a14="http://schemas.microsoft.com/office/drawing/2010/main" val="0"/>
              </a:ext>
            </a:extLst>
          </a:blip>
          <a:srcRect l="11542" r="11542"/>
          <a:stretch/>
        </p:blipFill>
        <p:spPr>
          <a:xfrm>
            <a:off x="601649" y="2128687"/>
            <a:ext cx="1434280" cy="1434483"/>
          </a:xfrm>
          <a:prstGeom prst="rect">
            <a:avLst/>
          </a:prstGeom>
        </p:spPr>
      </p:pic>
      <p:sp>
        <p:nvSpPr>
          <p:cNvPr id="25" name="TextBox 24"/>
          <p:cNvSpPr txBox="1"/>
          <p:nvPr/>
        </p:nvSpPr>
        <p:spPr>
          <a:xfrm>
            <a:off x="2025034" y="2024215"/>
            <a:ext cx="3473349" cy="1276069"/>
          </a:xfrm>
          <a:prstGeom prst="rect">
            <a:avLst/>
          </a:prstGeom>
          <a:noFill/>
        </p:spPr>
        <p:txBody>
          <a:bodyPr wrap="square" lIns="179277" tIns="143422" rIns="179277" bIns="143422" rtlCol="0">
            <a:spAutoFit/>
          </a:bodyPr>
          <a:lstStyle/>
          <a:p>
            <a:pPr defTabSz="914367">
              <a:lnSpc>
                <a:spcPct val="90000"/>
              </a:lnSpc>
              <a:spcAft>
                <a:spcPts val="588"/>
              </a:spcAft>
              <a:defRPr/>
            </a:pPr>
            <a:r>
              <a:rPr lang="en-US" sz="2400" dirty="0">
                <a:gradFill>
                  <a:gsLst>
                    <a:gs pos="2917">
                      <a:srgbClr val="505050"/>
                    </a:gs>
                    <a:gs pos="30000">
                      <a:srgbClr val="505050"/>
                    </a:gs>
                  </a:gsLst>
                  <a:lin ang="5400000" scaled="0"/>
                </a:gradFill>
                <a:latin typeface="Segoe UI"/>
              </a:rPr>
              <a:t>Raspberry Pi 2 Kit</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Windows 10 and Raspbian</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Samples in C and C#</a:t>
            </a:r>
          </a:p>
        </p:txBody>
      </p:sp>
      <p:sp>
        <p:nvSpPr>
          <p:cNvPr id="26" name="TextBox 25"/>
          <p:cNvSpPr txBox="1"/>
          <p:nvPr/>
        </p:nvSpPr>
        <p:spPr>
          <a:xfrm>
            <a:off x="1997318" y="3578425"/>
            <a:ext cx="3473349" cy="1276069"/>
          </a:xfrm>
          <a:prstGeom prst="rect">
            <a:avLst/>
          </a:prstGeom>
          <a:noFill/>
        </p:spPr>
        <p:txBody>
          <a:bodyPr wrap="square" lIns="179277" tIns="143422" rIns="179277" bIns="143422" rtlCol="0">
            <a:spAutoFit/>
          </a:bodyPr>
          <a:lstStyle/>
          <a:p>
            <a:pPr defTabSz="914367">
              <a:lnSpc>
                <a:spcPct val="90000"/>
              </a:lnSpc>
              <a:spcAft>
                <a:spcPts val="588"/>
              </a:spcAft>
              <a:defRPr/>
            </a:pPr>
            <a:r>
              <a:rPr lang="en-US" sz="2400" dirty="0">
                <a:gradFill>
                  <a:gsLst>
                    <a:gs pos="2917">
                      <a:srgbClr val="505050"/>
                    </a:gs>
                    <a:gs pos="30000">
                      <a:srgbClr val="505050"/>
                    </a:gs>
                  </a:gsLst>
                  <a:lin ang="5400000" scaled="0"/>
                </a:gradFill>
                <a:latin typeface="Segoe UI"/>
              </a:rPr>
              <a:t>Feather M0 Wi-Fi Kit</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RTOS</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Samples in Arduino IDE and C </a:t>
            </a:r>
          </a:p>
        </p:txBody>
      </p:sp>
      <p:sp>
        <p:nvSpPr>
          <p:cNvPr id="27" name="TextBox 26"/>
          <p:cNvSpPr txBox="1"/>
          <p:nvPr/>
        </p:nvSpPr>
        <p:spPr>
          <a:xfrm>
            <a:off x="1995762" y="5222104"/>
            <a:ext cx="3801430" cy="1608468"/>
          </a:xfrm>
          <a:prstGeom prst="rect">
            <a:avLst/>
          </a:prstGeom>
          <a:noFill/>
        </p:spPr>
        <p:txBody>
          <a:bodyPr wrap="square" lIns="179277" tIns="143422" rIns="179277" bIns="143422" rtlCol="0">
            <a:spAutoFit/>
          </a:bodyPr>
          <a:lstStyle/>
          <a:p>
            <a:pPr defTabSz="914367">
              <a:lnSpc>
                <a:spcPct val="90000"/>
              </a:lnSpc>
              <a:spcAft>
                <a:spcPts val="588"/>
              </a:spcAft>
              <a:defRPr/>
            </a:pPr>
            <a:r>
              <a:rPr lang="en-US" sz="2400" dirty="0">
                <a:gradFill>
                  <a:gsLst>
                    <a:gs pos="2917">
                      <a:srgbClr val="505050"/>
                    </a:gs>
                    <a:gs pos="30000">
                      <a:srgbClr val="505050"/>
                    </a:gs>
                  </a:gsLst>
                  <a:lin ang="5400000" scaled="0"/>
                </a:gradFill>
                <a:latin typeface="Segoe UI"/>
              </a:rPr>
              <a:t>Feather Huzzah ESP8266 Kit</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RTOS</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Samples in Arduino IDE and C </a:t>
            </a:r>
          </a:p>
        </p:txBody>
      </p:sp>
      <p:grpSp>
        <p:nvGrpSpPr>
          <p:cNvPr id="6" name="Group 5"/>
          <p:cNvGrpSpPr/>
          <p:nvPr/>
        </p:nvGrpSpPr>
        <p:grpSpPr>
          <a:xfrm>
            <a:off x="6693616" y="3945967"/>
            <a:ext cx="4907629" cy="1504859"/>
            <a:chOff x="6904037" y="2099287"/>
            <a:chExt cx="5006037" cy="1534817"/>
          </a:xfrm>
        </p:grpSpPr>
        <p:pic>
          <p:nvPicPr>
            <p:cNvPr id="21" name="Picture 20"/>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04037" y="2171064"/>
              <a:ext cx="1463040" cy="1463040"/>
            </a:xfrm>
            <a:prstGeom prst="rect">
              <a:avLst/>
            </a:prstGeom>
          </p:spPr>
        </p:pic>
        <p:sp>
          <p:nvSpPr>
            <p:cNvPr id="28" name="TextBox 27"/>
            <p:cNvSpPr txBox="1"/>
            <p:nvPr/>
          </p:nvSpPr>
          <p:spPr>
            <a:xfrm>
              <a:off x="8367077" y="2099287"/>
              <a:ext cx="3542997" cy="1307408"/>
            </a:xfrm>
            <a:prstGeom prst="rect">
              <a:avLst/>
            </a:prstGeom>
            <a:noFill/>
          </p:spPr>
          <p:txBody>
            <a:bodyPr wrap="square" lIns="182880" tIns="146304" rIns="182880" bIns="146304" rtlCol="0">
              <a:spAutoFit/>
            </a:bodyPr>
            <a:lstStyle/>
            <a:p>
              <a:pPr defTabSz="914367">
                <a:lnSpc>
                  <a:spcPct val="90000"/>
                </a:lnSpc>
                <a:spcAft>
                  <a:spcPts val="588"/>
                </a:spcAft>
                <a:defRPr/>
              </a:pPr>
              <a:r>
                <a:rPr lang="en-US" sz="2400" dirty="0">
                  <a:gradFill>
                    <a:gsLst>
                      <a:gs pos="2917">
                        <a:srgbClr val="505050"/>
                      </a:gs>
                      <a:gs pos="30000">
                        <a:srgbClr val="505050"/>
                      </a:gs>
                    </a:gsLst>
                    <a:lin ang="5400000" scaled="0"/>
                  </a:gradFill>
                  <a:latin typeface="Segoe UI"/>
                </a:rPr>
                <a:t>ThingDev Kit</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RTOS</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Samples in Arduino and C</a:t>
              </a:r>
            </a:p>
          </p:txBody>
        </p:sp>
      </p:grpSp>
      <p:grpSp>
        <p:nvGrpSpPr>
          <p:cNvPr id="7" name="Group 6"/>
          <p:cNvGrpSpPr/>
          <p:nvPr/>
        </p:nvGrpSpPr>
        <p:grpSpPr>
          <a:xfrm>
            <a:off x="6693617" y="2116808"/>
            <a:ext cx="4975482" cy="1583175"/>
            <a:chOff x="6858000" y="4206240"/>
            <a:chExt cx="5075251" cy="1614692"/>
          </a:xfrm>
        </p:grpSpPr>
        <p:sp>
          <p:nvSpPr>
            <p:cNvPr id="29" name="TextBox 28"/>
            <p:cNvSpPr txBox="1"/>
            <p:nvPr/>
          </p:nvSpPr>
          <p:spPr>
            <a:xfrm>
              <a:off x="8390254" y="4259262"/>
              <a:ext cx="3542997" cy="1561670"/>
            </a:xfrm>
            <a:prstGeom prst="rect">
              <a:avLst/>
            </a:prstGeom>
            <a:noFill/>
          </p:spPr>
          <p:txBody>
            <a:bodyPr wrap="square" lIns="182880" tIns="146304" rIns="182880" bIns="146304" rtlCol="0">
              <a:spAutoFit/>
            </a:bodyPr>
            <a:lstStyle/>
            <a:p>
              <a:pPr defTabSz="914367">
                <a:lnSpc>
                  <a:spcPct val="90000"/>
                </a:lnSpc>
                <a:spcAft>
                  <a:spcPts val="588"/>
                </a:spcAft>
                <a:defRPr/>
              </a:pPr>
              <a:r>
                <a:rPr lang="en-US" sz="2400" dirty="0">
                  <a:gradFill>
                    <a:gsLst>
                      <a:gs pos="2917">
                        <a:srgbClr val="505050"/>
                      </a:gs>
                      <a:gs pos="30000">
                        <a:srgbClr val="505050"/>
                      </a:gs>
                    </a:gsLst>
                    <a:lin ang="5400000" scaled="0"/>
                  </a:gradFill>
                  <a:latin typeface="Segoe UI"/>
                </a:rPr>
                <a:t>Intel Edison Kit</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Linux Yocto</a:t>
              </a:r>
            </a:p>
            <a:p>
              <a:pPr defTabSz="914367">
                <a:lnSpc>
                  <a:spcPct val="90000"/>
                </a:lnSpc>
                <a:spcAft>
                  <a:spcPts val="588"/>
                </a:spcAft>
                <a:defRPr/>
              </a:pPr>
              <a:r>
                <a:rPr lang="en-US" dirty="0">
                  <a:gradFill>
                    <a:gsLst>
                      <a:gs pos="2917">
                        <a:srgbClr val="505050"/>
                      </a:gs>
                      <a:gs pos="30000">
                        <a:srgbClr val="505050"/>
                      </a:gs>
                    </a:gsLst>
                    <a:lin ang="5400000" scaled="0"/>
                  </a:gradFill>
                  <a:latin typeface="Segoe UI"/>
                </a:rPr>
                <a:t>Samples in JavaScript (Node.js)</a:t>
              </a:r>
            </a:p>
          </p:txBody>
        </p:sp>
        <p:pic>
          <p:nvPicPr>
            <p:cNvPr id="5" name="Picture 4"/>
            <p:cNvPicPr>
              <a:picLocks noChangeAspect="1"/>
            </p:cNvPicPr>
            <p:nvPr/>
          </p:nvPicPr>
          <p:blipFill rotWithShape="1">
            <a:blip r:embed="rId8" cstate="print">
              <a:clrChange>
                <a:clrFrom>
                  <a:srgbClr val="E4E4E4"/>
                </a:clrFrom>
                <a:clrTo>
                  <a:srgbClr val="E4E4E4">
                    <a:alpha val="0"/>
                  </a:srgbClr>
                </a:clrTo>
              </a:clrChange>
              <a:extLst>
                <a:ext uri="{28A0092B-C50C-407E-A947-70E740481C1C}">
                  <a14:useLocalDpi xmlns:a14="http://schemas.microsoft.com/office/drawing/2010/main" val="0"/>
                </a:ext>
              </a:extLst>
            </a:blip>
            <a:srcRect l="13557" t="1266" r="13586" b="-1266"/>
            <a:stretch/>
          </p:blipFill>
          <p:spPr>
            <a:xfrm>
              <a:off x="6858000" y="4206240"/>
              <a:ext cx="1554480" cy="1422400"/>
            </a:xfrm>
            <a:prstGeom prst="rect">
              <a:avLst/>
            </a:prstGeom>
          </p:spPr>
        </p:pic>
      </p:grpSp>
      <p:sp>
        <p:nvSpPr>
          <p:cNvPr id="14" name="TextBox 13"/>
          <p:cNvSpPr txBox="1"/>
          <p:nvPr/>
        </p:nvSpPr>
        <p:spPr>
          <a:xfrm>
            <a:off x="6544212" y="6312018"/>
            <a:ext cx="5453251" cy="867752"/>
          </a:xfrm>
          <a:prstGeom prst="rect">
            <a:avLst/>
          </a:prstGeom>
          <a:noFill/>
        </p:spPr>
        <p:txBody>
          <a:bodyPr wrap="square" lIns="179277" tIns="143422" rIns="179277" bIns="143422" rtlCol="0">
            <a:spAutoFit/>
          </a:bodyPr>
          <a:lstStyle/>
          <a:p>
            <a:pPr defTabSz="914367">
              <a:lnSpc>
                <a:spcPct val="90000"/>
              </a:lnSpc>
              <a:spcAft>
                <a:spcPts val="588"/>
              </a:spcAft>
              <a:defRPr/>
            </a:pPr>
            <a:r>
              <a:rPr lang="en-US" sz="2000" dirty="0">
                <a:gradFill>
                  <a:gsLst>
                    <a:gs pos="2917">
                      <a:srgbClr val="505050"/>
                    </a:gs>
                    <a:gs pos="30000">
                      <a:srgbClr val="505050"/>
                    </a:gs>
                  </a:gsLst>
                  <a:lin ang="5400000" scaled="0"/>
                </a:gradFill>
                <a:latin typeface="Segoe UI"/>
              </a:rPr>
              <a:t>Start today: </a:t>
            </a:r>
            <a:r>
              <a:rPr lang="en-US" sz="2000" dirty="0">
                <a:gradFill>
                  <a:gsLst>
                    <a:gs pos="2917">
                      <a:srgbClr val="505050"/>
                    </a:gs>
                    <a:gs pos="30000">
                      <a:srgbClr val="505050"/>
                    </a:gs>
                  </a:gsLst>
                  <a:lin ang="5400000" scaled="0"/>
                </a:gradFill>
                <a:latin typeface="Segoe UI"/>
                <a:hlinkClick r:id="rId9"/>
              </a:rPr>
              <a:t>http://azure.com/iotstarterkits</a:t>
            </a:r>
            <a:endParaRPr lang="en-US" sz="2000" dirty="0">
              <a:gradFill>
                <a:gsLst>
                  <a:gs pos="2917">
                    <a:srgbClr val="505050"/>
                  </a:gs>
                  <a:gs pos="30000">
                    <a:srgbClr val="505050"/>
                  </a:gs>
                </a:gsLst>
                <a:lin ang="5400000" scaled="0"/>
              </a:gradFill>
              <a:latin typeface="Segoe UI"/>
            </a:endParaRPr>
          </a:p>
          <a:p>
            <a:pPr defTabSz="914367">
              <a:lnSpc>
                <a:spcPct val="90000"/>
              </a:lnSpc>
              <a:spcAft>
                <a:spcPts val="588"/>
              </a:spcAft>
              <a:defRPr/>
            </a:pPr>
            <a:endParaRPr lang="en-US" sz="1600" dirty="0">
              <a:gradFill>
                <a:gsLst>
                  <a:gs pos="2917">
                    <a:srgbClr val="505050"/>
                  </a:gs>
                  <a:gs pos="30000">
                    <a:srgbClr val="505050"/>
                  </a:gs>
                </a:gsLst>
                <a:lin ang="5400000" scaled="0"/>
              </a:gradFill>
              <a:latin typeface="Segoe UI"/>
            </a:endParaRPr>
          </a:p>
        </p:txBody>
      </p:sp>
    </p:spTree>
    <p:extLst>
      <p:ext uri="{BB962C8B-B14F-4D97-AF65-F5344CB8AC3E}">
        <p14:creationId xmlns:p14="http://schemas.microsoft.com/office/powerpoint/2010/main" val="39335740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Nimbuz">
      <a:dk1>
        <a:sysClr val="windowText" lastClr="000000"/>
      </a:dk1>
      <a:lt1>
        <a:sysClr val="window" lastClr="FFFFFF"/>
      </a:lt1>
      <a:dk2>
        <a:srgbClr val="3A3838"/>
      </a:dk2>
      <a:lt2>
        <a:srgbClr val="A5A5A5"/>
      </a:lt2>
      <a:accent1>
        <a:srgbClr val="6AAEDA"/>
      </a:accent1>
      <a:accent2>
        <a:srgbClr val="66CAC5"/>
      </a:accent2>
      <a:accent3>
        <a:srgbClr val="ED6566"/>
      </a:accent3>
      <a:accent4>
        <a:srgbClr val="FEC444"/>
      </a:accent4>
      <a:accent5>
        <a:srgbClr val="C86DAA"/>
      </a:accent5>
      <a:accent6>
        <a:srgbClr val="92D050"/>
      </a:accent6>
      <a:hlink>
        <a:srgbClr val="A05024"/>
      </a:hlink>
      <a:folHlink>
        <a:srgbClr val="FEC037"/>
      </a:folHlink>
    </a:clrScheme>
    <a:fontScheme name="Custom 21">
      <a:majorFont>
        <a:latin typeface="oxygen"/>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ith Footer">
  <a:themeElements>
    <a:clrScheme name="Nimbuz">
      <a:dk1>
        <a:sysClr val="windowText" lastClr="000000"/>
      </a:dk1>
      <a:lt1>
        <a:sysClr val="window" lastClr="FFFFFF"/>
      </a:lt1>
      <a:dk2>
        <a:srgbClr val="3A3838"/>
      </a:dk2>
      <a:lt2>
        <a:srgbClr val="A5A5A5"/>
      </a:lt2>
      <a:accent1>
        <a:srgbClr val="6AAEDA"/>
      </a:accent1>
      <a:accent2>
        <a:srgbClr val="66CAC5"/>
      </a:accent2>
      <a:accent3>
        <a:srgbClr val="ED6566"/>
      </a:accent3>
      <a:accent4>
        <a:srgbClr val="FEC444"/>
      </a:accent4>
      <a:accent5>
        <a:srgbClr val="C86DAA"/>
      </a:accent5>
      <a:accent6>
        <a:srgbClr val="92D050"/>
      </a:accent6>
      <a:hlink>
        <a:srgbClr val="A05024"/>
      </a:hlink>
      <a:folHlink>
        <a:srgbClr val="FEC037"/>
      </a:folHlink>
    </a:clrScheme>
    <a:fontScheme name="Custom 21">
      <a:majorFont>
        <a:latin typeface="oxygen"/>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92</TotalTime>
  <Words>3548</Words>
  <Application>Microsoft Office PowerPoint</Application>
  <PresentationFormat>Grand écran</PresentationFormat>
  <Paragraphs>739</Paragraphs>
  <Slides>50</Slides>
  <Notes>33</Notes>
  <HiddenSlides>4</HiddenSlides>
  <MMClips>1</MMClips>
  <ScaleCrop>false</ScaleCrop>
  <HeadingPairs>
    <vt:vector size="8" baseType="variant">
      <vt:variant>
        <vt:lpstr>Polices utilisées</vt:lpstr>
      </vt:variant>
      <vt:variant>
        <vt:i4>16</vt:i4>
      </vt:variant>
      <vt:variant>
        <vt:lpstr>Thème</vt:lpstr>
      </vt:variant>
      <vt:variant>
        <vt:i4>2</vt:i4>
      </vt:variant>
      <vt:variant>
        <vt:lpstr>Serveurs OLE incorporés</vt:lpstr>
      </vt:variant>
      <vt:variant>
        <vt:i4>1</vt:i4>
      </vt:variant>
      <vt:variant>
        <vt:lpstr>Titres des diapositives</vt:lpstr>
      </vt:variant>
      <vt:variant>
        <vt:i4>50</vt:i4>
      </vt:variant>
    </vt:vector>
  </HeadingPairs>
  <TitlesOfParts>
    <vt:vector size="69" baseType="lpstr">
      <vt:lpstr>MS PGothic</vt:lpstr>
      <vt:lpstr>Arial</vt:lpstr>
      <vt:lpstr>Arial Unicode MS</vt:lpstr>
      <vt:lpstr>Bebas</vt:lpstr>
      <vt:lpstr>Calibri</vt:lpstr>
      <vt:lpstr>Calibri</vt:lpstr>
      <vt:lpstr>Consolas</vt:lpstr>
      <vt:lpstr>oxygen</vt:lpstr>
      <vt:lpstr>Rockwell</vt:lpstr>
      <vt:lpstr>Segoe UI</vt:lpstr>
      <vt:lpstr>Segoe UI Black</vt:lpstr>
      <vt:lpstr>Segoe UI Light</vt:lpstr>
      <vt:lpstr>Segoe UI Semibold</vt:lpstr>
      <vt:lpstr>Segoe UI Semilight</vt:lpstr>
      <vt:lpstr>Segoe UI Symbol</vt:lpstr>
      <vt:lpstr>Wingdings</vt:lpstr>
      <vt:lpstr>Office Theme</vt:lpstr>
      <vt:lpstr>with Footer</vt:lpstr>
      <vt:lpstr>think-cell Slide</vt:lpstr>
      <vt:lpstr>Robot - Azure - IoT</vt:lpstr>
      <vt:lpstr>Meet the Team</vt:lpstr>
      <vt:lpstr>Au programme</vt:lpstr>
      <vt:lpstr>L’IoT ?</vt:lpstr>
      <vt:lpstr>Harnessing the IoT Revolution</vt:lpstr>
      <vt:lpstr>Présentation PowerPoint</vt:lpstr>
      <vt:lpstr>La nécessité de prototyper </vt:lpstr>
      <vt:lpstr>Choisir une plateforme de prototypage </vt:lpstr>
      <vt:lpstr>Azure IoT Starter Kits Get started quickly  </vt:lpstr>
      <vt:lpstr>imprimante 3D </vt:lpstr>
      <vt:lpstr>Présentation PowerPoint</vt:lpstr>
      <vt:lpstr>Objectif Robot connecté et intelligent </vt:lpstr>
      <vt:lpstr>Présentation PowerPoint</vt:lpstr>
      <vt:lpstr>Social Robot</vt:lpstr>
      <vt:lpstr>Présentation PowerPoint</vt:lpstr>
      <vt:lpstr>Microsoft Cloud offer for IoT</vt:lpstr>
      <vt:lpstr>Azure Services for IoT</vt:lpstr>
      <vt:lpstr>Présentation PowerPoint</vt:lpstr>
      <vt:lpstr>Architecture Lambda</vt:lpstr>
      <vt:lpstr>Azure IoT Suite Get started in minutes &amp; customize to meet your needs Remote Monitoring Service Architecture   </vt:lpstr>
      <vt:lpstr>Azure IoT Hub</vt:lpstr>
      <vt:lpstr>Pick your favorite to create a hub</vt:lpstr>
      <vt:lpstr>Stream Analytics</vt:lpstr>
      <vt:lpstr>Azure IoT Recent Innovations</vt:lpstr>
      <vt:lpstr>Some developers tools</vt:lpstr>
      <vt:lpstr>Open Source SDKs</vt:lpstr>
      <vt:lpstr>Packages and libraries</vt:lpstr>
      <vt:lpstr>Step-by-step tutorials</vt:lpstr>
      <vt:lpstr>Présentation PowerPoint</vt:lpstr>
      <vt:lpstr>AI for All Microsoft Cognitive Services  </vt:lpstr>
      <vt:lpstr>Cortana Intelligence Suite</vt:lpstr>
      <vt:lpstr>Machine Learning services in the cloud </vt:lpstr>
      <vt:lpstr>Machine Learning services in the cloud </vt:lpstr>
      <vt:lpstr>Présentation PowerPoint</vt:lpstr>
      <vt:lpstr>Smarter robots with Cognitive Services</vt:lpstr>
      <vt:lpstr>Présentation PowerPoint</vt:lpstr>
      <vt:lpstr>Why Microsoft  Cognitive Service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Bing Custom Search Custom Vision Service Custom Decision Service Cognitive Service Labs</vt:lpstr>
      <vt:lpstr>Présentation PowerPoint</vt:lpstr>
      <vt:lpstr>Présentation PowerPoint</vt:lpstr>
      <vt:lpstr>Nous suivre</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e</dc:creator>
  <cp:lastModifiedBy>WEINBACH Aymeric</cp:lastModifiedBy>
  <cp:revision>343</cp:revision>
  <dcterms:created xsi:type="dcterms:W3CDTF">2015-02-01T23:43:36Z</dcterms:created>
  <dcterms:modified xsi:type="dcterms:W3CDTF">2017-05-24T08:40:37Z</dcterms:modified>
</cp:coreProperties>
</file>